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3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</p:sldIdLst>
  <p:sldSz cx="9144000" cy="5143500" type="screen16x9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65" d="100"/>
          <a:sy n="65" d="100"/>
        </p:scale>
        <p:origin x="84" y="6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notesMaster" Target="notesMasters/notesMaster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FCEE598A-F82B-4B05-AD35-C8F8AF45BAF2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 smtClean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479A4653-C7F9-416A-B344-A181201149F0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EC7B98-6AD4-4E93-B4D2-BC7F3AAED5BC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2FE67D-BF4C-4F61-A808-1664BC4FC143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461BB0-C578-48B6-84EF-4EDE4E4FEC63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09A7EE-F0C8-467D-BCD7-C256C40002DF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CF909-80B7-43A8-8F56-859F06D259C8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15B60-C19A-4DA9-85CC-1AAF3BBC7D82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1" y="841773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1" y="2701529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165" indent="0" algn="ctr">
              <a:buNone/>
              <a:defRPr sz="1350"/>
            </a:lvl3pPr>
            <a:lvl4pPr marL="1028065" indent="0" algn="ctr">
              <a:buNone/>
              <a:defRPr sz="1200"/>
            </a:lvl4pPr>
            <a:lvl5pPr marL="1370965" indent="0" algn="ctr">
              <a:buNone/>
              <a:defRPr sz="1200"/>
            </a:lvl5pPr>
            <a:lvl6pPr marL="1713865" indent="0" algn="ctr">
              <a:buNone/>
              <a:defRPr sz="1200"/>
            </a:lvl6pPr>
            <a:lvl7pPr marL="2056130" indent="0" algn="ctr">
              <a:buNone/>
              <a:defRPr sz="1200"/>
            </a:lvl7pPr>
            <a:lvl8pPr marL="2399030" indent="0" algn="ctr">
              <a:buNone/>
              <a:defRPr sz="1200"/>
            </a:lvl8pPr>
            <a:lvl9pPr marL="274193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122DB3E-8C17-4966-A12F-FB42D9B91918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72B883-705F-48DC-9038-0536F211B98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8B6DC7-A007-45D6-935B-F5FA8F6438FF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663F89-59F5-41BA-8D0F-D493571D24C4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35B1B7-45C7-4C60-8B52-6C6FB78DCA5F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1D040A-0D91-4136-8331-DBB0E30343D8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66E69B-28A8-46AF-9C6D-FFDE49453D57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92F5B1-88F7-4A67-9375-65AFC03794BC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8E6D53-79EB-4839-AB5E-87C8D242C268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04D9F8-A6BB-45E6-BBA1-1BFB25FC7A14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6E84F3-2C7D-4991-8D36-7654D2DF25B9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BEF79A-0CE7-4775-8245-9961F11B7993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ChangeArrowheads="1"/>
          </p:cNvSpPr>
          <p:nvPr userDrawn="1"/>
        </p:nvSpPr>
        <p:spPr bwMode="auto">
          <a:xfrm>
            <a:off x="0" y="1588"/>
            <a:ext cx="9144000" cy="5143500"/>
          </a:xfrm>
          <a:prstGeom prst="rect">
            <a:avLst/>
          </a:prstGeom>
          <a:solidFill>
            <a:srgbClr val="36A6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endParaRPr lang="zh-CN" altLang="en-US" smtClean="0">
              <a:solidFill>
                <a:prstClr val="black"/>
              </a:solidFill>
            </a:endParaRPr>
          </a:p>
        </p:txBody>
      </p:sp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5644EE-A99B-439D-826E-BFE3034D13F7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8AB9E3C-4ACD-4749-8F96-9DD7921E4703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49EF16-A645-4B7A-B8F4-721961DD22B2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377A7A-3335-48B9-844E-18552BFDE866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BE252F-E25C-4D21-98FC-ECA844A672EC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9CE12C-8C35-4E77-804D-2DDDFB9E2AB8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smtClean="0"/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395FAA1-6C83-4758-AA11-2C91D9FADB55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47F68BB6-E9F0-4BDD-887F-B8A4915AEE80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4.png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4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5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hyperlink" Target="http://www.microsoft.com/learning/en/us/Exam.aspx?ID=70-246&amp;Locale=en-us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hyperlink" Target="http://www.microsoft.com/learning/en/us/Exam.aspx?ID=70-246&amp;Locale=en-u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6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8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4.png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8.jpeg"/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7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9"/>
          <p:cNvSpPr>
            <a:spLocks noChangeArrowheads="1"/>
          </p:cNvSpPr>
          <p:nvPr/>
        </p:nvSpPr>
        <p:spPr bwMode="auto">
          <a:xfrm>
            <a:off x="0" y="1588"/>
            <a:ext cx="9144000" cy="5143500"/>
          </a:xfrm>
          <a:prstGeom prst="rect">
            <a:avLst/>
          </a:prstGeom>
          <a:solidFill>
            <a:srgbClr val="36A6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9" name="组合 8"/>
          <p:cNvGrpSpPr/>
          <p:nvPr/>
        </p:nvGrpSpPr>
        <p:grpSpPr bwMode="auto">
          <a:xfrm>
            <a:off x="2984500" y="571500"/>
            <a:ext cx="5424488" cy="4575175"/>
            <a:chOff x="2984848" y="571952"/>
            <a:chExt cx="5424172" cy="4574977"/>
          </a:xfrm>
        </p:grpSpPr>
        <p:sp>
          <p:nvSpPr>
            <p:cNvPr id="6209" name="Freeform 26"/>
            <p:cNvSpPr/>
            <p:nvPr/>
          </p:nvSpPr>
          <p:spPr bwMode="auto">
            <a:xfrm>
              <a:off x="3252368" y="1424118"/>
              <a:ext cx="3738875" cy="3722811"/>
            </a:xfrm>
            <a:custGeom>
              <a:avLst/>
              <a:gdLst>
                <a:gd name="T0" fmla="*/ 22128 w 3738875"/>
                <a:gd name="T1" fmla="*/ 0 h 3722811"/>
                <a:gd name="T2" fmla="*/ 3738875 w 3738875"/>
                <a:gd name="T3" fmla="*/ 3722811 h 3722811"/>
                <a:gd name="T4" fmla="*/ 3639548 w 3738875"/>
                <a:gd name="T5" fmla="*/ 3722811 h 3722811"/>
                <a:gd name="T6" fmla="*/ 0 w 3738875"/>
                <a:gd name="T7" fmla="*/ 89074 h 3722811"/>
                <a:gd name="T8" fmla="*/ 22128 w 3738875"/>
                <a:gd name="T9" fmla="*/ 0 h 37228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38875" h="3722811">
                  <a:moveTo>
                    <a:pt x="22128" y="0"/>
                  </a:moveTo>
                  <a:lnTo>
                    <a:pt x="3738875" y="3722811"/>
                  </a:lnTo>
                  <a:lnTo>
                    <a:pt x="3639548" y="3722811"/>
                  </a:lnTo>
                  <a:lnTo>
                    <a:pt x="0" y="89074"/>
                  </a:lnTo>
                  <a:cubicBezTo>
                    <a:pt x="7465" y="59291"/>
                    <a:pt x="14663" y="29783"/>
                    <a:pt x="22128" y="0"/>
                  </a:cubicBez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10" name="任意多边形 58"/>
            <p:cNvSpPr/>
            <p:nvPr/>
          </p:nvSpPr>
          <p:spPr bwMode="auto">
            <a:xfrm>
              <a:off x="3749618" y="597277"/>
              <a:ext cx="4659402" cy="4549652"/>
            </a:xfrm>
            <a:custGeom>
              <a:avLst/>
              <a:gdLst>
                <a:gd name="T0" fmla="*/ 60324 w 4659402"/>
                <a:gd name="T1" fmla="*/ 0 h 4549652"/>
                <a:gd name="T2" fmla="*/ 4659402 w 4659402"/>
                <a:gd name="T3" fmla="*/ 4549652 h 4549652"/>
                <a:gd name="T4" fmla="*/ 4533212 w 4659402"/>
                <a:gd name="T5" fmla="*/ 4549652 h 4549652"/>
                <a:gd name="T6" fmla="*/ 0 w 4659402"/>
                <a:gd name="T7" fmla="*/ 58738 h 4549652"/>
                <a:gd name="T8" fmla="*/ 60324 w 4659402"/>
                <a:gd name="T9" fmla="*/ 0 h 45496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59402" h="4549652">
                  <a:moveTo>
                    <a:pt x="60324" y="0"/>
                  </a:moveTo>
                  <a:lnTo>
                    <a:pt x="4659402" y="4549652"/>
                  </a:lnTo>
                  <a:lnTo>
                    <a:pt x="4533212" y="4549652"/>
                  </a:lnTo>
                  <a:lnTo>
                    <a:pt x="0" y="58738"/>
                  </a:lnTo>
                  <a:lnTo>
                    <a:pt x="60324" y="0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11" name="Freeform 26"/>
            <p:cNvSpPr/>
            <p:nvPr/>
          </p:nvSpPr>
          <p:spPr bwMode="auto">
            <a:xfrm>
              <a:off x="2984848" y="571952"/>
              <a:ext cx="4589652" cy="4574977"/>
            </a:xfrm>
            <a:custGeom>
              <a:avLst/>
              <a:gdLst>
                <a:gd name="T0" fmla="*/ 22128 w 4589652"/>
                <a:gd name="T1" fmla="*/ 0 h 4574977"/>
                <a:gd name="T2" fmla="*/ 4589652 w 4589652"/>
                <a:gd name="T3" fmla="*/ 4574977 h 4574977"/>
                <a:gd name="T4" fmla="*/ 4493077 w 4589652"/>
                <a:gd name="T5" fmla="*/ 4574977 h 4574977"/>
                <a:gd name="T6" fmla="*/ 0 w 4589652"/>
                <a:gd name="T7" fmla="*/ 89074 h 4574977"/>
                <a:gd name="T8" fmla="*/ 22128 w 4589652"/>
                <a:gd name="T9" fmla="*/ 0 h 45749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89652" h="4574977">
                  <a:moveTo>
                    <a:pt x="22128" y="0"/>
                  </a:moveTo>
                  <a:lnTo>
                    <a:pt x="4589652" y="4574977"/>
                  </a:lnTo>
                  <a:lnTo>
                    <a:pt x="4493077" y="4574977"/>
                  </a:lnTo>
                  <a:lnTo>
                    <a:pt x="0" y="89074"/>
                  </a:lnTo>
                  <a:cubicBezTo>
                    <a:pt x="7465" y="59291"/>
                    <a:pt x="14663" y="29783"/>
                    <a:pt x="22128" y="0"/>
                  </a:cubicBez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12" name="Freeform 27"/>
            <p:cNvSpPr/>
            <p:nvPr/>
          </p:nvSpPr>
          <p:spPr bwMode="auto">
            <a:xfrm>
              <a:off x="3290640" y="648401"/>
              <a:ext cx="4680919" cy="4498528"/>
            </a:xfrm>
            <a:custGeom>
              <a:avLst/>
              <a:gdLst>
                <a:gd name="T0" fmla="*/ 164033 w 4680919"/>
                <a:gd name="T1" fmla="*/ 0 h 4498528"/>
                <a:gd name="T2" fmla="*/ 4680919 w 4680919"/>
                <a:gd name="T3" fmla="*/ 4498528 h 4498528"/>
                <a:gd name="T4" fmla="*/ 4314329 w 4680919"/>
                <a:gd name="T5" fmla="*/ 4498528 h 4498528"/>
                <a:gd name="T6" fmla="*/ 0 w 4680919"/>
                <a:gd name="T7" fmla="*/ 164073 h 4498528"/>
                <a:gd name="T8" fmla="*/ 164033 w 4680919"/>
                <a:gd name="T9" fmla="*/ 0 h 44985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80919" h="4498528">
                  <a:moveTo>
                    <a:pt x="164033" y="0"/>
                  </a:moveTo>
                  <a:lnTo>
                    <a:pt x="4680919" y="4498528"/>
                  </a:lnTo>
                  <a:lnTo>
                    <a:pt x="4314329" y="4498528"/>
                  </a:lnTo>
                  <a:lnTo>
                    <a:pt x="0" y="164073"/>
                  </a:lnTo>
                  <a:lnTo>
                    <a:pt x="164033" y="0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13" name="Freeform 25"/>
            <p:cNvSpPr/>
            <p:nvPr/>
          </p:nvSpPr>
          <p:spPr bwMode="auto">
            <a:xfrm>
              <a:off x="3483846" y="1439296"/>
              <a:ext cx="2166972" cy="2222572"/>
            </a:xfrm>
            <a:custGeom>
              <a:avLst/>
              <a:gdLst>
                <a:gd name="T0" fmla="*/ 2147483646 w 1559"/>
                <a:gd name="T1" fmla="*/ 2147483646 h 1599"/>
                <a:gd name="T2" fmla="*/ 2147483646 w 1559"/>
                <a:gd name="T3" fmla="*/ 0 h 1599"/>
                <a:gd name="T4" fmla="*/ 0 w 1559"/>
                <a:gd name="T5" fmla="*/ 2147483646 h 1599"/>
                <a:gd name="T6" fmla="*/ 2147483646 w 1559"/>
                <a:gd name="T7" fmla="*/ 2147483646 h 1599"/>
                <a:gd name="T8" fmla="*/ 2147483646 w 1559"/>
                <a:gd name="T9" fmla="*/ 2147483646 h 15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59" h="1599">
                  <a:moveTo>
                    <a:pt x="1559" y="1516"/>
                  </a:moveTo>
                  <a:lnTo>
                    <a:pt x="42" y="0"/>
                  </a:lnTo>
                  <a:lnTo>
                    <a:pt x="0" y="42"/>
                  </a:lnTo>
                  <a:lnTo>
                    <a:pt x="1559" y="1599"/>
                  </a:lnTo>
                  <a:lnTo>
                    <a:pt x="1559" y="1516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" name="椭圆 36"/>
            <p:cNvSpPr/>
            <p:nvPr/>
          </p:nvSpPr>
          <p:spPr>
            <a:xfrm flipV="1">
              <a:off x="4984981" y="4143672"/>
              <a:ext cx="36511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5" name="椭圆 134"/>
            <p:cNvSpPr/>
            <p:nvPr/>
          </p:nvSpPr>
          <p:spPr>
            <a:xfrm flipV="1">
              <a:off x="5051653" y="4143672"/>
              <a:ext cx="34923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6" name="椭圆 135"/>
            <p:cNvSpPr/>
            <p:nvPr/>
          </p:nvSpPr>
          <p:spPr>
            <a:xfrm flipV="1">
              <a:off x="5119912" y="4143672"/>
              <a:ext cx="36510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7" name="椭圆 136"/>
            <p:cNvSpPr/>
            <p:nvPr/>
          </p:nvSpPr>
          <p:spPr>
            <a:xfrm flipV="1">
              <a:off x="5189758" y="4143672"/>
              <a:ext cx="34923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组合 6"/>
          <p:cNvGrpSpPr/>
          <p:nvPr/>
        </p:nvGrpSpPr>
        <p:grpSpPr bwMode="auto">
          <a:xfrm>
            <a:off x="1000125" y="2003425"/>
            <a:ext cx="1233488" cy="1239838"/>
            <a:chOff x="999430" y="2002807"/>
            <a:chExt cx="1233912" cy="1240808"/>
          </a:xfrm>
        </p:grpSpPr>
        <p:sp>
          <p:nvSpPr>
            <p:cNvPr id="6206" name="Freeform 21"/>
            <p:cNvSpPr/>
            <p:nvPr/>
          </p:nvSpPr>
          <p:spPr bwMode="auto">
            <a:xfrm>
              <a:off x="1232946" y="2324841"/>
              <a:ext cx="899314" cy="902095"/>
            </a:xfrm>
            <a:custGeom>
              <a:avLst/>
              <a:gdLst>
                <a:gd name="T0" fmla="*/ 2147483646 w 647"/>
                <a:gd name="T1" fmla="*/ 2147483646 h 649"/>
                <a:gd name="T2" fmla="*/ 2147483646 w 647"/>
                <a:gd name="T3" fmla="*/ 2147483646 h 649"/>
                <a:gd name="T4" fmla="*/ 0 w 647"/>
                <a:gd name="T5" fmla="*/ 2147483646 h 649"/>
                <a:gd name="T6" fmla="*/ 2147483646 w 647"/>
                <a:gd name="T7" fmla="*/ 0 h 649"/>
                <a:gd name="T8" fmla="*/ 2147483646 w 647"/>
                <a:gd name="T9" fmla="*/ 2147483646 h 64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7" h="649">
                  <a:moveTo>
                    <a:pt x="647" y="607"/>
                  </a:moveTo>
                  <a:lnTo>
                    <a:pt x="607" y="649"/>
                  </a:lnTo>
                  <a:lnTo>
                    <a:pt x="0" y="42"/>
                  </a:lnTo>
                  <a:lnTo>
                    <a:pt x="43" y="0"/>
                  </a:lnTo>
                  <a:lnTo>
                    <a:pt x="647" y="60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7" name="Freeform 22"/>
            <p:cNvSpPr/>
            <p:nvPr/>
          </p:nvSpPr>
          <p:spPr bwMode="auto">
            <a:xfrm>
              <a:off x="1269086" y="2002807"/>
              <a:ext cx="964256" cy="978104"/>
            </a:xfrm>
            <a:custGeom>
              <a:avLst/>
              <a:gdLst>
                <a:gd name="T0" fmla="*/ 2147483646 w 9854"/>
                <a:gd name="T1" fmla="*/ 2147483646 h 10024"/>
                <a:gd name="T2" fmla="*/ 2147483646 w 9854"/>
                <a:gd name="T3" fmla="*/ 2147483646 h 10024"/>
                <a:gd name="T4" fmla="*/ 0 w 9854"/>
                <a:gd name="T5" fmla="*/ 2147483646 h 10024"/>
                <a:gd name="T6" fmla="*/ 2147483646 w 9854"/>
                <a:gd name="T7" fmla="*/ 2147483646 h 10024"/>
                <a:gd name="T8" fmla="*/ 2147483646 w 9854"/>
                <a:gd name="T9" fmla="*/ 2147483646 h 10024"/>
                <a:gd name="T10" fmla="*/ 2147483646 w 9854"/>
                <a:gd name="T11" fmla="*/ 0 h 10024"/>
                <a:gd name="T12" fmla="*/ 2147483646 w 9854"/>
                <a:gd name="T13" fmla="*/ 2147483646 h 100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854" h="10024">
                  <a:moveTo>
                    <a:pt x="9854" y="8587"/>
                  </a:moveTo>
                  <a:lnTo>
                    <a:pt x="8324" y="10024"/>
                  </a:lnTo>
                  <a:lnTo>
                    <a:pt x="0" y="1676"/>
                  </a:lnTo>
                  <a:lnTo>
                    <a:pt x="647" y="965"/>
                  </a:lnTo>
                  <a:lnTo>
                    <a:pt x="1213" y="708"/>
                  </a:lnTo>
                  <a:cubicBezTo>
                    <a:pt x="1237" y="391"/>
                    <a:pt x="1214" y="317"/>
                    <a:pt x="1238" y="0"/>
                  </a:cubicBezTo>
                  <a:lnTo>
                    <a:pt x="9854" y="858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8" name="Freeform 23"/>
            <p:cNvSpPr/>
            <p:nvPr/>
          </p:nvSpPr>
          <p:spPr bwMode="auto">
            <a:xfrm>
              <a:off x="999430" y="2344300"/>
              <a:ext cx="900705" cy="899315"/>
            </a:xfrm>
            <a:custGeom>
              <a:avLst/>
              <a:gdLst>
                <a:gd name="T0" fmla="*/ 2147483646 w 648"/>
                <a:gd name="T1" fmla="*/ 2147483646 h 647"/>
                <a:gd name="T2" fmla="*/ 2147483646 w 648"/>
                <a:gd name="T3" fmla="*/ 2147483646 h 647"/>
                <a:gd name="T4" fmla="*/ 0 w 648"/>
                <a:gd name="T5" fmla="*/ 2147483646 h 647"/>
                <a:gd name="T6" fmla="*/ 2147483646 w 648"/>
                <a:gd name="T7" fmla="*/ 0 h 647"/>
                <a:gd name="T8" fmla="*/ 2147483646 w 648"/>
                <a:gd name="T9" fmla="*/ 2147483646 h 6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8" h="647">
                  <a:moveTo>
                    <a:pt x="648" y="607"/>
                  </a:moveTo>
                  <a:lnTo>
                    <a:pt x="607" y="647"/>
                  </a:lnTo>
                  <a:lnTo>
                    <a:pt x="0" y="42"/>
                  </a:lnTo>
                  <a:lnTo>
                    <a:pt x="40" y="0"/>
                  </a:lnTo>
                  <a:lnTo>
                    <a:pt x="648" y="60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5" name="Freeform 20"/>
          <p:cNvSpPr/>
          <p:nvPr/>
        </p:nvSpPr>
        <p:spPr bwMode="auto">
          <a:xfrm>
            <a:off x="884238" y="1646238"/>
            <a:ext cx="6500812" cy="3500437"/>
          </a:xfrm>
          <a:custGeom>
            <a:avLst/>
            <a:gdLst>
              <a:gd name="T0" fmla="*/ 3006060 w 6501680"/>
              <a:gd name="T1" fmla="*/ 0 h 3500524"/>
              <a:gd name="T2" fmla="*/ 6499076 w 6501680"/>
              <a:gd name="T3" fmla="*/ 3500263 h 3500524"/>
              <a:gd name="T4" fmla="*/ 1082314 w 6501680"/>
              <a:gd name="T5" fmla="*/ 3500263 h 3500524"/>
              <a:gd name="T6" fmla="*/ 0 w 6501680"/>
              <a:gd name="T7" fmla="*/ 2487831 h 3500524"/>
              <a:gd name="T8" fmla="*/ 3006060 w 6501680"/>
              <a:gd name="T9" fmla="*/ 0 h 35005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501680" h="3500524">
                <a:moveTo>
                  <a:pt x="3007263" y="0"/>
                </a:moveTo>
                <a:lnTo>
                  <a:pt x="6501680" y="3500524"/>
                </a:lnTo>
                <a:lnTo>
                  <a:pt x="1082749" y="3500524"/>
                </a:lnTo>
                <a:lnTo>
                  <a:pt x="0" y="2488017"/>
                </a:lnTo>
                <a:cubicBezTo>
                  <a:pt x="974341" y="1658678"/>
                  <a:pt x="2032922" y="829339"/>
                  <a:pt x="3007263" y="0"/>
                </a:cubicBezTo>
                <a:close/>
              </a:path>
            </a:pathLst>
          </a:custGeom>
          <a:solidFill>
            <a:srgbClr val="2E6F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070" name="组合 2069"/>
          <p:cNvGrpSpPr/>
          <p:nvPr/>
        </p:nvGrpSpPr>
        <p:grpSpPr bwMode="auto">
          <a:xfrm>
            <a:off x="130175" y="4144963"/>
            <a:ext cx="4786313" cy="28575"/>
            <a:chOff x="3682048" y="3734822"/>
            <a:chExt cx="3763813" cy="28388"/>
          </a:xfrm>
        </p:grpSpPr>
        <p:sp>
          <p:nvSpPr>
            <p:cNvPr id="6204" name="Freeform 51"/>
            <p:cNvSpPr/>
            <p:nvPr/>
          </p:nvSpPr>
          <p:spPr bwMode="auto">
            <a:xfrm>
              <a:off x="3682048" y="3734822"/>
              <a:ext cx="3763813" cy="28388"/>
            </a:xfrm>
            <a:custGeom>
              <a:avLst/>
              <a:gdLst>
                <a:gd name="T0" fmla="*/ 2147483646 w 1151"/>
                <a:gd name="T1" fmla="*/ 2147483646 h 10"/>
                <a:gd name="T2" fmla="*/ 2147483646 w 1151"/>
                <a:gd name="T3" fmla="*/ 2147483646 h 10"/>
                <a:gd name="T4" fmla="*/ 0 w 1151"/>
                <a:gd name="T5" fmla="*/ 2147483646 h 10"/>
                <a:gd name="T6" fmla="*/ 2147483646 w 1151"/>
                <a:gd name="T7" fmla="*/ 0 h 10"/>
                <a:gd name="T8" fmla="*/ 2147483646 w 1151"/>
                <a:gd name="T9" fmla="*/ 0 h 10"/>
                <a:gd name="T10" fmla="*/ 2147483646 w 1151"/>
                <a:gd name="T11" fmla="*/ 2147483646 h 10"/>
                <a:gd name="T12" fmla="*/ 2147483646 w 1151"/>
                <a:gd name="T13" fmla="*/ 2147483646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51" h="10">
                  <a:moveTo>
                    <a:pt x="1146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46" y="0"/>
                    <a:pt x="1146" y="0"/>
                    <a:pt x="1146" y="0"/>
                  </a:cubicBezTo>
                  <a:cubicBezTo>
                    <a:pt x="1149" y="0"/>
                    <a:pt x="1151" y="2"/>
                    <a:pt x="1151" y="5"/>
                  </a:cubicBezTo>
                  <a:cubicBezTo>
                    <a:pt x="1151" y="8"/>
                    <a:pt x="1149" y="10"/>
                    <a:pt x="1146" y="10"/>
                  </a:cubicBezTo>
                  <a:close/>
                </a:path>
              </a:pathLst>
            </a:custGeom>
            <a:solidFill>
              <a:srgbClr val="AFD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12" name="直接连接符 11"/>
            <p:cNvCxnSpPr/>
            <p:nvPr/>
          </p:nvCxnSpPr>
          <p:spPr>
            <a:xfrm>
              <a:off x="3688290" y="3736399"/>
              <a:ext cx="3745087" cy="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65" name="组合 2064"/>
          <p:cNvGrpSpPr/>
          <p:nvPr/>
        </p:nvGrpSpPr>
        <p:grpSpPr bwMode="auto">
          <a:xfrm>
            <a:off x="2930525" y="549275"/>
            <a:ext cx="895350" cy="971550"/>
            <a:chOff x="-1961454" y="4069896"/>
            <a:chExt cx="990600" cy="1074738"/>
          </a:xfrm>
        </p:grpSpPr>
        <p:sp>
          <p:nvSpPr>
            <p:cNvPr id="6198" name="Freeform 40"/>
            <p:cNvSpPr/>
            <p:nvPr/>
          </p:nvSpPr>
          <p:spPr bwMode="auto">
            <a:xfrm>
              <a:off x="-1961454" y="4069896"/>
              <a:ext cx="990600" cy="1074738"/>
            </a:xfrm>
            <a:custGeom>
              <a:avLst/>
              <a:gdLst>
                <a:gd name="T0" fmla="*/ 2147483646 w 264"/>
                <a:gd name="T1" fmla="*/ 2147483646 h 287"/>
                <a:gd name="T2" fmla="*/ 2147483646 w 264"/>
                <a:gd name="T3" fmla="*/ 0 h 287"/>
                <a:gd name="T4" fmla="*/ 2147483646 w 264"/>
                <a:gd name="T5" fmla="*/ 2147483646 h 287"/>
                <a:gd name="T6" fmla="*/ 2147483646 w 264"/>
                <a:gd name="T7" fmla="*/ 2147483646 h 287"/>
                <a:gd name="T8" fmla="*/ 2147483646 w 264"/>
                <a:gd name="T9" fmla="*/ 2147483646 h 287"/>
                <a:gd name="T10" fmla="*/ 2147483646 w 264"/>
                <a:gd name="T11" fmla="*/ 2147483646 h 287"/>
                <a:gd name="T12" fmla="*/ 2147483646 w 264"/>
                <a:gd name="T13" fmla="*/ 2147483646 h 287"/>
                <a:gd name="T14" fmla="*/ 2147483646 w 264"/>
                <a:gd name="T15" fmla="*/ 2147483646 h 287"/>
                <a:gd name="T16" fmla="*/ 2147483646 w 264"/>
                <a:gd name="T17" fmla="*/ 2147483646 h 287"/>
                <a:gd name="T18" fmla="*/ 2147483646 w 264"/>
                <a:gd name="T19" fmla="*/ 2147483646 h 287"/>
                <a:gd name="T20" fmla="*/ 2147483646 w 264"/>
                <a:gd name="T21" fmla="*/ 2147483646 h 287"/>
                <a:gd name="T22" fmla="*/ 2147483646 w 264"/>
                <a:gd name="T23" fmla="*/ 2147483646 h 287"/>
                <a:gd name="T24" fmla="*/ 2147483646 w 264"/>
                <a:gd name="T25" fmla="*/ 2147483646 h 287"/>
                <a:gd name="T26" fmla="*/ 2147483646 w 264"/>
                <a:gd name="T27" fmla="*/ 0 h 287"/>
                <a:gd name="T28" fmla="*/ 0 w 264"/>
                <a:gd name="T29" fmla="*/ 2147483646 h 287"/>
                <a:gd name="T30" fmla="*/ 2147483646 w 264"/>
                <a:gd name="T31" fmla="*/ 2147483646 h 287"/>
                <a:gd name="T32" fmla="*/ 2147483646 w 264"/>
                <a:gd name="T33" fmla="*/ 2147483646 h 287"/>
                <a:gd name="T34" fmla="*/ 2147483646 w 264"/>
                <a:gd name="T35" fmla="*/ 2147483646 h 287"/>
                <a:gd name="T36" fmla="*/ 2147483646 w 264"/>
                <a:gd name="T37" fmla="*/ 2147483646 h 287"/>
                <a:gd name="T38" fmla="*/ 2147483646 w 264"/>
                <a:gd name="T39" fmla="*/ 2147483646 h 287"/>
                <a:gd name="T40" fmla="*/ 2147483646 w 264"/>
                <a:gd name="T41" fmla="*/ 2147483646 h 287"/>
                <a:gd name="T42" fmla="*/ 2147483646 w 264"/>
                <a:gd name="T43" fmla="*/ 2147483646 h 287"/>
                <a:gd name="T44" fmla="*/ 2147483646 w 264"/>
                <a:gd name="T45" fmla="*/ 2147483646 h 287"/>
                <a:gd name="T46" fmla="*/ 2147483646 w 264"/>
                <a:gd name="T47" fmla="*/ 2147483646 h 287"/>
                <a:gd name="T48" fmla="*/ 2147483646 w 264"/>
                <a:gd name="T49" fmla="*/ 2147483646 h 287"/>
                <a:gd name="T50" fmla="*/ 2147483646 w 264"/>
                <a:gd name="T51" fmla="*/ 2147483646 h 287"/>
                <a:gd name="T52" fmla="*/ 2147483646 w 264"/>
                <a:gd name="T53" fmla="*/ 2147483646 h 287"/>
                <a:gd name="T54" fmla="*/ 2147483646 w 264"/>
                <a:gd name="T55" fmla="*/ 2147483646 h 287"/>
                <a:gd name="T56" fmla="*/ 2147483646 w 264"/>
                <a:gd name="T57" fmla="*/ 2147483646 h 287"/>
                <a:gd name="T58" fmla="*/ 2147483646 w 264"/>
                <a:gd name="T59" fmla="*/ 2147483646 h 287"/>
                <a:gd name="T60" fmla="*/ 2147483646 w 264"/>
                <a:gd name="T61" fmla="*/ 2147483646 h 287"/>
                <a:gd name="T62" fmla="*/ 2147483646 w 264"/>
                <a:gd name="T63" fmla="*/ 2147483646 h 287"/>
                <a:gd name="T64" fmla="*/ 2147483646 w 264"/>
                <a:gd name="T65" fmla="*/ 2147483646 h 287"/>
                <a:gd name="T66" fmla="*/ 2147483646 w 264"/>
                <a:gd name="T67" fmla="*/ 2147483646 h 287"/>
                <a:gd name="T68" fmla="*/ 2147483646 w 264"/>
                <a:gd name="T69" fmla="*/ 2147483646 h 287"/>
                <a:gd name="T70" fmla="*/ 2147483646 w 264"/>
                <a:gd name="T71" fmla="*/ 2147483646 h 287"/>
                <a:gd name="T72" fmla="*/ 2147483646 w 264"/>
                <a:gd name="T73" fmla="*/ 2147483646 h 28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64" h="287">
                  <a:moveTo>
                    <a:pt x="264" y="14"/>
                  </a:moveTo>
                  <a:cubicBezTo>
                    <a:pt x="264" y="6"/>
                    <a:pt x="257" y="0"/>
                    <a:pt x="249" y="0"/>
                  </a:cubicBezTo>
                  <a:cubicBezTo>
                    <a:pt x="244" y="0"/>
                    <a:pt x="238" y="4"/>
                    <a:pt x="236" y="9"/>
                  </a:cubicBezTo>
                  <a:cubicBezTo>
                    <a:pt x="227" y="20"/>
                    <a:pt x="213" y="31"/>
                    <a:pt x="203" y="38"/>
                  </a:cubicBezTo>
                  <a:cubicBezTo>
                    <a:pt x="190" y="47"/>
                    <a:pt x="163" y="66"/>
                    <a:pt x="152" y="58"/>
                  </a:cubicBezTo>
                  <a:cubicBezTo>
                    <a:pt x="148" y="55"/>
                    <a:pt x="147" y="49"/>
                    <a:pt x="151" y="43"/>
                  </a:cubicBezTo>
                  <a:cubicBezTo>
                    <a:pt x="154" y="39"/>
                    <a:pt x="155" y="35"/>
                    <a:pt x="155" y="30"/>
                  </a:cubicBezTo>
                  <a:cubicBezTo>
                    <a:pt x="155" y="17"/>
                    <a:pt x="145" y="7"/>
                    <a:pt x="132" y="7"/>
                  </a:cubicBezTo>
                  <a:cubicBezTo>
                    <a:pt x="119" y="7"/>
                    <a:pt x="109" y="17"/>
                    <a:pt x="109" y="30"/>
                  </a:cubicBezTo>
                  <a:cubicBezTo>
                    <a:pt x="109" y="35"/>
                    <a:pt x="110" y="39"/>
                    <a:pt x="113" y="43"/>
                  </a:cubicBezTo>
                  <a:cubicBezTo>
                    <a:pt x="116" y="49"/>
                    <a:pt x="116" y="55"/>
                    <a:pt x="112" y="58"/>
                  </a:cubicBezTo>
                  <a:cubicBezTo>
                    <a:pt x="101" y="66"/>
                    <a:pt x="74" y="47"/>
                    <a:pt x="61" y="38"/>
                  </a:cubicBezTo>
                  <a:cubicBezTo>
                    <a:pt x="50" y="31"/>
                    <a:pt x="37" y="20"/>
                    <a:pt x="28" y="9"/>
                  </a:cubicBezTo>
                  <a:cubicBezTo>
                    <a:pt x="25" y="4"/>
                    <a:pt x="20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0"/>
                    <a:pt x="4" y="26"/>
                    <a:pt x="9" y="28"/>
                  </a:cubicBezTo>
                  <a:cubicBezTo>
                    <a:pt x="23" y="36"/>
                    <a:pt x="43" y="48"/>
                    <a:pt x="50" y="53"/>
                  </a:cubicBezTo>
                  <a:cubicBezTo>
                    <a:pt x="59" y="59"/>
                    <a:pt x="87" y="79"/>
                    <a:pt x="88" y="97"/>
                  </a:cubicBezTo>
                  <a:cubicBezTo>
                    <a:pt x="89" y="115"/>
                    <a:pt x="85" y="135"/>
                    <a:pt x="85" y="147"/>
                  </a:cubicBezTo>
                  <a:cubicBezTo>
                    <a:pt x="85" y="167"/>
                    <a:pt x="87" y="252"/>
                    <a:pt x="83" y="267"/>
                  </a:cubicBezTo>
                  <a:cubicBezTo>
                    <a:pt x="83" y="268"/>
                    <a:pt x="82" y="269"/>
                    <a:pt x="82" y="271"/>
                  </a:cubicBezTo>
                  <a:cubicBezTo>
                    <a:pt x="82" y="280"/>
                    <a:pt x="89" y="287"/>
                    <a:pt x="98" y="287"/>
                  </a:cubicBezTo>
                  <a:cubicBezTo>
                    <a:pt x="107" y="287"/>
                    <a:pt x="114" y="280"/>
                    <a:pt x="114" y="271"/>
                  </a:cubicBezTo>
                  <a:cubicBezTo>
                    <a:pt x="114" y="269"/>
                    <a:pt x="114" y="268"/>
                    <a:pt x="113" y="266"/>
                  </a:cubicBezTo>
                  <a:cubicBezTo>
                    <a:pt x="110" y="254"/>
                    <a:pt x="113" y="219"/>
                    <a:pt x="114" y="206"/>
                  </a:cubicBezTo>
                  <a:cubicBezTo>
                    <a:pt x="115" y="195"/>
                    <a:pt x="116" y="160"/>
                    <a:pt x="132" y="160"/>
                  </a:cubicBezTo>
                  <a:cubicBezTo>
                    <a:pt x="147" y="160"/>
                    <a:pt x="149" y="195"/>
                    <a:pt x="150" y="206"/>
                  </a:cubicBezTo>
                  <a:cubicBezTo>
                    <a:pt x="150" y="219"/>
                    <a:pt x="154" y="254"/>
                    <a:pt x="150" y="266"/>
                  </a:cubicBezTo>
                  <a:cubicBezTo>
                    <a:pt x="150" y="268"/>
                    <a:pt x="150" y="269"/>
                    <a:pt x="150" y="271"/>
                  </a:cubicBezTo>
                  <a:cubicBezTo>
                    <a:pt x="150" y="280"/>
                    <a:pt x="157" y="287"/>
                    <a:pt x="166" y="287"/>
                  </a:cubicBezTo>
                  <a:cubicBezTo>
                    <a:pt x="174" y="287"/>
                    <a:pt x="181" y="280"/>
                    <a:pt x="181" y="271"/>
                  </a:cubicBezTo>
                  <a:cubicBezTo>
                    <a:pt x="181" y="269"/>
                    <a:pt x="181" y="268"/>
                    <a:pt x="181" y="267"/>
                  </a:cubicBezTo>
                  <a:cubicBezTo>
                    <a:pt x="177" y="252"/>
                    <a:pt x="179" y="167"/>
                    <a:pt x="179" y="147"/>
                  </a:cubicBezTo>
                  <a:cubicBezTo>
                    <a:pt x="179" y="135"/>
                    <a:pt x="175" y="115"/>
                    <a:pt x="176" y="97"/>
                  </a:cubicBezTo>
                  <a:cubicBezTo>
                    <a:pt x="177" y="79"/>
                    <a:pt x="205" y="59"/>
                    <a:pt x="214" y="53"/>
                  </a:cubicBezTo>
                  <a:cubicBezTo>
                    <a:pt x="220" y="48"/>
                    <a:pt x="241" y="36"/>
                    <a:pt x="254" y="28"/>
                  </a:cubicBezTo>
                  <a:cubicBezTo>
                    <a:pt x="260" y="26"/>
                    <a:pt x="264" y="20"/>
                    <a:pt x="264" y="14"/>
                  </a:cubicBezTo>
                  <a:close/>
                </a:path>
              </a:pathLst>
            </a:custGeom>
            <a:solidFill>
              <a:srgbClr val="F29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9" name="Freeform 41"/>
            <p:cNvSpPr/>
            <p:nvPr/>
          </p:nvSpPr>
          <p:spPr bwMode="auto">
            <a:xfrm>
              <a:off x="-1394717" y="4081009"/>
              <a:ext cx="404813" cy="231775"/>
            </a:xfrm>
            <a:custGeom>
              <a:avLst/>
              <a:gdLst>
                <a:gd name="T0" fmla="*/ 2147483646 w 108"/>
                <a:gd name="T1" fmla="*/ 2147483646 h 62"/>
                <a:gd name="T2" fmla="*/ 2147483646 w 108"/>
                <a:gd name="T3" fmla="*/ 2147483646 h 62"/>
                <a:gd name="T4" fmla="*/ 2147483646 w 108"/>
                <a:gd name="T5" fmla="*/ 2147483646 h 62"/>
                <a:gd name="T6" fmla="*/ 2147483646 w 108"/>
                <a:gd name="T7" fmla="*/ 2147483646 h 62"/>
                <a:gd name="T8" fmla="*/ 2147483646 w 108"/>
                <a:gd name="T9" fmla="*/ 2147483646 h 62"/>
                <a:gd name="T10" fmla="*/ 2147483646 w 108"/>
                <a:gd name="T11" fmla="*/ 2147483646 h 62"/>
                <a:gd name="T12" fmla="*/ 2147483646 w 108"/>
                <a:gd name="T13" fmla="*/ 2147483646 h 62"/>
                <a:gd name="T14" fmla="*/ 2147483646 w 108"/>
                <a:gd name="T15" fmla="*/ 2147483646 h 62"/>
                <a:gd name="T16" fmla="*/ 2147483646 w 108"/>
                <a:gd name="T17" fmla="*/ 2147483646 h 62"/>
                <a:gd name="T18" fmla="*/ 2147483646 w 108"/>
                <a:gd name="T19" fmla="*/ 2147483646 h 62"/>
                <a:gd name="T20" fmla="*/ 2147483646 w 108"/>
                <a:gd name="T21" fmla="*/ 0 h 62"/>
                <a:gd name="T22" fmla="*/ 2147483646 w 108"/>
                <a:gd name="T23" fmla="*/ 2147483646 h 62"/>
                <a:gd name="T24" fmla="*/ 2147483646 w 108"/>
                <a:gd name="T25" fmla="*/ 2147483646 h 62"/>
                <a:gd name="T26" fmla="*/ 2147483646 w 108"/>
                <a:gd name="T27" fmla="*/ 2147483646 h 62"/>
                <a:gd name="T28" fmla="*/ 2147483646 w 108"/>
                <a:gd name="T29" fmla="*/ 2147483646 h 62"/>
                <a:gd name="T30" fmla="*/ 2147483646 w 108"/>
                <a:gd name="T31" fmla="*/ 2147483646 h 62"/>
                <a:gd name="T32" fmla="*/ 0 w 108"/>
                <a:gd name="T33" fmla="*/ 2147483646 h 62"/>
                <a:gd name="T34" fmla="*/ 2147483646 w 108"/>
                <a:gd name="T35" fmla="*/ 2147483646 h 6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8" h="62">
                  <a:moveTo>
                    <a:pt x="3" y="61"/>
                  </a:moveTo>
                  <a:cubicBezTo>
                    <a:pt x="3" y="61"/>
                    <a:pt x="3" y="61"/>
                    <a:pt x="3" y="61"/>
                  </a:cubicBezTo>
                  <a:cubicBezTo>
                    <a:pt x="4" y="62"/>
                    <a:pt x="6" y="62"/>
                    <a:pt x="7" y="62"/>
                  </a:cubicBezTo>
                  <a:cubicBezTo>
                    <a:pt x="21" y="62"/>
                    <a:pt x="39" y="50"/>
                    <a:pt x="55" y="39"/>
                  </a:cubicBezTo>
                  <a:cubicBezTo>
                    <a:pt x="62" y="34"/>
                    <a:pt x="78" y="22"/>
                    <a:pt x="89" y="9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1" y="4"/>
                    <a:pt x="95" y="2"/>
                    <a:pt x="98" y="2"/>
                  </a:cubicBezTo>
                  <a:cubicBezTo>
                    <a:pt x="101" y="2"/>
                    <a:pt x="103" y="3"/>
                    <a:pt x="104" y="4"/>
                  </a:cubicBezTo>
                  <a:cubicBezTo>
                    <a:pt x="105" y="4"/>
                    <a:pt x="107" y="5"/>
                    <a:pt x="108" y="5"/>
                  </a:cubicBezTo>
                  <a:cubicBezTo>
                    <a:pt x="106" y="2"/>
                    <a:pt x="102" y="0"/>
                    <a:pt x="98" y="0"/>
                  </a:cubicBezTo>
                  <a:cubicBezTo>
                    <a:pt x="94" y="0"/>
                    <a:pt x="90" y="3"/>
                    <a:pt x="88" y="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77" y="21"/>
                    <a:pt x="61" y="33"/>
                    <a:pt x="54" y="37"/>
                  </a:cubicBezTo>
                  <a:cubicBezTo>
                    <a:pt x="43" y="45"/>
                    <a:pt x="21" y="60"/>
                    <a:pt x="7" y="60"/>
                  </a:cubicBezTo>
                  <a:cubicBezTo>
                    <a:pt x="4" y="60"/>
                    <a:pt x="2" y="59"/>
                    <a:pt x="0" y="58"/>
                  </a:cubicBezTo>
                  <a:cubicBezTo>
                    <a:pt x="0" y="59"/>
                    <a:pt x="1" y="60"/>
                    <a:pt x="3" y="6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0" name="Freeform 42"/>
            <p:cNvSpPr/>
            <p:nvPr/>
          </p:nvSpPr>
          <p:spPr bwMode="auto">
            <a:xfrm>
              <a:off x="-1832867" y="4106409"/>
              <a:ext cx="423863" cy="206375"/>
            </a:xfrm>
            <a:custGeom>
              <a:avLst/>
              <a:gdLst>
                <a:gd name="T0" fmla="*/ 2147483646 w 113"/>
                <a:gd name="T1" fmla="*/ 2147483646 h 55"/>
                <a:gd name="T2" fmla="*/ 2147483646 w 113"/>
                <a:gd name="T3" fmla="*/ 2147483646 h 55"/>
                <a:gd name="T4" fmla="*/ 2147483646 w 113"/>
                <a:gd name="T5" fmla="*/ 2147483646 h 55"/>
                <a:gd name="T6" fmla="*/ 2147483646 w 113"/>
                <a:gd name="T7" fmla="*/ 2147483646 h 55"/>
                <a:gd name="T8" fmla="*/ 2147483646 w 113"/>
                <a:gd name="T9" fmla="*/ 2147483646 h 55"/>
                <a:gd name="T10" fmla="*/ 2147483646 w 113"/>
                <a:gd name="T11" fmla="*/ 2147483646 h 55"/>
                <a:gd name="T12" fmla="*/ 2147483646 w 113"/>
                <a:gd name="T13" fmla="*/ 2147483646 h 55"/>
                <a:gd name="T14" fmla="*/ 2147483646 w 113"/>
                <a:gd name="T15" fmla="*/ 2147483646 h 55"/>
                <a:gd name="T16" fmla="*/ 2147483646 w 113"/>
                <a:gd name="T17" fmla="*/ 2147483646 h 55"/>
                <a:gd name="T18" fmla="*/ 2147483646 w 113"/>
                <a:gd name="T19" fmla="*/ 2147483646 h 55"/>
                <a:gd name="T20" fmla="*/ 2147483646 w 113"/>
                <a:gd name="T21" fmla="*/ 0 h 55"/>
                <a:gd name="T22" fmla="*/ 2147483646 w 113"/>
                <a:gd name="T23" fmla="*/ 2147483646 h 55"/>
                <a:gd name="T24" fmla="*/ 2147483646 w 113"/>
                <a:gd name="T25" fmla="*/ 2147483646 h 55"/>
                <a:gd name="T26" fmla="*/ 2147483646 w 113"/>
                <a:gd name="T27" fmla="*/ 2147483646 h 55"/>
                <a:gd name="T28" fmla="*/ 2147483646 w 113"/>
                <a:gd name="T29" fmla="*/ 2147483646 h 55"/>
                <a:gd name="T30" fmla="*/ 2147483646 w 113"/>
                <a:gd name="T31" fmla="*/ 2147483646 h 55"/>
                <a:gd name="T32" fmla="*/ 0 w 113"/>
                <a:gd name="T33" fmla="*/ 2147483646 h 55"/>
                <a:gd name="T34" fmla="*/ 2147483646 w 113"/>
                <a:gd name="T35" fmla="*/ 2147483646 h 55"/>
                <a:gd name="T36" fmla="*/ 2147483646 w 113"/>
                <a:gd name="T37" fmla="*/ 2147483646 h 5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3" h="55">
                  <a:moveTo>
                    <a:pt x="57" y="51"/>
                  </a:moveTo>
                  <a:cubicBezTo>
                    <a:pt x="62" y="53"/>
                    <a:pt x="67" y="55"/>
                    <a:pt x="71" y="55"/>
                  </a:cubicBezTo>
                  <a:cubicBezTo>
                    <a:pt x="75" y="55"/>
                    <a:pt x="78" y="54"/>
                    <a:pt x="81" y="52"/>
                  </a:cubicBezTo>
                  <a:cubicBezTo>
                    <a:pt x="86" y="48"/>
                    <a:pt x="87" y="42"/>
                    <a:pt x="85" y="35"/>
                  </a:cubicBezTo>
                  <a:cubicBezTo>
                    <a:pt x="85" y="35"/>
                    <a:pt x="85" y="34"/>
                    <a:pt x="85" y="34"/>
                  </a:cubicBezTo>
                  <a:cubicBezTo>
                    <a:pt x="84" y="33"/>
                    <a:pt x="83" y="31"/>
                    <a:pt x="82" y="29"/>
                  </a:cubicBezTo>
                  <a:cubicBezTo>
                    <a:pt x="81" y="26"/>
                    <a:pt x="80" y="23"/>
                    <a:pt x="80" y="20"/>
                  </a:cubicBezTo>
                  <a:cubicBezTo>
                    <a:pt x="80" y="10"/>
                    <a:pt x="88" y="2"/>
                    <a:pt x="98" y="2"/>
                  </a:cubicBezTo>
                  <a:cubicBezTo>
                    <a:pt x="101" y="2"/>
                    <a:pt x="105" y="3"/>
                    <a:pt x="107" y="5"/>
                  </a:cubicBezTo>
                  <a:cubicBezTo>
                    <a:pt x="110" y="5"/>
                    <a:pt x="112" y="7"/>
                    <a:pt x="113" y="8"/>
                  </a:cubicBezTo>
                  <a:cubicBezTo>
                    <a:pt x="110" y="3"/>
                    <a:pt x="104" y="0"/>
                    <a:pt x="98" y="0"/>
                  </a:cubicBezTo>
                  <a:cubicBezTo>
                    <a:pt x="87" y="0"/>
                    <a:pt x="78" y="9"/>
                    <a:pt x="78" y="20"/>
                  </a:cubicBezTo>
                  <a:cubicBezTo>
                    <a:pt x="78" y="24"/>
                    <a:pt x="79" y="28"/>
                    <a:pt x="81" y="31"/>
                  </a:cubicBezTo>
                  <a:cubicBezTo>
                    <a:pt x="86" y="39"/>
                    <a:pt x="85" y="47"/>
                    <a:pt x="80" y="51"/>
                  </a:cubicBezTo>
                  <a:cubicBezTo>
                    <a:pt x="77" y="52"/>
                    <a:pt x="75" y="53"/>
                    <a:pt x="71" y="53"/>
                  </a:cubicBezTo>
                  <a:cubicBezTo>
                    <a:pt x="57" y="53"/>
                    <a:pt x="36" y="38"/>
                    <a:pt x="25" y="30"/>
                  </a:cubicBezTo>
                  <a:cubicBezTo>
                    <a:pt x="20" y="27"/>
                    <a:pt x="9" y="19"/>
                    <a:pt x="0" y="10"/>
                  </a:cubicBezTo>
                  <a:cubicBezTo>
                    <a:pt x="10" y="21"/>
                    <a:pt x="23" y="30"/>
                    <a:pt x="28" y="34"/>
                  </a:cubicBezTo>
                  <a:cubicBezTo>
                    <a:pt x="35" y="39"/>
                    <a:pt x="46" y="46"/>
                    <a:pt x="57" y="5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1" name="Freeform 43"/>
            <p:cNvSpPr/>
            <p:nvPr/>
          </p:nvSpPr>
          <p:spPr bwMode="auto">
            <a:xfrm>
              <a:off x="-1675704" y="4335009"/>
              <a:ext cx="63500" cy="787400"/>
            </a:xfrm>
            <a:custGeom>
              <a:avLst/>
              <a:gdLst>
                <a:gd name="T0" fmla="*/ 2147483646 w 17"/>
                <a:gd name="T1" fmla="*/ 2147483646 h 210"/>
                <a:gd name="T2" fmla="*/ 2147483646 w 17"/>
                <a:gd name="T3" fmla="*/ 2147483646 h 210"/>
                <a:gd name="T4" fmla="*/ 2147483646 w 17"/>
                <a:gd name="T5" fmla="*/ 2147483646 h 210"/>
                <a:gd name="T6" fmla="*/ 2147483646 w 17"/>
                <a:gd name="T7" fmla="*/ 2147483646 h 210"/>
                <a:gd name="T8" fmla="*/ 2147483646 w 17"/>
                <a:gd name="T9" fmla="*/ 2147483646 h 210"/>
                <a:gd name="T10" fmla="*/ 2147483646 w 17"/>
                <a:gd name="T11" fmla="*/ 2147483646 h 210"/>
                <a:gd name="T12" fmla="*/ 2147483646 w 17"/>
                <a:gd name="T13" fmla="*/ 2147483646 h 210"/>
                <a:gd name="T14" fmla="*/ 0 w 17"/>
                <a:gd name="T15" fmla="*/ 0 h 210"/>
                <a:gd name="T16" fmla="*/ 2147483646 w 17"/>
                <a:gd name="T17" fmla="*/ 2147483646 h 210"/>
                <a:gd name="T18" fmla="*/ 2147483646 w 17"/>
                <a:gd name="T19" fmla="*/ 2147483646 h 210"/>
                <a:gd name="T20" fmla="*/ 2147483646 w 17"/>
                <a:gd name="T21" fmla="*/ 2147483646 h 210"/>
                <a:gd name="T22" fmla="*/ 2147483646 w 17"/>
                <a:gd name="T23" fmla="*/ 2147483646 h 210"/>
                <a:gd name="T24" fmla="*/ 2147483646 w 17"/>
                <a:gd name="T25" fmla="*/ 2147483646 h 210"/>
                <a:gd name="T26" fmla="*/ 2147483646 w 17"/>
                <a:gd name="T27" fmla="*/ 2147483646 h 210"/>
                <a:gd name="T28" fmla="*/ 2147483646 w 17"/>
                <a:gd name="T29" fmla="*/ 2147483646 h 210"/>
                <a:gd name="T30" fmla="*/ 2147483646 w 17"/>
                <a:gd name="T31" fmla="*/ 2147483646 h 210"/>
                <a:gd name="T32" fmla="*/ 2147483646 w 17"/>
                <a:gd name="T33" fmla="*/ 2147483646 h 2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7" h="210">
                  <a:moveTo>
                    <a:pt x="11" y="200"/>
                  </a:moveTo>
                  <a:cubicBezTo>
                    <a:pt x="11" y="199"/>
                    <a:pt x="12" y="198"/>
                    <a:pt x="12" y="197"/>
                  </a:cubicBezTo>
                  <a:cubicBezTo>
                    <a:pt x="15" y="185"/>
                    <a:pt x="14" y="137"/>
                    <a:pt x="14" y="93"/>
                  </a:cubicBezTo>
                  <a:cubicBezTo>
                    <a:pt x="14" y="86"/>
                    <a:pt x="14" y="80"/>
                    <a:pt x="14" y="76"/>
                  </a:cubicBezTo>
                  <a:cubicBezTo>
                    <a:pt x="14" y="72"/>
                    <a:pt x="14" y="66"/>
                    <a:pt x="15" y="59"/>
                  </a:cubicBezTo>
                  <a:cubicBezTo>
                    <a:pt x="16" y="49"/>
                    <a:pt x="17" y="37"/>
                    <a:pt x="17" y="26"/>
                  </a:cubicBezTo>
                  <a:cubicBezTo>
                    <a:pt x="16" y="24"/>
                    <a:pt x="16" y="21"/>
                    <a:pt x="15" y="18"/>
                  </a:cubicBezTo>
                  <a:cubicBezTo>
                    <a:pt x="12" y="12"/>
                    <a:pt x="7" y="6"/>
                    <a:pt x="0" y="0"/>
                  </a:cubicBezTo>
                  <a:cubicBezTo>
                    <a:pt x="10" y="9"/>
                    <a:pt x="15" y="18"/>
                    <a:pt x="15" y="26"/>
                  </a:cubicBezTo>
                  <a:cubicBezTo>
                    <a:pt x="16" y="37"/>
                    <a:pt x="14" y="49"/>
                    <a:pt x="13" y="59"/>
                  </a:cubicBezTo>
                  <a:cubicBezTo>
                    <a:pt x="13" y="66"/>
                    <a:pt x="12" y="72"/>
                    <a:pt x="12" y="76"/>
                  </a:cubicBezTo>
                  <a:cubicBezTo>
                    <a:pt x="12" y="80"/>
                    <a:pt x="12" y="86"/>
                    <a:pt x="12" y="93"/>
                  </a:cubicBezTo>
                  <a:cubicBezTo>
                    <a:pt x="13" y="137"/>
                    <a:pt x="13" y="185"/>
                    <a:pt x="10" y="196"/>
                  </a:cubicBezTo>
                  <a:cubicBezTo>
                    <a:pt x="10" y="197"/>
                    <a:pt x="10" y="199"/>
                    <a:pt x="10" y="200"/>
                  </a:cubicBezTo>
                  <a:cubicBezTo>
                    <a:pt x="10" y="204"/>
                    <a:pt x="12" y="208"/>
                    <a:pt x="15" y="210"/>
                  </a:cubicBezTo>
                  <a:cubicBezTo>
                    <a:pt x="14" y="209"/>
                    <a:pt x="14" y="208"/>
                    <a:pt x="13" y="206"/>
                  </a:cubicBezTo>
                  <a:cubicBezTo>
                    <a:pt x="12" y="204"/>
                    <a:pt x="11" y="202"/>
                    <a:pt x="11" y="200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2" name="Freeform 44"/>
            <p:cNvSpPr/>
            <p:nvPr/>
          </p:nvSpPr>
          <p:spPr bwMode="auto">
            <a:xfrm>
              <a:off x="-1950342" y="4081009"/>
              <a:ext cx="79375" cy="74613"/>
            </a:xfrm>
            <a:custGeom>
              <a:avLst/>
              <a:gdLst>
                <a:gd name="T0" fmla="*/ 2147483646 w 21"/>
                <a:gd name="T1" fmla="*/ 2147483646 h 20"/>
                <a:gd name="T2" fmla="*/ 2147483646 w 21"/>
                <a:gd name="T3" fmla="*/ 2147483646 h 20"/>
                <a:gd name="T4" fmla="*/ 2147483646 w 21"/>
                <a:gd name="T5" fmla="*/ 2147483646 h 20"/>
                <a:gd name="T6" fmla="*/ 2147483646 w 21"/>
                <a:gd name="T7" fmla="*/ 2147483646 h 20"/>
                <a:gd name="T8" fmla="*/ 2147483646 w 21"/>
                <a:gd name="T9" fmla="*/ 0 h 20"/>
                <a:gd name="T10" fmla="*/ 0 w 21"/>
                <a:gd name="T11" fmla="*/ 2147483646 h 20"/>
                <a:gd name="T12" fmla="*/ 2147483646 w 21"/>
                <a:gd name="T13" fmla="*/ 2147483646 h 20"/>
                <a:gd name="T14" fmla="*/ 2147483646 w 21"/>
                <a:gd name="T15" fmla="*/ 2147483646 h 20"/>
                <a:gd name="T16" fmla="*/ 2147483646 w 21"/>
                <a:gd name="T17" fmla="*/ 2147483646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1" h="20">
                  <a:moveTo>
                    <a:pt x="2" y="11"/>
                  </a:moveTo>
                  <a:cubicBezTo>
                    <a:pt x="2" y="6"/>
                    <a:pt x="6" y="2"/>
                    <a:pt x="11" y="2"/>
                  </a:cubicBezTo>
                  <a:cubicBezTo>
                    <a:pt x="13" y="2"/>
                    <a:pt x="15" y="3"/>
                    <a:pt x="17" y="4"/>
                  </a:cubicBezTo>
                  <a:cubicBezTo>
                    <a:pt x="18" y="4"/>
                    <a:pt x="19" y="5"/>
                    <a:pt x="21" y="5"/>
                  </a:cubicBezTo>
                  <a:cubicBezTo>
                    <a:pt x="19" y="2"/>
                    <a:pt x="15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5"/>
                    <a:pt x="2" y="18"/>
                    <a:pt x="5" y="20"/>
                  </a:cubicBezTo>
                  <a:cubicBezTo>
                    <a:pt x="5" y="19"/>
                    <a:pt x="4" y="18"/>
                    <a:pt x="4" y="17"/>
                  </a:cubicBezTo>
                  <a:cubicBezTo>
                    <a:pt x="3" y="15"/>
                    <a:pt x="2" y="13"/>
                    <a:pt x="2" y="1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3" name="Freeform 45"/>
            <p:cNvSpPr/>
            <p:nvPr/>
          </p:nvSpPr>
          <p:spPr bwMode="auto">
            <a:xfrm>
              <a:off x="-1424879" y="4681084"/>
              <a:ext cx="57150" cy="441325"/>
            </a:xfrm>
            <a:custGeom>
              <a:avLst/>
              <a:gdLst>
                <a:gd name="T0" fmla="*/ 2147483646 w 15"/>
                <a:gd name="T1" fmla="*/ 2147483646 h 118"/>
                <a:gd name="T2" fmla="*/ 2147483646 w 15"/>
                <a:gd name="T3" fmla="*/ 2147483646 h 118"/>
                <a:gd name="T4" fmla="*/ 2147483646 w 15"/>
                <a:gd name="T5" fmla="*/ 2147483646 h 118"/>
                <a:gd name="T6" fmla="*/ 2147483646 w 15"/>
                <a:gd name="T7" fmla="*/ 2147483646 h 118"/>
                <a:gd name="T8" fmla="*/ 2147483646 w 15"/>
                <a:gd name="T9" fmla="*/ 2147483646 h 118"/>
                <a:gd name="T10" fmla="*/ 2147483646 w 15"/>
                <a:gd name="T11" fmla="*/ 2147483646 h 118"/>
                <a:gd name="T12" fmla="*/ 0 w 15"/>
                <a:gd name="T13" fmla="*/ 0 h 118"/>
                <a:gd name="T14" fmla="*/ 2147483646 w 15"/>
                <a:gd name="T15" fmla="*/ 2147483646 h 118"/>
                <a:gd name="T16" fmla="*/ 2147483646 w 15"/>
                <a:gd name="T17" fmla="*/ 2147483646 h 118"/>
                <a:gd name="T18" fmla="*/ 2147483646 w 15"/>
                <a:gd name="T19" fmla="*/ 2147483646 h 118"/>
                <a:gd name="T20" fmla="*/ 2147483646 w 15"/>
                <a:gd name="T21" fmla="*/ 2147483646 h 118"/>
                <a:gd name="T22" fmla="*/ 2147483646 w 15"/>
                <a:gd name="T23" fmla="*/ 2147483646 h 118"/>
                <a:gd name="T24" fmla="*/ 2147483646 w 15"/>
                <a:gd name="T25" fmla="*/ 2147483646 h 118"/>
                <a:gd name="T26" fmla="*/ 2147483646 w 15"/>
                <a:gd name="T27" fmla="*/ 2147483646 h 118"/>
                <a:gd name="T28" fmla="*/ 2147483646 w 15"/>
                <a:gd name="T29" fmla="*/ 2147483646 h 1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5" h="118">
                  <a:moveTo>
                    <a:pt x="12" y="108"/>
                  </a:moveTo>
                  <a:cubicBezTo>
                    <a:pt x="12" y="107"/>
                    <a:pt x="12" y="106"/>
                    <a:pt x="12" y="105"/>
                  </a:cubicBezTo>
                  <a:cubicBezTo>
                    <a:pt x="15" y="93"/>
                    <a:pt x="13" y="68"/>
                    <a:pt x="12" y="51"/>
                  </a:cubicBezTo>
                  <a:cubicBezTo>
                    <a:pt x="12" y="48"/>
                    <a:pt x="12" y="45"/>
                    <a:pt x="12" y="43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34"/>
                    <a:pt x="10" y="19"/>
                    <a:pt x="6" y="8"/>
                  </a:cubicBezTo>
                  <a:cubicBezTo>
                    <a:pt x="5" y="4"/>
                    <a:pt x="3" y="1"/>
                    <a:pt x="0" y="0"/>
                  </a:cubicBezTo>
                  <a:cubicBezTo>
                    <a:pt x="8" y="10"/>
                    <a:pt x="9" y="32"/>
                    <a:pt x="10" y="42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5"/>
                    <a:pt x="10" y="48"/>
                    <a:pt x="11" y="51"/>
                  </a:cubicBezTo>
                  <a:cubicBezTo>
                    <a:pt x="12" y="68"/>
                    <a:pt x="13" y="93"/>
                    <a:pt x="11" y="104"/>
                  </a:cubicBezTo>
                  <a:cubicBezTo>
                    <a:pt x="10" y="105"/>
                    <a:pt x="10" y="107"/>
                    <a:pt x="10" y="108"/>
                  </a:cubicBezTo>
                  <a:cubicBezTo>
                    <a:pt x="10" y="112"/>
                    <a:pt x="12" y="116"/>
                    <a:pt x="15" y="118"/>
                  </a:cubicBezTo>
                  <a:cubicBezTo>
                    <a:pt x="15" y="117"/>
                    <a:pt x="14" y="116"/>
                    <a:pt x="14" y="114"/>
                  </a:cubicBezTo>
                  <a:cubicBezTo>
                    <a:pt x="12" y="112"/>
                    <a:pt x="12" y="110"/>
                    <a:pt x="12" y="108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066" name="组合 2065"/>
          <p:cNvGrpSpPr/>
          <p:nvPr/>
        </p:nvGrpSpPr>
        <p:grpSpPr bwMode="auto">
          <a:xfrm>
            <a:off x="962025" y="1971675"/>
            <a:ext cx="692150" cy="896938"/>
            <a:chOff x="-4353817" y="5673271"/>
            <a:chExt cx="811213" cy="1050925"/>
          </a:xfrm>
        </p:grpSpPr>
        <p:sp>
          <p:nvSpPr>
            <p:cNvPr id="6192" name="Freeform 34"/>
            <p:cNvSpPr/>
            <p:nvPr/>
          </p:nvSpPr>
          <p:spPr bwMode="auto">
            <a:xfrm>
              <a:off x="-4353817" y="5673271"/>
              <a:ext cx="811213" cy="1050925"/>
            </a:xfrm>
            <a:custGeom>
              <a:avLst/>
              <a:gdLst>
                <a:gd name="T0" fmla="*/ 2147483646 w 216"/>
                <a:gd name="T1" fmla="*/ 2147483646 h 280"/>
                <a:gd name="T2" fmla="*/ 2147483646 w 216"/>
                <a:gd name="T3" fmla="*/ 2147483646 h 280"/>
                <a:gd name="T4" fmla="*/ 2147483646 w 216"/>
                <a:gd name="T5" fmla="*/ 2147483646 h 280"/>
                <a:gd name="T6" fmla="*/ 2147483646 w 216"/>
                <a:gd name="T7" fmla="*/ 2147483646 h 280"/>
                <a:gd name="T8" fmla="*/ 2147483646 w 216"/>
                <a:gd name="T9" fmla="*/ 2147483646 h 280"/>
                <a:gd name="T10" fmla="*/ 2147483646 w 216"/>
                <a:gd name="T11" fmla="*/ 2147483646 h 280"/>
                <a:gd name="T12" fmla="*/ 2147483646 w 216"/>
                <a:gd name="T13" fmla="*/ 2147483646 h 280"/>
                <a:gd name="T14" fmla="*/ 2147483646 w 216"/>
                <a:gd name="T15" fmla="*/ 2147483646 h 280"/>
                <a:gd name="T16" fmla="*/ 2147483646 w 216"/>
                <a:gd name="T17" fmla="*/ 0 h 280"/>
                <a:gd name="T18" fmla="*/ 2147483646 w 216"/>
                <a:gd name="T19" fmla="*/ 2147483646 h 280"/>
                <a:gd name="T20" fmla="*/ 2147483646 w 216"/>
                <a:gd name="T21" fmla="*/ 2147483646 h 280"/>
                <a:gd name="T22" fmla="*/ 2147483646 w 216"/>
                <a:gd name="T23" fmla="*/ 2147483646 h 280"/>
                <a:gd name="T24" fmla="*/ 2147483646 w 216"/>
                <a:gd name="T25" fmla="*/ 2147483646 h 280"/>
                <a:gd name="T26" fmla="*/ 2147483646 w 216"/>
                <a:gd name="T27" fmla="*/ 2147483646 h 280"/>
                <a:gd name="T28" fmla="*/ 0 w 216"/>
                <a:gd name="T29" fmla="*/ 2147483646 h 280"/>
                <a:gd name="T30" fmla="*/ 2147483646 w 216"/>
                <a:gd name="T31" fmla="*/ 2147483646 h 280"/>
                <a:gd name="T32" fmla="*/ 2147483646 w 216"/>
                <a:gd name="T33" fmla="*/ 2147483646 h 280"/>
                <a:gd name="T34" fmla="*/ 2147483646 w 216"/>
                <a:gd name="T35" fmla="*/ 2147483646 h 280"/>
                <a:gd name="T36" fmla="*/ 2147483646 w 216"/>
                <a:gd name="T37" fmla="*/ 2147483646 h 280"/>
                <a:gd name="T38" fmla="*/ 2147483646 w 216"/>
                <a:gd name="T39" fmla="*/ 2147483646 h 280"/>
                <a:gd name="T40" fmla="*/ 2147483646 w 216"/>
                <a:gd name="T41" fmla="*/ 2147483646 h 280"/>
                <a:gd name="T42" fmla="*/ 2147483646 w 216"/>
                <a:gd name="T43" fmla="*/ 2147483646 h 280"/>
                <a:gd name="T44" fmla="*/ 2147483646 w 216"/>
                <a:gd name="T45" fmla="*/ 2147483646 h 280"/>
                <a:gd name="T46" fmla="*/ 2147483646 w 216"/>
                <a:gd name="T47" fmla="*/ 2147483646 h 280"/>
                <a:gd name="T48" fmla="*/ 2147483646 w 216"/>
                <a:gd name="T49" fmla="*/ 2147483646 h 280"/>
                <a:gd name="T50" fmla="*/ 2147483646 w 216"/>
                <a:gd name="T51" fmla="*/ 2147483646 h 280"/>
                <a:gd name="T52" fmla="*/ 2147483646 w 216"/>
                <a:gd name="T53" fmla="*/ 2147483646 h 280"/>
                <a:gd name="T54" fmla="*/ 2147483646 w 216"/>
                <a:gd name="T55" fmla="*/ 2147483646 h 280"/>
                <a:gd name="T56" fmla="*/ 2147483646 w 216"/>
                <a:gd name="T57" fmla="*/ 2147483646 h 280"/>
                <a:gd name="T58" fmla="*/ 2147483646 w 216"/>
                <a:gd name="T59" fmla="*/ 2147483646 h 280"/>
                <a:gd name="T60" fmla="*/ 2147483646 w 216"/>
                <a:gd name="T61" fmla="*/ 2147483646 h 280"/>
                <a:gd name="T62" fmla="*/ 2147483646 w 216"/>
                <a:gd name="T63" fmla="*/ 2147483646 h 280"/>
                <a:gd name="T64" fmla="*/ 2147483646 w 216"/>
                <a:gd name="T65" fmla="*/ 2147483646 h 280"/>
                <a:gd name="T66" fmla="*/ 2147483646 w 216"/>
                <a:gd name="T67" fmla="*/ 2147483646 h 280"/>
                <a:gd name="T68" fmla="*/ 2147483646 w 216"/>
                <a:gd name="T69" fmla="*/ 2147483646 h 280"/>
                <a:gd name="T70" fmla="*/ 2147483646 w 216"/>
                <a:gd name="T71" fmla="*/ 2147483646 h 280"/>
                <a:gd name="T72" fmla="*/ 2147483646 w 216"/>
                <a:gd name="T73" fmla="*/ 2147483646 h 280"/>
                <a:gd name="T74" fmla="*/ 2147483646 w 216"/>
                <a:gd name="T75" fmla="*/ 2147483646 h 280"/>
                <a:gd name="T76" fmla="*/ 2147483646 w 216"/>
                <a:gd name="T77" fmla="*/ 2147483646 h 280"/>
                <a:gd name="T78" fmla="*/ 2147483646 w 216"/>
                <a:gd name="T79" fmla="*/ 2147483646 h 280"/>
                <a:gd name="T80" fmla="*/ 2147483646 w 216"/>
                <a:gd name="T81" fmla="*/ 2147483646 h 28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16" h="280">
                  <a:moveTo>
                    <a:pt x="216" y="104"/>
                  </a:moveTo>
                  <a:cubicBezTo>
                    <a:pt x="216" y="96"/>
                    <a:pt x="210" y="90"/>
                    <a:pt x="202" y="90"/>
                  </a:cubicBezTo>
                  <a:cubicBezTo>
                    <a:pt x="198" y="90"/>
                    <a:pt x="195" y="91"/>
                    <a:pt x="193" y="93"/>
                  </a:cubicBezTo>
                  <a:cubicBezTo>
                    <a:pt x="184" y="101"/>
                    <a:pt x="167" y="103"/>
                    <a:pt x="156" y="97"/>
                  </a:cubicBezTo>
                  <a:cubicBezTo>
                    <a:pt x="151" y="94"/>
                    <a:pt x="143" y="88"/>
                    <a:pt x="135" y="81"/>
                  </a:cubicBezTo>
                  <a:cubicBezTo>
                    <a:pt x="134" y="70"/>
                    <a:pt x="130" y="61"/>
                    <a:pt x="122" y="53"/>
                  </a:cubicBezTo>
                  <a:cubicBezTo>
                    <a:pt x="118" y="50"/>
                    <a:pt x="119" y="46"/>
                    <a:pt x="124" y="46"/>
                  </a:cubicBezTo>
                  <a:cubicBezTo>
                    <a:pt x="135" y="44"/>
                    <a:pt x="143" y="34"/>
                    <a:pt x="143" y="23"/>
                  </a:cubicBezTo>
                  <a:cubicBezTo>
                    <a:pt x="143" y="10"/>
                    <a:pt x="133" y="0"/>
                    <a:pt x="120" y="0"/>
                  </a:cubicBezTo>
                  <a:cubicBezTo>
                    <a:pt x="108" y="0"/>
                    <a:pt x="97" y="10"/>
                    <a:pt x="97" y="23"/>
                  </a:cubicBezTo>
                  <a:cubicBezTo>
                    <a:pt x="97" y="25"/>
                    <a:pt x="98" y="27"/>
                    <a:pt x="98" y="29"/>
                  </a:cubicBezTo>
                  <a:cubicBezTo>
                    <a:pt x="98" y="35"/>
                    <a:pt x="98" y="39"/>
                    <a:pt x="96" y="42"/>
                  </a:cubicBezTo>
                  <a:cubicBezTo>
                    <a:pt x="87" y="54"/>
                    <a:pt x="57" y="49"/>
                    <a:pt x="37" y="62"/>
                  </a:cubicBezTo>
                  <a:cubicBezTo>
                    <a:pt x="17" y="75"/>
                    <a:pt x="8" y="104"/>
                    <a:pt x="3" y="111"/>
                  </a:cubicBezTo>
                  <a:cubicBezTo>
                    <a:pt x="1" y="114"/>
                    <a:pt x="0" y="117"/>
                    <a:pt x="0" y="120"/>
                  </a:cubicBezTo>
                  <a:cubicBezTo>
                    <a:pt x="0" y="128"/>
                    <a:pt x="6" y="135"/>
                    <a:pt x="14" y="135"/>
                  </a:cubicBezTo>
                  <a:cubicBezTo>
                    <a:pt x="22" y="135"/>
                    <a:pt x="28" y="128"/>
                    <a:pt x="28" y="120"/>
                  </a:cubicBezTo>
                  <a:cubicBezTo>
                    <a:pt x="29" y="111"/>
                    <a:pt x="34" y="95"/>
                    <a:pt x="46" y="83"/>
                  </a:cubicBezTo>
                  <a:cubicBezTo>
                    <a:pt x="51" y="77"/>
                    <a:pt x="61" y="75"/>
                    <a:pt x="70" y="75"/>
                  </a:cubicBezTo>
                  <a:cubicBezTo>
                    <a:pt x="70" y="76"/>
                    <a:pt x="69" y="76"/>
                    <a:pt x="69" y="77"/>
                  </a:cubicBezTo>
                  <a:cubicBezTo>
                    <a:pt x="65" y="88"/>
                    <a:pt x="67" y="133"/>
                    <a:pt x="67" y="134"/>
                  </a:cubicBezTo>
                  <a:cubicBezTo>
                    <a:pt x="67" y="141"/>
                    <a:pt x="70" y="147"/>
                    <a:pt x="74" y="153"/>
                  </a:cubicBezTo>
                  <a:cubicBezTo>
                    <a:pt x="68" y="170"/>
                    <a:pt x="59" y="189"/>
                    <a:pt x="49" y="202"/>
                  </a:cubicBezTo>
                  <a:cubicBezTo>
                    <a:pt x="38" y="218"/>
                    <a:pt x="14" y="254"/>
                    <a:pt x="14" y="254"/>
                  </a:cubicBezTo>
                  <a:cubicBezTo>
                    <a:pt x="12" y="257"/>
                    <a:pt x="11" y="260"/>
                    <a:pt x="11" y="264"/>
                  </a:cubicBezTo>
                  <a:cubicBezTo>
                    <a:pt x="11" y="272"/>
                    <a:pt x="18" y="280"/>
                    <a:pt x="27" y="280"/>
                  </a:cubicBezTo>
                  <a:cubicBezTo>
                    <a:pt x="35" y="280"/>
                    <a:pt x="42" y="272"/>
                    <a:pt x="42" y="264"/>
                  </a:cubicBezTo>
                  <a:cubicBezTo>
                    <a:pt x="47" y="249"/>
                    <a:pt x="58" y="237"/>
                    <a:pt x="74" y="219"/>
                  </a:cubicBezTo>
                  <a:cubicBezTo>
                    <a:pt x="90" y="200"/>
                    <a:pt x="103" y="173"/>
                    <a:pt x="106" y="163"/>
                  </a:cubicBezTo>
                  <a:cubicBezTo>
                    <a:pt x="116" y="176"/>
                    <a:pt x="128" y="195"/>
                    <a:pt x="133" y="212"/>
                  </a:cubicBezTo>
                  <a:cubicBezTo>
                    <a:pt x="138" y="230"/>
                    <a:pt x="151" y="267"/>
                    <a:pt x="151" y="267"/>
                  </a:cubicBezTo>
                  <a:cubicBezTo>
                    <a:pt x="153" y="274"/>
                    <a:pt x="159" y="280"/>
                    <a:pt x="167" y="280"/>
                  </a:cubicBezTo>
                  <a:cubicBezTo>
                    <a:pt x="176" y="280"/>
                    <a:pt x="183" y="272"/>
                    <a:pt x="183" y="264"/>
                  </a:cubicBezTo>
                  <a:cubicBezTo>
                    <a:pt x="183" y="260"/>
                    <a:pt x="181" y="256"/>
                    <a:pt x="179" y="253"/>
                  </a:cubicBezTo>
                  <a:cubicBezTo>
                    <a:pt x="168" y="237"/>
                    <a:pt x="167" y="220"/>
                    <a:pt x="160" y="197"/>
                  </a:cubicBezTo>
                  <a:cubicBezTo>
                    <a:pt x="154" y="175"/>
                    <a:pt x="141" y="160"/>
                    <a:pt x="131" y="144"/>
                  </a:cubicBezTo>
                  <a:cubicBezTo>
                    <a:pt x="128" y="138"/>
                    <a:pt x="128" y="130"/>
                    <a:pt x="129" y="125"/>
                  </a:cubicBezTo>
                  <a:cubicBezTo>
                    <a:pt x="129" y="119"/>
                    <a:pt x="130" y="113"/>
                    <a:pt x="131" y="109"/>
                  </a:cubicBezTo>
                  <a:cubicBezTo>
                    <a:pt x="138" y="113"/>
                    <a:pt x="144" y="116"/>
                    <a:pt x="149" y="119"/>
                  </a:cubicBezTo>
                  <a:cubicBezTo>
                    <a:pt x="163" y="125"/>
                    <a:pt x="188" y="124"/>
                    <a:pt x="206" y="118"/>
                  </a:cubicBezTo>
                  <a:cubicBezTo>
                    <a:pt x="212" y="116"/>
                    <a:pt x="216" y="111"/>
                    <a:pt x="216" y="104"/>
                  </a:cubicBezTo>
                  <a:close/>
                </a:path>
              </a:pathLst>
            </a:custGeom>
            <a:solidFill>
              <a:srgbClr val="023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3" name="Freeform 35"/>
            <p:cNvSpPr/>
            <p:nvPr/>
          </p:nvSpPr>
          <p:spPr bwMode="auto">
            <a:xfrm>
              <a:off x="-4342704" y="5684384"/>
              <a:ext cx="500063" cy="473075"/>
            </a:xfrm>
            <a:custGeom>
              <a:avLst/>
              <a:gdLst>
                <a:gd name="T0" fmla="*/ 2147483646 w 133"/>
                <a:gd name="T1" fmla="*/ 2147483646 h 126"/>
                <a:gd name="T2" fmla="*/ 2147483646 w 133"/>
                <a:gd name="T3" fmla="*/ 2147483646 h 126"/>
                <a:gd name="T4" fmla="*/ 2147483646 w 133"/>
                <a:gd name="T5" fmla="*/ 2147483646 h 126"/>
                <a:gd name="T6" fmla="*/ 2147483646 w 133"/>
                <a:gd name="T7" fmla="*/ 2147483646 h 126"/>
                <a:gd name="T8" fmla="*/ 2147483646 w 133"/>
                <a:gd name="T9" fmla="*/ 2147483646 h 126"/>
                <a:gd name="T10" fmla="*/ 2147483646 w 133"/>
                <a:gd name="T11" fmla="*/ 2147483646 h 126"/>
                <a:gd name="T12" fmla="*/ 2147483646 w 133"/>
                <a:gd name="T13" fmla="*/ 2147483646 h 126"/>
                <a:gd name="T14" fmla="*/ 2147483646 w 133"/>
                <a:gd name="T15" fmla="*/ 2147483646 h 126"/>
                <a:gd name="T16" fmla="*/ 2147483646 w 133"/>
                <a:gd name="T17" fmla="*/ 2147483646 h 126"/>
                <a:gd name="T18" fmla="*/ 2147483646 w 133"/>
                <a:gd name="T19" fmla="*/ 2147483646 h 126"/>
                <a:gd name="T20" fmla="*/ 2147483646 w 133"/>
                <a:gd name="T21" fmla="*/ 2147483646 h 126"/>
                <a:gd name="T22" fmla="*/ 2147483646 w 133"/>
                <a:gd name="T23" fmla="*/ 2147483646 h 126"/>
                <a:gd name="T24" fmla="*/ 2147483646 w 133"/>
                <a:gd name="T25" fmla="*/ 2147483646 h 126"/>
                <a:gd name="T26" fmla="*/ 2147483646 w 133"/>
                <a:gd name="T27" fmla="*/ 2147483646 h 126"/>
                <a:gd name="T28" fmla="*/ 2147483646 w 133"/>
                <a:gd name="T29" fmla="*/ 2147483646 h 126"/>
                <a:gd name="T30" fmla="*/ 2147483646 w 133"/>
                <a:gd name="T31" fmla="*/ 0 h 126"/>
                <a:gd name="T32" fmla="*/ 2147483646 w 133"/>
                <a:gd name="T33" fmla="*/ 2147483646 h 126"/>
                <a:gd name="T34" fmla="*/ 2147483646 w 133"/>
                <a:gd name="T35" fmla="*/ 2147483646 h 126"/>
                <a:gd name="T36" fmla="*/ 2147483646 w 133"/>
                <a:gd name="T37" fmla="*/ 2147483646 h 126"/>
                <a:gd name="T38" fmla="*/ 2147483646 w 133"/>
                <a:gd name="T39" fmla="*/ 2147483646 h 126"/>
                <a:gd name="T40" fmla="*/ 2147483646 w 133"/>
                <a:gd name="T41" fmla="*/ 2147483646 h 126"/>
                <a:gd name="T42" fmla="*/ 2147483646 w 133"/>
                <a:gd name="T43" fmla="*/ 2147483646 h 126"/>
                <a:gd name="T44" fmla="*/ 2147483646 w 133"/>
                <a:gd name="T45" fmla="*/ 2147483646 h 126"/>
                <a:gd name="T46" fmla="*/ 2147483646 w 133"/>
                <a:gd name="T47" fmla="*/ 2147483646 h 126"/>
                <a:gd name="T48" fmla="*/ 2147483646 w 133"/>
                <a:gd name="T49" fmla="*/ 2147483646 h 126"/>
                <a:gd name="T50" fmla="*/ 2147483646 w 133"/>
                <a:gd name="T51" fmla="*/ 2147483646 h 126"/>
                <a:gd name="T52" fmla="*/ 0 w 133"/>
                <a:gd name="T53" fmla="*/ 2147483646 h 126"/>
                <a:gd name="T54" fmla="*/ 2147483646 w 133"/>
                <a:gd name="T55" fmla="*/ 2147483646 h 126"/>
                <a:gd name="T56" fmla="*/ 2147483646 w 133"/>
                <a:gd name="T57" fmla="*/ 2147483646 h 126"/>
                <a:gd name="T58" fmla="*/ 2147483646 w 133"/>
                <a:gd name="T59" fmla="*/ 2147483646 h 1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33" h="126">
                  <a:moveTo>
                    <a:pt x="2" y="117"/>
                  </a:moveTo>
                  <a:cubicBezTo>
                    <a:pt x="2" y="115"/>
                    <a:pt x="3" y="112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6" y="109"/>
                    <a:pt x="7" y="106"/>
                    <a:pt x="9" y="101"/>
                  </a:cubicBezTo>
                  <a:cubicBezTo>
                    <a:pt x="15" y="89"/>
                    <a:pt x="23" y="72"/>
                    <a:pt x="36" y="63"/>
                  </a:cubicBezTo>
                  <a:cubicBezTo>
                    <a:pt x="46" y="57"/>
                    <a:pt x="58" y="55"/>
                    <a:pt x="69" y="53"/>
                  </a:cubicBezTo>
                  <a:cubicBezTo>
                    <a:pt x="81" y="51"/>
                    <a:pt x="92" y="50"/>
                    <a:pt x="97" y="43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100" y="37"/>
                    <a:pt x="100" y="32"/>
                    <a:pt x="100" y="27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3"/>
                    <a:pt x="99" y="22"/>
                    <a:pt x="99" y="20"/>
                  </a:cubicBezTo>
                  <a:cubicBezTo>
                    <a:pt x="99" y="10"/>
                    <a:pt x="107" y="2"/>
                    <a:pt x="117" y="2"/>
                  </a:cubicBezTo>
                  <a:cubicBezTo>
                    <a:pt x="121" y="2"/>
                    <a:pt x="124" y="3"/>
                    <a:pt x="127" y="5"/>
                  </a:cubicBezTo>
                  <a:cubicBezTo>
                    <a:pt x="129" y="5"/>
                    <a:pt x="131" y="6"/>
                    <a:pt x="133" y="8"/>
                  </a:cubicBezTo>
                  <a:cubicBezTo>
                    <a:pt x="129" y="3"/>
                    <a:pt x="124" y="0"/>
                    <a:pt x="117" y="0"/>
                  </a:cubicBezTo>
                  <a:cubicBezTo>
                    <a:pt x="106" y="0"/>
                    <a:pt x="98" y="9"/>
                    <a:pt x="98" y="20"/>
                  </a:cubicBezTo>
                  <a:cubicBezTo>
                    <a:pt x="98" y="22"/>
                    <a:pt x="98" y="24"/>
                    <a:pt x="98" y="26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8" y="32"/>
                    <a:pt x="98" y="37"/>
                    <a:pt x="96" y="41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1" y="48"/>
                    <a:pt x="80" y="50"/>
                    <a:pt x="69" y="52"/>
                  </a:cubicBezTo>
                  <a:cubicBezTo>
                    <a:pt x="58" y="53"/>
                    <a:pt x="45" y="55"/>
                    <a:pt x="35" y="62"/>
                  </a:cubicBezTo>
                  <a:cubicBezTo>
                    <a:pt x="21" y="71"/>
                    <a:pt x="13" y="88"/>
                    <a:pt x="8" y="100"/>
                  </a:cubicBezTo>
                  <a:cubicBezTo>
                    <a:pt x="6" y="105"/>
                    <a:pt x="4" y="108"/>
                    <a:pt x="3" y="110"/>
                  </a:cubicBezTo>
                  <a:cubicBezTo>
                    <a:pt x="1" y="112"/>
                    <a:pt x="0" y="114"/>
                    <a:pt x="0" y="117"/>
                  </a:cubicBezTo>
                  <a:cubicBezTo>
                    <a:pt x="0" y="121"/>
                    <a:pt x="2" y="125"/>
                    <a:pt x="5" y="126"/>
                  </a:cubicBezTo>
                  <a:cubicBezTo>
                    <a:pt x="4" y="125"/>
                    <a:pt x="4" y="124"/>
                    <a:pt x="3" y="123"/>
                  </a:cubicBezTo>
                  <a:cubicBezTo>
                    <a:pt x="2" y="121"/>
                    <a:pt x="2" y="119"/>
                    <a:pt x="2" y="117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4" name="Freeform 36"/>
            <p:cNvSpPr/>
            <p:nvPr/>
          </p:nvSpPr>
          <p:spPr bwMode="auto">
            <a:xfrm>
              <a:off x="-3847404" y="5992359"/>
              <a:ext cx="285750" cy="74613"/>
            </a:xfrm>
            <a:custGeom>
              <a:avLst/>
              <a:gdLst>
                <a:gd name="T0" fmla="*/ 0 w 76"/>
                <a:gd name="T1" fmla="*/ 0 h 20"/>
                <a:gd name="T2" fmla="*/ 0 w 76"/>
                <a:gd name="T3" fmla="*/ 2147483646 h 20"/>
                <a:gd name="T4" fmla="*/ 2147483646 w 76"/>
                <a:gd name="T5" fmla="*/ 2147483646 h 20"/>
                <a:gd name="T6" fmla="*/ 2147483646 w 76"/>
                <a:gd name="T7" fmla="*/ 2147483646 h 20"/>
                <a:gd name="T8" fmla="*/ 2147483646 w 76"/>
                <a:gd name="T9" fmla="*/ 2147483646 h 20"/>
                <a:gd name="T10" fmla="*/ 2147483646 w 76"/>
                <a:gd name="T11" fmla="*/ 2147483646 h 20"/>
                <a:gd name="T12" fmla="*/ 2147483646 w 76"/>
                <a:gd name="T13" fmla="*/ 2147483646 h 20"/>
                <a:gd name="T14" fmla="*/ 2147483646 w 76"/>
                <a:gd name="T15" fmla="*/ 2147483646 h 20"/>
                <a:gd name="T16" fmla="*/ 2147483646 w 76"/>
                <a:gd name="T17" fmla="*/ 2147483646 h 20"/>
                <a:gd name="T18" fmla="*/ 2147483646 w 76"/>
                <a:gd name="T19" fmla="*/ 2147483646 h 20"/>
                <a:gd name="T20" fmla="*/ 2147483646 w 76"/>
                <a:gd name="T21" fmla="*/ 2147483646 h 20"/>
                <a:gd name="T22" fmla="*/ 2147483646 w 76"/>
                <a:gd name="T23" fmla="*/ 2147483646 h 20"/>
                <a:gd name="T24" fmla="*/ 2147483646 w 76"/>
                <a:gd name="T25" fmla="*/ 2147483646 h 20"/>
                <a:gd name="T26" fmla="*/ 2147483646 w 76"/>
                <a:gd name="T27" fmla="*/ 2147483646 h 20"/>
                <a:gd name="T28" fmla="*/ 0 w 76"/>
                <a:gd name="T29" fmla="*/ 0 h 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6" h="20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9" y="10"/>
                    <a:pt x="19" y="16"/>
                    <a:pt x="23" y="18"/>
                  </a:cubicBezTo>
                  <a:cubicBezTo>
                    <a:pt x="27" y="20"/>
                    <a:pt x="31" y="20"/>
                    <a:pt x="36" y="20"/>
                  </a:cubicBezTo>
                  <a:cubicBezTo>
                    <a:pt x="45" y="20"/>
                    <a:pt x="54" y="17"/>
                    <a:pt x="61" y="12"/>
                  </a:cubicBezTo>
                  <a:cubicBezTo>
                    <a:pt x="62" y="11"/>
                    <a:pt x="64" y="10"/>
                    <a:pt x="67" y="10"/>
                  </a:cubicBezTo>
                  <a:cubicBezTo>
                    <a:pt x="69" y="10"/>
                    <a:pt x="71" y="11"/>
                    <a:pt x="73" y="12"/>
                  </a:cubicBezTo>
                  <a:cubicBezTo>
                    <a:pt x="74" y="12"/>
                    <a:pt x="75" y="13"/>
                    <a:pt x="76" y="13"/>
                  </a:cubicBezTo>
                  <a:cubicBezTo>
                    <a:pt x="74" y="10"/>
                    <a:pt x="71" y="8"/>
                    <a:pt x="67" y="8"/>
                  </a:cubicBezTo>
                  <a:cubicBezTo>
                    <a:pt x="64" y="8"/>
                    <a:pt x="61" y="10"/>
                    <a:pt x="60" y="11"/>
                  </a:cubicBezTo>
                  <a:cubicBezTo>
                    <a:pt x="54" y="16"/>
                    <a:pt x="45" y="19"/>
                    <a:pt x="36" y="19"/>
                  </a:cubicBezTo>
                  <a:cubicBezTo>
                    <a:pt x="30" y="19"/>
                    <a:pt x="24" y="17"/>
                    <a:pt x="19" y="15"/>
                  </a:cubicBezTo>
                  <a:cubicBezTo>
                    <a:pt x="15" y="12"/>
                    <a:pt x="9" y="7"/>
                    <a:pt x="2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5" name="Freeform 37"/>
            <p:cNvSpPr/>
            <p:nvPr/>
          </p:nvSpPr>
          <p:spPr bwMode="auto">
            <a:xfrm>
              <a:off x="-3952179" y="6270171"/>
              <a:ext cx="198438" cy="430213"/>
            </a:xfrm>
            <a:custGeom>
              <a:avLst/>
              <a:gdLst>
                <a:gd name="T0" fmla="*/ 2147483646 w 53"/>
                <a:gd name="T1" fmla="*/ 2147483646 h 115"/>
                <a:gd name="T2" fmla="*/ 2147483646 w 53"/>
                <a:gd name="T3" fmla="*/ 2147483646 h 115"/>
                <a:gd name="T4" fmla="*/ 2147483646 w 53"/>
                <a:gd name="T5" fmla="*/ 2147483646 h 115"/>
                <a:gd name="T6" fmla="*/ 2147483646 w 53"/>
                <a:gd name="T7" fmla="*/ 2147483646 h 115"/>
                <a:gd name="T8" fmla="*/ 2147483646 w 53"/>
                <a:gd name="T9" fmla="*/ 2147483646 h 115"/>
                <a:gd name="T10" fmla="*/ 2147483646 w 53"/>
                <a:gd name="T11" fmla="*/ 2147483646 h 115"/>
                <a:gd name="T12" fmla="*/ 0 w 53"/>
                <a:gd name="T13" fmla="*/ 0 h 115"/>
                <a:gd name="T14" fmla="*/ 0 w 53"/>
                <a:gd name="T15" fmla="*/ 0 h 115"/>
                <a:gd name="T16" fmla="*/ 2147483646 w 53"/>
                <a:gd name="T17" fmla="*/ 2147483646 h 115"/>
                <a:gd name="T18" fmla="*/ 2147483646 w 53"/>
                <a:gd name="T19" fmla="*/ 2147483646 h 115"/>
                <a:gd name="T20" fmla="*/ 2147483646 w 53"/>
                <a:gd name="T21" fmla="*/ 2147483646 h 115"/>
                <a:gd name="T22" fmla="*/ 2147483646 w 53"/>
                <a:gd name="T23" fmla="*/ 2147483646 h 115"/>
                <a:gd name="T24" fmla="*/ 2147483646 w 53"/>
                <a:gd name="T25" fmla="*/ 2147483646 h 115"/>
                <a:gd name="T26" fmla="*/ 2147483646 w 53"/>
                <a:gd name="T27" fmla="*/ 2147483646 h 115"/>
                <a:gd name="T28" fmla="*/ 2147483646 w 53"/>
                <a:gd name="T29" fmla="*/ 2147483646 h 1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3" h="115">
                  <a:moveTo>
                    <a:pt x="49" y="107"/>
                  </a:move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49" y="106"/>
                    <a:pt x="36" y="69"/>
                    <a:pt x="31" y="52"/>
                  </a:cubicBezTo>
                  <a:cubicBezTo>
                    <a:pt x="30" y="48"/>
                    <a:pt x="29" y="44"/>
                    <a:pt x="27" y="40"/>
                  </a:cubicBezTo>
                  <a:cubicBezTo>
                    <a:pt x="22" y="29"/>
                    <a:pt x="14" y="16"/>
                    <a:pt x="4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4" y="18"/>
                    <a:pt x="25" y="37"/>
                    <a:pt x="30" y="52"/>
                  </a:cubicBezTo>
                  <a:cubicBezTo>
                    <a:pt x="35" y="69"/>
                    <a:pt x="47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11"/>
                    <a:pt x="50" y="113"/>
                    <a:pt x="53" y="115"/>
                  </a:cubicBezTo>
                  <a:cubicBezTo>
                    <a:pt x="52" y="114"/>
                    <a:pt x="51" y="112"/>
                    <a:pt x="51" y="111"/>
                  </a:cubicBezTo>
                  <a:cubicBezTo>
                    <a:pt x="50" y="110"/>
                    <a:pt x="50" y="109"/>
                    <a:pt x="49" y="107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6" name="Freeform 38"/>
            <p:cNvSpPr/>
            <p:nvPr/>
          </p:nvSpPr>
          <p:spPr bwMode="auto">
            <a:xfrm>
              <a:off x="-4095054" y="5954259"/>
              <a:ext cx="34925" cy="288925"/>
            </a:xfrm>
            <a:custGeom>
              <a:avLst/>
              <a:gdLst>
                <a:gd name="T0" fmla="*/ 2147483646 w 9"/>
                <a:gd name="T1" fmla="*/ 2147483646 h 77"/>
                <a:gd name="T2" fmla="*/ 2147483646 w 9"/>
                <a:gd name="T3" fmla="*/ 2147483646 h 77"/>
                <a:gd name="T4" fmla="*/ 2147483646 w 9"/>
                <a:gd name="T5" fmla="*/ 2147483646 h 77"/>
                <a:gd name="T6" fmla="*/ 2147483646 w 9"/>
                <a:gd name="T7" fmla="*/ 2147483646 h 77"/>
                <a:gd name="T8" fmla="*/ 2147483646 w 9"/>
                <a:gd name="T9" fmla="*/ 2147483646 h 77"/>
                <a:gd name="T10" fmla="*/ 2147483646 w 9"/>
                <a:gd name="T11" fmla="*/ 2147483646 h 77"/>
                <a:gd name="T12" fmla="*/ 2147483646 w 9"/>
                <a:gd name="T13" fmla="*/ 2147483646 h 77"/>
                <a:gd name="T14" fmla="*/ 2147483646 w 9"/>
                <a:gd name="T15" fmla="*/ 0 h 77"/>
                <a:gd name="T16" fmla="*/ 2147483646 w 9"/>
                <a:gd name="T17" fmla="*/ 0 h 77"/>
                <a:gd name="T18" fmla="*/ 2147483646 w 9"/>
                <a:gd name="T19" fmla="*/ 2147483646 h 77"/>
                <a:gd name="T20" fmla="*/ 2147483646 w 9"/>
                <a:gd name="T21" fmla="*/ 2147483646 h 77"/>
                <a:gd name="T22" fmla="*/ 2147483646 w 9"/>
                <a:gd name="T23" fmla="*/ 2147483646 h 77"/>
                <a:gd name="T24" fmla="*/ 2147483646 w 9"/>
                <a:gd name="T25" fmla="*/ 2147483646 h 7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" h="77">
                  <a:moveTo>
                    <a:pt x="2" y="59"/>
                  </a:moveTo>
                  <a:cubicBezTo>
                    <a:pt x="2" y="65"/>
                    <a:pt x="5" y="74"/>
                    <a:pt x="9" y="77"/>
                  </a:cubicBezTo>
                  <a:cubicBezTo>
                    <a:pt x="5" y="72"/>
                    <a:pt x="3" y="63"/>
                    <a:pt x="3" y="59"/>
                  </a:cubicBezTo>
                  <a:cubicBezTo>
                    <a:pt x="3" y="59"/>
                    <a:pt x="3" y="58"/>
                    <a:pt x="3" y="57"/>
                  </a:cubicBezTo>
                  <a:cubicBezTo>
                    <a:pt x="2" y="17"/>
                    <a:pt x="4" y="6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7"/>
                    <a:pt x="0" y="18"/>
                    <a:pt x="2" y="57"/>
                  </a:cubicBezTo>
                  <a:cubicBezTo>
                    <a:pt x="2" y="58"/>
                    <a:pt x="2" y="59"/>
                    <a:pt x="2" y="59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7" name="Freeform 39"/>
            <p:cNvSpPr/>
            <p:nvPr/>
          </p:nvSpPr>
          <p:spPr bwMode="auto">
            <a:xfrm>
              <a:off x="-4301429" y="6254296"/>
              <a:ext cx="241300" cy="446088"/>
            </a:xfrm>
            <a:custGeom>
              <a:avLst/>
              <a:gdLst>
                <a:gd name="T0" fmla="*/ 2147483646 w 64"/>
                <a:gd name="T1" fmla="*/ 0 h 119"/>
                <a:gd name="T2" fmla="*/ 2147483646 w 64"/>
                <a:gd name="T3" fmla="*/ 2147483646 h 119"/>
                <a:gd name="T4" fmla="*/ 2147483646 w 64"/>
                <a:gd name="T5" fmla="*/ 2147483646 h 119"/>
                <a:gd name="T6" fmla="*/ 2147483646 w 64"/>
                <a:gd name="T7" fmla="*/ 2147483646 h 119"/>
                <a:gd name="T8" fmla="*/ 0 w 64"/>
                <a:gd name="T9" fmla="*/ 2147483646 h 119"/>
                <a:gd name="T10" fmla="*/ 2147483646 w 64"/>
                <a:gd name="T11" fmla="*/ 2147483646 h 119"/>
                <a:gd name="T12" fmla="*/ 2147483646 w 64"/>
                <a:gd name="T13" fmla="*/ 2147483646 h 119"/>
                <a:gd name="T14" fmla="*/ 2147483646 w 64"/>
                <a:gd name="T15" fmla="*/ 2147483646 h 119"/>
                <a:gd name="T16" fmla="*/ 2147483646 w 64"/>
                <a:gd name="T17" fmla="*/ 2147483646 h 119"/>
                <a:gd name="T18" fmla="*/ 2147483646 w 64"/>
                <a:gd name="T19" fmla="*/ 2147483646 h 119"/>
                <a:gd name="T20" fmla="*/ 2147483646 w 64"/>
                <a:gd name="T21" fmla="*/ 2147483646 h 119"/>
                <a:gd name="T22" fmla="*/ 2147483646 w 64"/>
                <a:gd name="T23" fmla="*/ 2147483646 h 119"/>
                <a:gd name="T24" fmla="*/ 2147483646 w 64"/>
                <a:gd name="T25" fmla="*/ 0 h 1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4" h="119">
                  <a:moveTo>
                    <a:pt x="62" y="0"/>
                  </a:moveTo>
                  <a:cubicBezTo>
                    <a:pt x="62" y="2"/>
                    <a:pt x="62" y="2"/>
                    <a:pt x="62" y="2"/>
                  </a:cubicBezTo>
                  <a:cubicBezTo>
                    <a:pt x="57" y="14"/>
                    <a:pt x="50" y="34"/>
                    <a:pt x="38" y="49"/>
                  </a:cubicBezTo>
                  <a:cubicBezTo>
                    <a:pt x="26" y="65"/>
                    <a:pt x="3" y="101"/>
                    <a:pt x="3" y="101"/>
                  </a:cubicBezTo>
                  <a:cubicBezTo>
                    <a:pt x="1" y="103"/>
                    <a:pt x="0" y="106"/>
                    <a:pt x="0" y="109"/>
                  </a:cubicBezTo>
                  <a:cubicBezTo>
                    <a:pt x="0" y="113"/>
                    <a:pt x="2" y="117"/>
                    <a:pt x="6" y="119"/>
                  </a:cubicBezTo>
                  <a:cubicBezTo>
                    <a:pt x="5" y="118"/>
                    <a:pt x="4" y="116"/>
                    <a:pt x="4" y="115"/>
                  </a:cubicBezTo>
                  <a:cubicBezTo>
                    <a:pt x="2" y="113"/>
                    <a:pt x="2" y="111"/>
                    <a:pt x="2" y="109"/>
                  </a:cubicBezTo>
                  <a:cubicBezTo>
                    <a:pt x="2" y="106"/>
                    <a:pt x="3" y="103"/>
                    <a:pt x="4" y="102"/>
                  </a:cubicBezTo>
                  <a:cubicBezTo>
                    <a:pt x="4" y="102"/>
                    <a:pt x="28" y="66"/>
                    <a:pt x="39" y="50"/>
                  </a:cubicBezTo>
                  <a:cubicBezTo>
                    <a:pt x="51" y="35"/>
                    <a:pt x="59" y="15"/>
                    <a:pt x="63" y="2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2" y="0"/>
                    <a:pt x="62" y="0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74" name="组合 73"/>
          <p:cNvGrpSpPr/>
          <p:nvPr/>
        </p:nvGrpSpPr>
        <p:grpSpPr bwMode="auto">
          <a:xfrm rot="-5400000">
            <a:off x="-992187" y="2617788"/>
            <a:ext cx="3597275" cy="28575"/>
            <a:chOff x="3682048" y="3734822"/>
            <a:chExt cx="3763813" cy="28388"/>
          </a:xfrm>
        </p:grpSpPr>
        <p:sp>
          <p:nvSpPr>
            <p:cNvPr id="6190" name="Freeform 51"/>
            <p:cNvSpPr/>
            <p:nvPr/>
          </p:nvSpPr>
          <p:spPr bwMode="auto">
            <a:xfrm>
              <a:off x="3682048" y="3734822"/>
              <a:ext cx="3763813" cy="28388"/>
            </a:xfrm>
            <a:custGeom>
              <a:avLst/>
              <a:gdLst>
                <a:gd name="T0" fmla="*/ 2147483646 w 1151"/>
                <a:gd name="T1" fmla="*/ 2147483646 h 10"/>
                <a:gd name="T2" fmla="*/ 2147483646 w 1151"/>
                <a:gd name="T3" fmla="*/ 2147483646 h 10"/>
                <a:gd name="T4" fmla="*/ 0 w 1151"/>
                <a:gd name="T5" fmla="*/ 2147483646 h 10"/>
                <a:gd name="T6" fmla="*/ 2147483646 w 1151"/>
                <a:gd name="T7" fmla="*/ 0 h 10"/>
                <a:gd name="T8" fmla="*/ 2147483646 w 1151"/>
                <a:gd name="T9" fmla="*/ 0 h 10"/>
                <a:gd name="T10" fmla="*/ 2147483646 w 1151"/>
                <a:gd name="T11" fmla="*/ 2147483646 h 10"/>
                <a:gd name="T12" fmla="*/ 2147483646 w 1151"/>
                <a:gd name="T13" fmla="*/ 2147483646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51" h="10">
                  <a:moveTo>
                    <a:pt x="1146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46" y="0"/>
                    <a:pt x="1146" y="0"/>
                    <a:pt x="1146" y="0"/>
                  </a:cubicBezTo>
                  <a:cubicBezTo>
                    <a:pt x="1149" y="0"/>
                    <a:pt x="1151" y="2"/>
                    <a:pt x="1151" y="5"/>
                  </a:cubicBezTo>
                  <a:cubicBezTo>
                    <a:pt x="1151" y="8"/>
                    <a:pt x="1149" y="10"/>
                    <a:pt x="1146" y="10"/>
                  </a:cubicBezTo>
                  <a:close/>
                </a:path>
              </a:pathLst>
            </a:custGeom>
            <a:solidFill>
              <a:srgbClr val="AFD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6" name="直接连接符 75"/>
            <p:cNvCxnSpPr/>
            <p:nvPr/>
          </p:nvCxnSpPr>
          <p:spPr>
            <a:xfrm>
              <a:off x="3688691" y="3736398"/>
              <a:ext cx="3743881" cy="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矩形 120"/>
          <p:cNvSpPr/>
          <p:nvPr/>
        </p:nvSpPr>
        <p:spPr>
          <a:xfrm flipH="1">
            <a:off x="4575175" y="1139825"/>
            <a:ext cx="92075" cy="342900"/>
          </a:xfrm>
          <a:prstGeom prst="rect">
            <a:avLst/>
          </a:prstGeom>
          <a:solidFill>
            <a:srgbClr val="C00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2" name="矩形 121"/>
          <p:cNvSpPr/>
          <p:nvPr/>
        </p:nvSpPr>
        <p:spPr>
          <a:xfrm flipH="1">
            <a:off x="4429125" y="1236663"/>
            <a:ext cx="92075" cy="246062"/>
          </a:xfrm>
          <a:prstGeom prst="rect">
            <a:avLst/>
          </a:prstGeom>
          <a:solidFill>
            <a:srgbClr val="C00000">
              <a:alpha val="6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3" name="矩形 122"/>
          <p:cNvSpPr/>
          <p:nvPr/>
        </p:nvSpPr>
        <p:spPr>
          <a:xfrm flipH="1">
            <a:off x="4284663" y="1344613"/>
            <a:ext cx="90487" cy="13811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6" name="TextBox 2703"/>
          <p:cNvSpPr txBox="1">
            <a:spLocks noChangeArrowheads="1"/>
          </p:cNvSpPr>
          <p:nvPr/>
        </p:nvSpPr>
        <p:spPr bwMode="auto">
          <a:xfrm>
            <a:off x="4778692" y="745526"/>
            <a:ext cx="387758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di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600" dirty="0" smtClean="0">
                <a:solidFill>
                  <a:prstClr val="white">
                    <a:alpha val="6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用于</a:t>
            </a:r>
            <a:r>
              <a:rPr lang="zh-CN" altLang="en-US" sz="900" spc="600" smtClean="0">
                <a:solidFill>
                  <a:prstClr val="white">
                    <a:alpha val="6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终总结等通用</a:t>
            </a:r>
            <a:r>
              <a:rPr lang="zh-CN" altLang="en-US" sz="900" spc="600" dirty="0" smtClean="0">
                <a:solidFill>
                  <a:prstClr val="white">
                    <a:alpha val="6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模板</a:t>
            </a:r>
            <a:endParaRPr lang="en-US" altLang="zh-CN" sz="900" spc="600" dirty="0" smtClean="0">
              <a:solidFill>
                <a:prstClr val="white">
                  <a:alpha val="6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7" name="Freeform 276"/>
          <p:cNvSpPr>
            <a:spLocks noEditPoints="1"/>
          </p:cNvSpPr>
          <p:nvPr/>
        </p:nvSpPr>
        <p:spPr bwMode="auto">
          <a:xfrm>
            <a:off x="4071938" y="4386263"/>
            <a:ext cx="282575" cy="322262"/>
          </a:xfrm>
          <a:custGeom>
            <a:avLst/>
            <a:gdLst>
              <a:gd name="T0" fmla="*/ 2147483646 w 156"/>
              <a:gd name="T1" fmla="*/ 2147483646 h 161"/>
              <a:gd name="T2" fmla="*/ 2147483646 w 156"/>
              <a:gd name="T3" fmla="*/ 2147483646 h 161"/>
              <a:gd name="T4" fmla="*/ 2147483646 w 156"/>
              <a:gd name="T5" fmla="*/ 2147483646 h 161"/>
              <a:gd name="T6" fmla="*/ 2147483646 w 156"/>
              <a:gd name="T7" fmla="*/ 2147483646 h 161"/>
              <a:gd name="T8" fmla="*/ 0 w 156"/>
              <a:gd name="T9" fmla="*/ 2147483646 h 161"/>
              <a:gd name="T10" fmla="*/ 0 w 156"/>
              <a:gd name="T11" fmla="*/ 2147483646 h 161"/>
              <a:gd name="T12" fmla="*/ 2147483646 w 156"/>
              <a:gd name="T13" fmla="*/ 2147483646 h 161"/>
              <a:gd name="T14" fmla="*/ 2147483646 w 156"/>
              <a:gd name="T15" fmla="*/ 2147483646 h 161"/>
              <a:gd name="T16" fmla="*/ 2147483646 w 156"/>
              <a:gd name="T17" fmla="*/ 0 h 161"/>
              <a:gd name="T18" fmla="*/ 2147483646 w 156"/>
              <a:gd name="T19" fmla="*/ 2147483646 h 161"/>
              <a:gd name="T20" fmla="*/ 2147483646 w 156"/>
              <a:gd name="T21" fmla="*/ 2147483646 h 161"/>
              <a:gd name="T22" fmla="*/ 0 w 156"/>
              <a:gd name="T23" fmla="*/ 2147483646 h 161"/>
              <a:gd name="T24" fmla="*/ 2147483646 w 156"/>
              <a:gd name="T25" fmla="*/ 2147483646 h 161"/>
              <a:gd name="T26" fmla="*/ 2147483646 w 156"/>
              <a:gd name="T27" fmla="*/ 2147483646 h 161"/>
              <a:gd name="T28" fmla="*/ 2147483646 w 156"/>
              <a:gd name="T29" fmla="*/ 2147483646 h 161"/>
              <a:gd name="T30" fmla="*/ 2147483646 w 156"/>
              <a:gd name="T31" fmla="*/ 2147483646 h 161"/>
              <a:gd name="T32" fmla="*/ 2147483646 w 156"/>
              <a:gd name="T33" fmla="*/ 2147483646 h 161"/>
              <a:gd name="T34" fmla="*/ 2147483646 w 156"/>
              <a:gd name="T35" fmla="*/ 2147483646 h 161"/>
              <a:gd name="T36" fmla="*/ 2147483646 w 156"/>
              <a:gd name="T37" fmla="*/ 2147483646 h 161"/>
              <a:gd name="T38" fmla="*/ 2147483646 w 156"/>
              <a:gd name="T39" fmla="*/ 2147483646 h 161"/>
              <a:gd name="T40" fmla="*/ 2147483646 w 156"/>
              <a:gd name="T41" fmla="*/ 2147483646 h 161"/>
              <a:gd name="T42" fmla="*/ 2147483646 w 156"/>
              <a:gd name="T43" fmla="*/ 2147483646 h 161"/>
              <a:gd name="T44" fmla="*/ 2147483646 w 156"/>
              <a:gd name="T45" fmla="*/ 2147483646 h 161"/>
              <a:gd name="T46" fmla="*/ 2147483646 w 156"/>
              <a:gd name="T47" fmla="*/ 2147483646 h 161"/>
              <a:gd name="T48" fmla="*/ 2147483646 w 156"/>
              <a:gd name="T49" fmla="*/ 2147483646 h 161"/>
              <a:gd name="T50" fmla="*/ 2147483646 w 156"/>
              <a:gd name="T51" fmla="*/ 2147483646 h 161"/>
              <a:gd name="T52" fmla="*/ 2147483646 w 156"/>
              <a:gd name="T53" fmla="*/ 2147483646 h 161"/>
              <a:gd name="T54" fmla="*/ 2147483646 w 156"/>
              <a:gd name="T55" fmla="*/ 2147483646 h 161"/>
              <a:gd name="T56" fmla="*/ 2147483646 w 156"/>
              <a:gd name="T57" fmla="*/ 2147483646 h 161"/>
              <a:gd name="T58" fmla="*/ 2147483646 w 156"/>
              <a:gd name="T59" fmla="*/ 2147483646 h 161"/>
              <a:gd name="T60" fmla="*/ 2147483646 w 156"/>
              <a:gd name="T61" fmla="*/ 2147483646 h 161"/>
              <a:gd name="T62" fmla="*/ 2147483646 w 156"/>
              <a:gd name="T63" fmla="*/ 2147483646 h 161"/>
              <a:gd name="T64" fmla="*/ 2147483646 w 156"/>
              <a:gd name="T65" fmla="*/ 2147483646 h 161"/>
              <a:gd name="T66" fmla="*/ 2147483646 w 156"/>
              <a:gd name="T67" fmla="*/ 2147483646 h 161"/>
              <a:gd name="T68" fmla="*/ 2147483646 w 156"/>
              <a:gd name="T69" fmla="*/ 2147483646 h 161"/>
              <a:gd name="T70" fmla="*/ 2147483646 w 156"/>
              <a:gd name="T71" fmla="*/ 2147483646 h 161"/>
              <a:gd name="T72" fmla="*/ 2147483646 w 156"/>
              <a:gd name="T73" fmla="*/ 2147483646 h 16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6" h="161">
                <a:moveTo>
                  <a:pt x="120" y="64"/>
                </a:moveTo>
                <a:lnTo>
                  <a:pt x="120" y="137"/>
                </a:lnTo>
                <a:lnTo>
                  <a:pt x="127" y="137"/>
                </a:lnTo>
                <a:lnTo>
                  <a:pt x="127" y="55"/>
                </a:lnTo>
                <a:lnTo>
                  <a:pt x="120" y="64"/>
                </a:lnTo>
                <a:close/>
                <a:moveTo>
                  <a:pt x="0" y="144"/>
                </a:moveTo>
                <a:lnTo>
                  <a:pt x="156" y="144"/>
                </a:lnTo>
                <a:lnTo>
                  <a:pt x="156" y="161"/>
                </a:lnTo>
                <a:lnTo>
                  <a:pt x="0" y="161"/>
                </a:lnTo>
                <a:lnTo>
                  <a:pt x="0" y="144"/>
                </a:lnTo>
                <a:close/>
                <a:moveTo>
                  <a:pt x="0" y="100"/>
                </a:moveTo>
                <a:lnTo>
                  <a:pt x="49" y="50"/>
                </a:lnTo>
                <a:lnTo>
                  <a:pt x="71" y="71"/>
                </a:lnTo>
                <a:lnTo>
                  <a:pt x="130" y="12"/>
                </a:lnTo>
                <a:lnTo>
                  <a:pt x="118" y="0"/>
                </a:lnTo>
                <a:lnTo>
                  <a:pt x="156" y="0"/>
                </a:lnTo>
                <a:lnTo>
                  <a:pt x="156" y="38"/>
                </a:lnTo>
                <a:lnTo>
                  <a:pt x="144" y="26"/>
                </a:lnTo>
                <a:lnTo>
                  <a:pt x="71" y="100"/>
                </a:lnTo>
                <a:lnTo>
                  <a:pt x="49" y="78"/>
                </a:lnTo>
                <a:lnTo>
                  <a:pt x="0" y="128"/>
                </a:lnTo>
                <a:lnTo>
                  <a:pt x="0" y="100"/>
                </a:lnTo>
                <a:close/>
                <a:moveTo>
                  <a:pt x="134" y="48"/>
                </a:moveTo>
                <a:lnTo>
                  <a:pt x="134" y="137"/>
                </a:lnTo>
                <a:lnTo>
                  <a:pt x="144" y="137"/>
                </a:lnTo>
                <a:lnTo>
                  <a:pt x="144" y="38"/>
                </a:lnTo>
                <a:lnTo>
                  <a:pt x="134" y="48"/>
                </a:lnTo>
                <a:close/>
                <a:moveTo>
                  <a:pt x="14" y="128"/>
                </a:moveTo>
                <a:lnTo>
                  <a:pt x="14" y="137"/>
                </a:lnTo>
                <a:lnTo>
                  <a:pt x="21" y="137"/>
                </a:lnTo>
                <a:lnTo>
                  <a:pt x="21" y="118"/>
                </a:lnTo>
                <a:lnTo>
                  <a:pt x="14" y="128"/>
                </a:lnTo>
                <a:close/>
                <a:moveTo>
                  <a:pt x="28" y="111"/>
                </a:moveTo>
                <a:lnTo>
                  <a:pt x="28" y="137"/>
                </a:lnTo>
                <a:lnTo>
                  <a:pt x="38" y="137"/>
                </a:lnTo>
                <a:lnTo>
                  <a:pt x="38" y="104"/>
                </a:lnTo>
                <a:lnTo>
                  <a:pt x="28" y="111"/>
                </a:lnTo>
                <a:close/>
                <a:moveTo>
                  <a:pt x="42" y="97"/>
                </a:moveTo>
                <a:lnTo>
                  <a:pt x="42" y="137"/>
                </a:lnTo>
                <a:lnTo>
                  <a:pt x="52" y="137"/>
                </a:lnTo>
                <a:lnTo>
                  <a:pt x="52" y="93"/>
                </a:lnTo>
                <a:lnTo>
                  <a:pt x="49" y="90"/>
                </a:lnTo>
                <a:lnTo>
                  <a:pt x="42" y="97"/>
                </a:lnTo>
                <a:close/>
                <a:moveTo>
                  <a:pt x="59" y="100"/>
                </a:moveTo>
                <a:lnTo>
                  <a:pt x="59" y="137"/>
                </a:lnTo>
                <a:lnTo>
                  <a:pt x="68" y="137"/>
                </a:lnTo>
                <a:lnTo>
                  <a:pt x="68" y="109"/>
                </a:lnTo>
                <a:lnTo>
                  <a:pt x="61" y="102"/>
                </a:lnTo>
                <a:lnTo>
                  <a:pt x="59" y="100"/>
                </a:lnTo>
                <a:close/>
                <a:moveTo>
                  <a:pt x="73" y="109"/>
                </a:moveTo>
                <a:lnTo>
                  <a:pt x="73" y="137"/>
                </a:lnTo>
                <a:lnTo>
                  <a:pt x="82" y="137"/>
                </a:lnTo>
                <a:lnTo>
                  <a:pt x="82" y="100"/>
                </a:lnTo>
                <a:lnTo>
                  <a:pt x="80" y="102"/>
                </a:lnTo>
                <a:lnTo>
                  <a:pt x="73" y="109"/>
                </a:lnTo>
                <a:close/>
                <a:moveTo>
                  <a:pt x="90" y="95"/>
                </a:moveTo>
                <a:lnTo>
                  <a:pt x="90" y="137"/>
                </a:lnTo>
                <a:lnTo>
                  <a:pt x="99" y="137"/>
                </a:lnTo>
                <a:lnTo>
                  <a:pt x="99" y="85"/>
                </a:lnTo>
                <a:lnTo>
                  <a:pt x="90" y="95"/>
                </a:lnTo>
                <a:close/>
                <a:moveTo>
                  <a:pt x="104" y="78"/>
                </a:moveTo>
                <a:lnTo>
                  <a:pt x="104" y="137"/>
                </a:lnTo>
                <a:lnTo>
                  <a:pt x="113" y="137"/>
                </a:lnTo>
                <a:lnTo>
                  <a:pt x="113" y="69"/>
                </a:lnTo>
                <a:lnTo>
                  <a:pt x="104" y="78"/>
                </a:lnTo>
                <a:close/>
              </a:path>
            </a:pathLst>
          </a:custGeom>
          <a:solidFill>
            <a:srgbClr val="104757">
              <a:alpha val="6313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58" name="组合 57"/>
          <p:cNvGrpSpPr/>
          <p:nvPr/>
        </p:nvGrpSpPr>
        <p:grpSpPr bwMode="auto">
          <a:xfrm>
            <a:off x="1220788" y="4329113"/>
            <a:ext cx="177800" cy="273050"/>
            <a:chOff x="4761997" y="4220051"/>
            <a:chExt cx="260051" cy="363809"/>
          </a:xfrm>
        </p:grpSpPr>
        <p:sp>
          <p:nvSpPr>
            <p:cNvPr id="6188" name="Freeform 78"/>
            <p:cNvSpPr>
              <a:spLocks noEditPoints="1"/>
            </p:cNvSpPr>
            <p:nvPr/>
          </p:nvSpPr>
          <p:spPr bwMode="auto">
            <a:xfrm>
              <a:off x="4939304" y="4220051"/>
              <a:ext cx="82744" cy="86684"/>
            </a:xfrm>
            <a:custGeom>
              <a:avLst/>
              <a:gdLst>
                <a:gd name="T0" fmla="*/ 2147483646 w 27"/>
                <a:gd name="T1" fmla="*/ 0 h 28"/>
                <a:gd name="T2" fmla="*/ 0 w 27"/>
                <a:gd name="T3" fmla="*/ 2147483646 h 28"/>
                <a:gd name="T4" fmla="*/ 2147483646 w 27"/>
                <a:gd name="T5" fmla="*/ 2147483646 h 28"/>
                <a:gd name="T6" fmla="*/ 2147483646 w 27"/>
                <a:gd name="T7" fmla="*/ 2147483646 h 28"/>
                <a:gd name="T8" fmla="*/ 2147483646 w 27"/>
                <a:gd name="T9" fmla="*/ 2147483646 h 28"/>
                <a:gd name="T10" fmla="*/ 2147483646 w 27"/>
                <a:gd name="T11" fmla="*/ 2147483646 h 28"/>
                <a:gd name="T12" fmla="*/ 2147483646 w 27"/>
                <a:gd name="T13" fmla="*/ 0 h 28"/>
                <a:gd name="T14" fmla="*/ 2147483646 w 27"/>
                <a:gd name="T15" fmla="*/ 2147483646 h 28"/>
                <a:gd name="T16" fmla="*/ 0 w 27"/>
                <a:gd name="T17" fmla="*/ 2147483646 h 28"/>
                <a:gd name="T18" fmla="*/ 2147483646 w 27"/>
                <a:gd name="T19" fmla="*/ 2147483646 h 28"/>
                <a:gd name="T20" fmla="*/ 2147483646 w 27"/>
                <a:gd name="T21" fmla="*/ 2147483646 h 28"/>
                <a:gd name="T22" fmla="*/ 2147483646 w 27"/>
                <a:gd name="T23" fmla="*/ 2147483646 h 28"/>
                <a:gd name="T24" fmla="*/ 2147483646 w 27"/>
                <a:gd name="T25" fmla="*/ 2147483646 h 28"/>
                <a:gd name="T26" fmla="*/ 2147483646 w 27"/>
                <a:gd name="T27" fmla="*/ 2147483646 h 28"/>
                <a:gd name="T28" fmla="*/ 2147483646 w 27"/>
                <a:gd name="T29" fmla="*/ 2147483646 h 28"/>
                <a:gd name="T30" fmla="*/ 0 w 27"/>
                <a:gd name="T31" fmla="*/ 2147483646 h 28"/>
                <a:gd name="T32" fmla="*/ 2147483646 w 27"/>
                <a:gd name="T33" fmla="*/ 2147483646 h 28"/>
                <a:gd name="T34" fmla="*/ 2147483646 w 27"/>
                <a:gd name="T35" fmla="*/ 2147483646 h 28"/>
                <a:gd name="T36" fmla="*/ 2147483646 w 27"/>
                <a:gd name="T37" fmla="*/ 2147483646 h 28"/>
                <a:gd name="T38" fmla="*/ 2147483646 w 27"/>
                <a:gd name="T39" fmla="*/ 2147483646 h 28"/>
                <a:gd name="T40" fmla="*/ 2147483646 w 27"/>
                <a:gd name="T41" fmla="*/ 2147483646 h 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7" h="28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24" y="14"/>
                    <a:pt x="24" y="26"/>
                  </a:cubicBezTo>
                  <a:cubicBezTo>
                    <a:pt x="24" y="27"/>
                    <a:pt x="25" y="28"/>
                    <a:pt x="26" y="28"/>
                  </a:cubicBezTo>
                  <a:cubicBezTo>
                    <a:pt x="27" y="28"/>
                    <a:pt x="27" y="27"/>
                    <a:pt x="27" y="26"/>
                  </a:cubicBezTo>
                  <a:cubicBezTo>
                    <a:pt x="27" y="12"/>
                    <a:pt x="16" y="0"/>
                    <a:pt x="2" y="0"/>
                  </a:cubicBezTo>
                  <a:close/>
                  <a:moveTo>
                    <a:pt x="2" y="7"/>
                  </a:move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0"/>
                    <a:pt x="2" y="10"/>
                  </a:cubicBezTo>
                  <a:cubicBezTo>
                    <a:pt x="10" y="10"/>
                    <a:pt x="17" y="18"/>
                    <a:pt x="17" y="26"/>
                  </a:cubicBezTo>
                  <a:cubicBezTo>
                    <a:pt x="17" y="27"/>
                    <a:pt x="18" y="28"/>
                    <a:pt x="19" y="28"/>
                  </a:cubicBezTo>
                  <a:cubicBezTo>
                    <a:pt x="20" y="28"/>
                    <a:pt x="21" y="27"/>
                    <a:pt x="21" y="26"/>
                  </a:cubicBezTo>
                  <a:cubicBezTo>
                    <a:pt x="21" y="15"/>
                    <a:pt x="12" y="7"/>
                    <a:pt x="2" y="7"/>
                  </a:cubicBezTo>
                  <a:close/>
                  <a:moveTo>
                    <a:pt x="2" y="13"/>
                  </a:moveTo>
                  <a:cubicBezTo>
                    <a:pt x="1" y="13"/>
                    <a:pt x="0" y="14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7" y="17"/>
                    <a:pt x="11" y="21"/>
                    <a:pt x="11" y="26"/>
                  </a:cubicBezTo>
                  <a:cubicBezTo>
                    <a:pt x="11" y="27"/>
                    <a:pt x="12" y="28"/>
                    <a:pt x="13" y="28"/>
                  </a:cubicBezTo>
                  <a:cubicBezTo>
                    <a:pt x="14" y="28"/>
                    <a:pt x="15" y="27"/>
                    <a:pt x="15" y="26"/>
                  </a:cubicBezTo>
                  <a:cubicBezTo>
                    <a:pt x="15" y="19"/>
                    <a:pt x="9" y="13"/>
                    <a:pt x="2" y="13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89" name="Freeform 79"/>
            <p:cNvSpPr>
              <a:spLocks noEditPoints="1"/>
            </p:cNvSpPr>
            <p:nvPr/>
          </p:nvSpPr>
          <p:spPr bwMode="auto">
            <a:xfrm>
              <a:off x="4761997" y="4281781"/>
              <a:ext cx="204888" cy="302079"/>
            </a:xfrm>
            <a:custGeom>
              <a:avLst/>
              <a:gdLst>
                <a:gd name="T0" fmla="*/ 2147483646 w 66"/>
                <a:gd name="T1" fmla="*/ 0 h 97"/>
                <a:gd name="T2" fmla="*/ 2147483646 w 66"/>
                <a:gd name="T3" fmla="*/ 0 h 97"/>
                <a:gd name="T4" fmla="*/ 0 w 66"/>
                <a:gd name="T5" fmla="*/ 2147483646 h 97"/>
                <a:gd name="T6" fmla="*/ 0 w 66"/>
                <a:gd name="T7" fmla="*/ 2147483646 h 97"/>
                <a:gd name="T8" fmla="*/ 2147483646 w 66"/>
                <a:gd name="T9" fmla="*/ 2147483646 h 97"/>
                <a:gd name="T10" fmla="*/ 2147483646 w 66"/>
                <a:gd name="T11" fmla="*/ 2147483646 h 97"/>
                <a:gd name="T12" fmla="*/ 2147483646 w 66"/>
                <a:gd name="T13" fmla="*/ 2147483646 h 97"/>
                <a:gd name="T14" fmla="*/ 2147483646 w 66"/>
                <a:gd name="T15" fmla="*/ 2147483646 h 97"/>
                <a:gd name="T16" fmla="*/ 2147483646 w 66"/>
                <a:gd name="T17" fmla="*/ 0 h 97"/>
                <a:gd name="T18" fmla="*/ 2147483646 w 66"/>
                <a:gd name="T19" fmla="*/ 2147483646 h 97"/>
                <a:gd name="T20" fmla="*/ 2147483646 w 66"/>
                <a:gd name="T21" fmla="*/ 2147483646 h 97"/>
                <a:gd name="T22" fmla="*/ 2147483646 w 66"/>
                <a:gd name="T23" fmla="*/ 2147483646 h 97"/>
                <a:gd name="T24" fmla="*/ 2147483646 w 66"/>
                <a:gd name="T25" fmla="*/ 2147483646 h 97"/>
                <a:gd name="T26" fmla="*/ 2147483646 w 66"/>
                <a:gd name="T27" fmla="*/ 2147483646 h 97"/>
                <a:gd name="T28" fmla="*/ 2147483646 w 66"/>
                <a:gd name="T29" fmla="*/ 2147483646 h 97"/>
                <a:gd name="T30" fmla="*/ 2147483646 w 66"/>
                <a:gd name="T31" fmla="*/ 2147483646 h 97"/>
                <a:gd name="T32" fmla="*/ 2147483646 w 66"/>
                <a:gd name="T33" fmla="*/ 2147483646 h 97"/>
                <a:gd name="T34" fmla="*/ 2147483646 w 66"/>
                <a:gd name="T35" fmla="*/ 2147483646 h 97"/>
                <a:gd name="T36" fmla="*/ 2147483646 w 66"/>
                <a:gd name="T37" fmla="*/ 2147483646 h 9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97">
                  <a:moveTo>
                    <a:pt x="5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3"/>
                    <a:pt x="3" y="97"/>
                    <a:pt x="7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63" y="97"/>
                    <a:pt x="66" y="93"/>
                    <a:pt x="66" y="88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6" y="4"/>
                    <a:pt x="63" y="0"/>
                    <a:pt x="59" y="0"/>
                  </a:cubicBezTo>
                  <a:close/>
                  <a:moveTo>
                    <a:pt x="33" y="90"/>
                  </a:moveTo>
                  <a:cubicBezTo>
                    <a:pt x="30" y="90"/>
                    <a:pt x="27" y="87"/>
                    <a:pt x="27" y="84"/>
                  </a:cubicBezTo>
                  <a:cubicBezTo>
                    <a:pt x="27" y="81"/>
                    <a:pt x="30" y="78"/>
                    <a:pt x="33" y="78"/>
                  </a:cubicBezTo>
                  <a:cubicBezTo>
                    <a:pt x="36" y="78"/>
                    <a:pt x="38" y="81"/>
                    <a:pt x="38" y="84"/>
                  </a:cubicBezTo>
                  <a:cubicBezTo>
                    <a:pt x="38" y="87"/>
                    <a:pt x="36" y="90"/>
                    <a:pt x="33" y="90"/>
                  </a:cubicBezTo>
                  <a:close/>
                  <a:moveTo>
                    <a:pt x="56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56" y="10"/>
                    <a:pt x="56" y="10"/>
                    <a:pt x="56" y="10"/>
                  </a:cubicBezTo>
                  <a:lnTo>
                    <a:pt x="56" y="68"/>
                  </a:ln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7" name="组合 56"/>
          <p:cNvGrpSpPr/>
          <p:nvPr/>
        </p:nvGrpSpPr>
        <p:grpSpPr bwMode="auto">
          <a:xfrm>
            <a:off x="3246438" y="4351338"/>
            <a:ext cx="300037" cy="317500"/>
            <a:chOff x="6549514" y="4151755"/>
            <a:chExt cx="439983" cy="422912"/>
          </a:xfrm>
        </p:grpSpPr>
        <p:sp>
          <p:nvSpPr>
            <p:cNvPr id="6186" name="Freeform 80"/>
            <p:cNvSpPr>
              <a:spLocks noEditPoints="1"/>
            </p:cNvSpPr>
            <p:nvPr/>
          </p:nvSpPr>
          <p:spPr bwMode="auto">
            <a:xfrm>
              <a:off x="6549514" y="4266020"/>
              <a:ext cx="366435" cy="308647"/>
            </a:xfrm>
            <a:custGeom>
              <a:avLst/>
              <a:gdLst>
                <a:gd name="T0" fmla="*/ 2147483646 w 118"/>
                <a:gd name="T1" fmla="*/ 2147483646 h 99"/>
                <a:gd name="T2" fmla="*/ 2147483646 w 118"/>
                <a:gd name="T3" fmla="*/ 2147483646 h 99"/>
                <a:gd name="T4" fmla="*/ 2147483646 w 118"/>
                <a:gd name="T5" fmla="*/ 2147483646 h 99"/>
                <a:gd name="T6" fmla="*/ 2147483646 w 118"/>
                <a:gd name="T7" fmla="*/ 2147483646 h 99"/>
                <a:gd name="T8" fmla="*/ 2147483646 w 118"/>
                <a:gd name="T9" fmla="*/ 2147483646 h 99"/>
                <a:gd name="T10" fmla="*/ 2147483646 w 118"/>
                <a:gd name="T11" fmla="*/ 2147483646 h 99"/>
                <a:gd name="T12" fmla="*/ 2147483646 w 118"/>
                <a:gd name="T13" fmla="*/ 2147483646 h 99"/>
                <a:gd name="T14" fmla="*/ 2147483646 w 118"/>
                <a:gd name="T15" fmla="*/ 2147483646 h 99"/>
                <a:gd name="T16" fmla="*/ 2147483646 w 118"/>
                <a:gd name="T17" fmla="*/ 2147483646 h 99"/>
                <a:gd name="T18" fmla="*/ 2147483646 w 118"/>
                <a:gd name="T19" fmla="*/ 2147483646 h 99"/>
                <a:gd name="T20" fmla="*/ 2147483646 w 118"/>
                <a:gd name="T21" fmla="*/ 2147483646 h 99"/>
                <a:gd name="T22" fmla="*/ 2147483646 w 118"/>
                <a:gd name="T23" fmla="*/ 2147483646 h 99"/>
                <a:gd name="T24" fmla="*/ 2147483646 w 118"/>
                <a:gd name="T25" fmla="*/ 2147483646 h 99"/>
                <a:gd name="T26" fmla="*/ 2147483646 w 118"/>
                <a:gd name="T27" fmla="*/ 2147483646 h 99"/>
                <a:gd name="T28" fmla="*/ 2147483646 w 118"/>
                <a:gd name="T29" fmla="*/ 2147483646 h 99"/>
                <a:gd name="T30" fmla="*/ 2147483646 w 118"/>
                <a:gd name="T31" fmla="*/ 2147483646 h 99"/>
                <a:gd name="T32" fmla="*/ 2147483646 w 118"/>
                <a:gd name="T33" fmla="*/ 2147483646 h 99"/>
                <a:gd name="T34" fmla="*/ 2147483646 w 118"/>
                <a:gd name="T35" fmla="*/ 2147483646 h 99"/>
                <a:gd name="T36" fmla="*/ 2147483646 w 118"/>
                <a:gd name="T37" fmla="*/ 2147483646 h 99"/>
                <a:gd name="T38" fmla="*/ 2147483646 w 118"/>
                <a:gd name="T39" fmla="*/ 2147483646 h 99"/>
                <a:gd name="T40" fmla="*/ 2147483646 w 118"/>
                <a:gd name="T41" fmla="*/ 2147483646 h 99"/>
                <a:gd name="T42" fmla="*/ 2147483646 w 118"/>
                <a:gd name="T43" fmla="*/ 2147483646 h 99"/>
                <a:gd name="T44" fmla="*/ 2147483646 w 118"/>
                <a:gd name="T45" fmla="*/ 2147483646 h 99"/>
                <a:gd name="T46" fmla="*/ 2147483646 w 118"/>
                <a:gd name="T47" fmla="*/ 2147483646 h 99"/>
                <a:gd name="T48" fmla="*/ 2147483646 w 118"/>
                <a:gd name="T49" fmla="*/ 2147483646 h 99"/>
                <a:gd name="T50" fmla="*/ 2147483646 w 118"/>
                <a:gd name="T51" fmla="*/ 2147483646 h 99"/>
                <a:gd name="T52" fmla="*/ 2147483646 w 118"/>
                <a:gd name="T53" fmla="*/ 2147483646 h 99"/>
                <a:gd name="T54" fmla="*/ 2147483646 w 118"/>
                <a:gd name="T55" fmla="*/ 2147483646 h 99"/>
                <a:gd name="T56" fmla="*/ 2147483646 w 118"/>
                <a:gd name="T57" fmla="*/ 2147483646 h 99"/>
                <a:gd name="T58" fmla="*/ 2147483646 w 118"/>
                <a:gd name="T59" fmla="*/ 2147483646 h 99"/>
                <a:gd name="T60" fmla="*/ 2147483646 w 118"/>
                <a:gd name="T61" fmla="*/ 2147483646 h 99"/>
                <a:gd name="T62" fmla="*/ 2147483646 w 118"/>
                <a:gd name="T63" fmla="*/ 2147483646 h 99"/>
                <a:gd name="T64" fmla="*/ 2147483646 w 118"/>
                <a:gd name="T65" fmla="*/ 2147483646 h 99"/>
                <a:gd name="T66" fmla="*/ 2147483646 w 118"/>
                <a:gd name="T67" fmla="*/ 2147483646 h 99"/>
                <a:gd name="T68" fmla="*/ 2147483646 w 118"/>
                <a:gd name="T69" fmla="*/ 2147483646 h 99"/>
                <a:gd name="T70" fmla="*/ 2147483646 w 118"/>
                <a:gd name="T71" fmla="*/ 2147483646 h 99"/>
                <a:gd name="T72" fmla="*/ 2147483646 w 118"/>
                <a:gd name="T73" fmla="*/ 2147483646 h 99"/>
                <a:gd name="T74" fmla="*/ 2147483646 w 118"/>
                <a:gd name="T75" fmla="*/ 2147483646 h 99"/>
                <a:gd name="T76" fmla="*/ 2147483646 w 118"/>
                <a:gd name="T77" fmla="*/ 2147483646 h 99"/>
                <a:gd name="T78" fmla="*/ 2147483646 w 118"/>
                <a:gd name="T79" fmla="*/ 2147483646 h 99"/>
                <a:gd name="T80" fmla="*/ 2147483646 w 118"/>
                <a:gd name="T81" fmla="*/ 2147483646 h 99"/>
                <a:gd name="T82" fmla="*/ 2147483646 w 118"/>
                <a:gd name="T83" fmla="*/ 2147483646 h 99"/>
                <a:gd name="T84" fmla="*/ 2147483646 w 118"/>
                <a:gd name="T85" fmla="*/ 2147483646 h 99"/>
                <a:gd name="T86" fmla="*/ 2147483646 w 118"/>
                <a:gd name="T87" fmla="*/ 2147483646 h 99"/>
                <a:gd name="T88" fmla="*/ 2147483646 w 118"/>
                <a:gd name="T89" fmla="*/ 2147483646 h 99"/>
                <a:gd name="T90" fmla="*/ 2147483646 w 118"/>
                <a:gd name="T91" fmla="*/ 2147483646 h 99"/>
                <a:gd name="T92" fmla="*/ 2147483646 w 118"/>
                <a:gd name="T93" fmla="*/ 2147483646 h 99"/>
                <a:gd name="T94" fmla="*/ 2147483646 w 118"/>
                <a:gd name="T95" fmla="*/ 2147483646 h 99"/>
                <a:gd name="T96" fmla="*/ 2147483646 w 118"/>
                <a:gd name="T97" fmla="*/ 2147483646 h 99"/>
                <a:gd name="T98" fmla="*/ 2147483646 w 118"/>
                <a:gd name="T99" fmla="*/ 2147483646 h 99"/>
                <a:gd name="T100" fmla="*/ 2147483646 w 118"/>
                <a:gd name="T101" fmla="*/ 2147483646 h 99"/>
                <a:gd name="T102" fmla="*/ 2147483646 w 118"/>
                <a:gd name="T103" fmla="*/ 2147483646 h 99"/>
                <a:gd name="T104" fmla="*/ 2147483646 w 118"/>
                <a:gd name="T105" fmla="*/ 2147483646 h 99"/>
                <a:gd name="T106" fmla="*/ 2147483646 w 118"/>
                <a:gd name="T107" fmla="*/ 2147483646 h 99"/>
                <a:gd name="T108" fmla="*/ 2147483646 w 118"/>
                <a:gd name="T109" fmla="*/ 2147483646 h 99"/>
                <a:gd name="T110" fmla="*/ 2147483646 w 118"/>
                <a:gd name="T111" fmla="*/ 2147483646 h 99"/>
                <a:gd name="T112" fmla="*/ 2147483646 w 118"/>
                <a:gd name="T113" fmla="*/ 2147483646 h 99"/>
                <a:gd name="T114" fmla="*/ 2147483646 w 118"/>
                <a:gd name="T115" fmla="*/ 2147483646 h 99"/>
                <a:gd name="T116" fmla="*/ 2147483646 w 118"/>
                <a:gd name="T117" fmla="*/ 2147483646 h 99"/>
                <a:gd name="T118" fmla="*/ 2147483646 w 118"/>
                <a:gd name="T119" fmla="*/ 2147483646 h 99"/>
                <a:gd name="T120" fmla="*/ 2147483646 w 118"/>
                <a:gd name="T121" fmla="*/ 2147483646 h 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18" h="99">
                  <a:moveTo>
                    <a:pt x="59" y="0"/>
                  </a:moveTo>
                  <a:cubicBezTo>
                    <a:pt x="26" y="0"/>
                    <a:pt x="0" y="22"/>
                    <a:pt x="0" y="50"/>
                  </a:cubicBezTo>
                  <a:cubicBezTo>
                    <a:pt x="0" y="77"/>
                    <a:pt x="26" y="99"/>
                    <a:pt x="59" y="99"/>
                  </a:cubicBezTo>
                  <a:cubicBezTo>
                    <a:pt x="92" y="99"/>
                    <a:pt x="118" y="77"/>
                    <a:pt x="118" y="50"/>
                  </a:cubicBezTo>
                  <a:cubicBezTo>
                    <a:pt x="118" y="22"/>
                    <a:pt x="92" y="0"/>
                    <a:pt x="59" y="0"/>
                  </a:cubicBezTo>
                  <a:close/>
                  <a:moveTo>
                    <a:pt x="108" y="49"/>
                  </a:moveTo>
                  <a:cubicBezTo>
                    <a:pt x="108" y="50"/>
                    <a:pt x="108" y="50"/>
                    <a:pt x="108" y="50"/>
                  </a:cubicBezTo>
                  <a:cubicBezTo>
                    <a:pt x="102" y="49"/>
                    <a:pt x="95" y="48"/>
                    <a:pt x="87" y="47"/>
                  </a:cubicBezTo>
                  <a:cubicBezTo>
                    <a:pt x="87" y="38"/>
                    <a:pt x="86" y="30"/>
                    <a:pt x="83" y="22"/>
                  </a:cubicBezTo>
                  <a:cubicBezTo>
                    <a:pt x="88" y="21"/>
                    <a:pt x="92" y="19"/>
                    <a:pt x="96" y="17"/>
                  </a:cubicBezTo>
                  <a:cubicBezTo>
                    <a:pt x="104" y="25"/>
                    <a:pt x="108" y="37"/>
                    <a:pt x="108" y="49"/>
                  </a:cubicBezTo>
                  <a:close/>
                  <a:moveTo>
                    <a:pt x="61" y="1"/>
                  </a:moveTo>
                  <a:cubicBezTo>
                    <a:pt x="61" y="1"/>
                    <a:pt x="62" y="1"/>
                    <a:pt x="62" y="1"/>
                  </a:cubicBezTo>
                  <a:cubicBezTo>
                    <a:pt x="62" y="1"/>
                    <a:pt x="61" y="1"/>
                    <a:pt x="61" y="1"/>
                  </a:cubicBezTo>
                  <a:close/>
                  <a:moveTo>
                    <a:pt x="64" y="2"/>
                  </a:moveTo>
                  <a:cubicBezTo>
                    <a:pt x="64" y="2"/>
                    <a:pt x="64" y="2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lose/>
                  <a:moveTo>
                    <a:pt x="66" y="2"/>
                  </a:moveTo>
                  <a:cubicBezTo>
                    <a:pt x="66" y="2"/>
                    <a:pt x="67" y="2"/>
                    <a:pt x="67" y="2"/>
                  </a:cubicBezTo>
                  <a:cubicBezTo>
                    <a:pt x="67" y="2"/>
                    <a:pt x="66" y="2"/>
                    <a:pt x="66" y="2"/>
                  </a:cubicBezTo>
                  <a:close/>
                  <a:moveTo>
                    <a:pt x="69" y="2"/>
                  </a:move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lose/>
                  <a:moveTo>
                    <a:pt x="75" y="15"/>
                  </a:moveTo>
                  <a:cubicBezTo>
                    <a:pt x="76" y="16"/>
                    <a:pt x="77" y="18"/>
                    <a:pt x="77" y="19"/>
                  </a:cubicBezTo>
                  <a:cubicBezTo>
                    <a:pt x="72" y="20"/>
                    <a:pt x="67" y="21"/>
                    <a:pt x="61" y="21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7" y="3"/>
                    <a:pt x="71" y="8"/>
                    <a:pt x="75" y="15"/>
                  </a:cubicBezTo>
                  <a:close/>
                  <a:moveTo>
                    <a:pt x="61" y="78"/>
                  </a:moveTo>
                  <a:cubicBezTo>
                    <a:pt x="67" y="78"/>
                    <a:pt x="72" y="79"/>
                    <a:pt x="77" y="81"/>
                  </a:cubicBezTo>
                  <a:cubicBezTo>
                    <a:pt x="76" y="82"/>
                    <a:pt x="76" y="82"/>
                    <a:pt x="75" y="83"/>
                  </a:cubicBezTo>
                  <a:cubicBezTo>
                    <a:pt x="71" y="91"/>
                    <a:pt x="67" y="95"/>
                    <a:pt x="61" y="96"/>
                  </a:cubicBezTo>
                  <a:lnTo>
                    <a:pt x="61" y="78"/>
                  </a:lnTo>
                  <a:close/>
                  <a:moveTo>
                    <a:pt x="69" y="96"/>
                  </a:moveTo>
                  <a:cubicBezTo>
                    <a:pt x="69" y="96"/>
                    <a:pt x="69" y="96"/>
                    <a:pt x="69" y="96"/>
                  </a:cubicBezTo>
                  <a:cubicBezTo>
                    <a:pt x="69" y="96"/>
                    <a:pt x="69" y="96"/>
                    <a:pt x="69" y="96"/>
                  </a:cubicBezTo>
                  <a:close/>
                  <a:moveTo>
                    <a:pt x="67" y="96"/>
                  </a:moveTo>
                  <a:cubicBezTo>
                    <a:pt x="67" y="96"/>
                    <a:pt x="66" y="96"/>
                    <a:pt x="66" y="96"/>
                  </a:cubicBezTo>
                  <a:cubicBezTo>
                    <a:pt x="66" y="96"/>
                    <a:pt x="67" y="96"/>
                    <a:pt x="67" y="96"/>
                  </a:cubicBezTo>
                  <a:close/>
                  <a:moveTo>
                    <a:pt x="64" y="97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lose/>
                  <a:moveTo>
                    <a:pt x="62" y="97"/>
                  </a:moveTo>
                  <a:cubicBezTo>
                    <a:pt x="62" y="97"/>
                    <a:pt x="61" y="97"/>
                    <a:pt x="61" y="97"/>
                  </a:cubicBezTo>
                  <a:cubicBezTo>
                    <a:pt x="61" y="97"/>
                    <a:pt x="62" y="97"/>
                    <a:pt x="62" y="97"/>
                  </a:cubicBezTo>
                  <a:close/>
                  <a:moveTo>
                    <a:pt x="80" y="85"/>
                  </a:moveTo>
                  <a:cubicBezTo>
                    <a:pt x="80" y="84"/>
                    <a:pt x="80" y="84"/>
                    <a:pt x="81" y="83"/>
                  </a:cubicBezTo>
                  <a:cubicBezTo>
                    <a:pt x="84" y="84"/>
                    <a:pt x="86" y="86"/>
                    <a:pt x="89" y="87"/>
                  </a:cubicBezTo>
                  <a:cubicBezTo>
                    <a:pt x="84" y="91"/>
                    <a:pt x="78" y="93"/>
                    <a:pt x="72" y="95"/>
                  </a:cubicBezTo>
                  <a:cubicBezTo>
                    <a:pt x="75" y="93"/>
                    <a:pt x="77" y="89"/>
                    <a:pt x="80" y="85"/>
                  </a:cubicBezTo>
                  <a:close/>
                  <a:moveTo>
                    <a:pt x="72" y="95"/>
                  </a:moveTo>
                  <a:cubicBezTo>
                    <a:pt x="71" y="95"/>
                    <a:pt x="71" y="95"/>
                    <a:pt x="71" y="95"/>
                  </a:cubicBezTo>
                  <a:cubicBezTo>
                    <a:pt x="71" y="95"/>
                    <a:pt x="71" y="95"/>
                    <a:pt x="72" y="95"/>
                  </a:cubicBezTo>
                  <a:close/>
                  <a:moveTo>
                    <a:pt x="78" y="77"/>
                  </a:moveTo>
                  <a:cubicBezTo>
                    <a:pt x="73" y="75"/>
                    <a:pt x="67" y="73"/>
                    <a:pt x="61" y="73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9" y="51"/>
                    <a:pt x="76" y="51"/>
                    <a:pt x="83" y="52"/>
                  </a:cubicBezTo>
                  <a:cubicBezTo>
                    <a:pt x="83" y="61"/>
                    <a:pt x="81" y="69"/>
                    <a:pt x="78" y="77"/>
                  </a:cubicBezTo>
                  <a:close/>
                  <a:moveTo>
                    <a:pt x="61" y="46"/>
                  </a:moveTo>
                  <a:cubicBezTo>
                    <a:pt x="61" y="26"/>
                    <a:pt x="61" y="26"/>
                    <a:pt x="61" y="26"/>
                  </a:cubicBezTo>
                  <a:cubicBezTo>
                    <a:pt x="67" y="25"/>
                    <a:pt x="73" y="25"/>
                    <a:pt x="79" y="23"/>
                  </a:cubicBezTo>
                  <a:cubicBezTo>
                    <a:pt x="81" y="30"/>
                    <a:pt x="83" y="38"/>
                    <a:pt x="83" y="47"/>
                  </a:cubicBezTo>
                  <a:cubicBezTo>
                    <a:pt x="76" y="46"/>
                    <a:pt x="69" y="46"/>
                    <a:pt x="61" y="46"/>
                  </a:cubicBezTo>
                  <a:close/>
                  <a:moveTo>
                    <a:pt x="82" y="18"/>
                  </a:moveTo>
                  <a:cubicBezTo>
                    <a:pt x="81" y="16"/>
                    <a:pt x="80" y="14"/>
                    <a:pt x="80" y="13"/>
                  </a:cubicBezTo>
                  <a:cubicBezTo>
                    <a:pt x="77" y="9"/>
                    <a:pt x="75" y="6"/>
                    <a:pt x="72" y="3"/>
                  </a:cubicBezTo>
                  <a:cubicBezTo>
                    <a:pt x="80" y="5"/>
                    <a:pt x="86" y="9"/>
                    <a:pt x="92" y="14"/>
                  </a:cubicBezTo>
                  <a:cubicBezTo>
                    <a:pt x="89" y="15"/>
                    <a:pt x="85" y="17"/>
                    <a:pt x="82" y="18"/>
                  </a:cubicBezTo>
                  <a:close/>
                  <a:moveTo>
                    <a:pt x="71" y="3"/>
                  </a:moveTo>
                  <a:cubicBezTo>
                    <a:pt x="71" y="3"/>
                    <a:pt x="71" y="3"/>
                    <a:pt x="72" y="3"/>
                  </a:cubicBezTo>
                  <a:cubicBezTo>
                    <a:pt x="71" y="3"/>
                    <a:pt x="71" y="3"/>
                    <a:pt x="71" y="3"/>
                  </a:cubicBezTo>
                  <a:close/>
                  <a:moveTo>
                    <a:pt x="95" y="17"/>
                  </a:moveTo>
                  <a:cubicBezTo>
                    <a:pt x="95" y="16"/>
                    <a:pt x="94" y="16"/>
                    <a:pt x="94" y="15"/>
                  </a:cubicBezTo>
                  <a:cubicBezTo>
                    <a:pt x="94" y="16"/>
                    <a:pt x="95" y="16"/>
                    <a:pt x="95" y="17"/>
                  </a:cubicBezTo>
                  <a:close/>
                  <a:moveTo>
                    <a:pt x="92" y="14"/>
                  </a:moveTo>
                  <a:cubicBezTo>
                    <a:pt x="93" y="14"/>
                    <a:pt x="93" y="14"/>
                    <a:pt x="93" y="15"/>
                  </a:cubicBezTo>
                  <a:cubicBezTo>
                    <a:pt x="93" y="14"/>
                    <a:pt x="93" y="14"/>
                    <a:pt x="92" y="14"/>
                  </a:cubicBezTo>
                  <a:close/>
                  <a:moveTo>
                    <a:pt x="39" y="23"/>
                  </a:moveTo>
                  <a:cubicBezTo>
                    <a:pt x="45" y="25"/>
                    <a:pt x="50" y="25"/>
                    <a:pt x="57" y="2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49" y="46"/>
                    <a:pt x="42" y="46"/>
                    <a:pt x="35" y="47"/>
                  </a:cubicBezTo>
                  <a:cubicBezTo>
                    <a:pt x="35" y="38"/>
                    <a:pt x="37" y="30"/>
                    <a:pt x="39" y="23"/>
                  </a:cubicBezTo>
                  <a:close/>
                  <a:moveTo>
                    <a:pt x="26" y="14"/>
                  </a:moveTo>
                  <a:cubicBezTo>
                    <a:pt x="31" y="9"/>
                    <a:pt x="38" y="5"/>
                    <a:pt x="46" y="3"/>
                  </a:cubicBezTo>
                  <a:cubicBezTo>
                    <a:pt x="43" y="6"/>
                    <a:pt x="40" y="9"/>
                    <a:pt x="38" y="13"/>
                  </a:cubicBezTo>
                  <a:cubicBezTo>
                    <a:pt x="38" y="14"/>
                    <a:pt x="37" y="16"/>
                    <a:pt x="36" y="18"/>
                  </a:cubicBezTo>
                  <a:cubicBezTo>
                    <a:pt x="32" y="17"/>
                    <a:pt x="29" y="15"/>
                    <a:pt x="26" y="14"/>
                  </a:cubicBezTo>
                  <a:close/>
                  <a:moveTo>
                    <a:pt x="57" y="51"/>
                  </a:moveTo>
                  <a:cubicBezTo>
                    <a:pt x="57" y="73"/>
                    <a:pt x="57" y="73"/>
                    <a:pt x="57" y="73"/>
                  </a:cubicBezTo>
                  <a:cubicBezTo>
                    <a:pt x="51" y="73"/>
                    <a:pt x="45" y="75"/>
                    <a:pt x="40" y="77"/>
                  </a:cubicBezTo>
                  <a:cubicBezTo>
                    <a:pt x="37" y="69"/>
                    <a:pt x="35" y="61"/>
                    <a:pt x="35" y="52"/>
                  </a:cubicBezTo>
                  <a:cubicBezTo>
                    <a:pt x="42" y="51"/>
                    <a:pt x="49" y="51"/>
                    <a:pt x="57" y="51"/>
                  </a:cubicBezTo>
                  <a:close/>
                  <a:moveTo>
                    <a:pt x="57" y="78"/>
                  </a:moveTo>
                  <a:cubicBezTo>
                    <a:pt x="57" y="96"/>
                    <a:pt x="57" y="96"/>
                    <a:pt x="57" y="96"/>
                  </a:cubicBezTo>
                  <a:cubicBezTo>
                    <a:pt x="51" y="95"/>
                    <a:pt x="46" y="91"/>
                    <a:pt x="42" y="83"/>
                  </a:cubicBezTo>
                  <a:cubicBezTo>
                    <a:pt x="42" y="82"/>
                    <a:pt x="42" y="82"/>
                    <a:pt x="41" y="81"/>
                  </a:cubicBezTo>
                  <a:cubicBezTo>
                    <a:pt x="46" y="79"/>
                    <a:pt x="51" y="78"/>
                    <a:pt x="57" y="78"/>
                  </a:cubicBezTo>
                  <a:close/>
                  <a:moveTo>
                    <a:pt x="38" y="85"/>
                  </a:moveTo>
                  <a:cubicBezTo>
                    <a:pt x="40" y="89"/>
                    <a:pt x="43" y="93"/>
                    <a:pt x="46" y="95"/>
                  </a:cubicBezTo>
                  <a:cubicBezTo>
                    <a:pt x="40" y="93"/>
                    <a:pt x="34" y="91"/>
                    <a:pt x="29" y="87"/>
                  </a:cubicBezTo>
                  <a:cubicBezTo>
                    <a:pt x="32" y="86"/>
                    <a:pt x="34" y="84"/>
                    <a:pt x="37" y="83"/>
                  </a:cubicBezTo>
                  <a:cubicBezTo>
                    <a:pt x="37" y="84"/>
                    <a:pt x="38" y="84"/>
                    <a:pt x="38" y="85"/>
                  </a:cubicBezTo>
                  <a:close/>
                  <a:moveTo>
                    <a:pt x="47" y="95"/>
                  </a:moveTo>
                  <a:cubicBezTo>
                    <a:pt x="47" y="95"/>
                    <a:pt x="46" y="95"/>
                    <a:pt x="46" y="95"/>
                  </a:cubicBezTo>
                  <a:cubicBezTo>
                    <a:pt x="46" y="95"/>
                    <a:pt x="47" y="95"/>
                    <a:pt x="47" y="95"/>
                  </a:cubicBezTo>
                  <a:close/>
                  <a:moveTo>
                    <a:pt x="57" y="97"/>
                  </a:moveTo>
                  <a:cubicBezTo>
                    <a:pt x="56" y="97"/>
                    <a:pt x="56" y="97"/>
                    <a:pt x="56" y="97"/>
                  </a:cubicBezTo>
                  <a:cubicBezTo>
                    <a:pt x="56" y="97"/>
                    <a:pt x="56" y="97"/>
                    <a:pt x="57" y="97"/>
                  </a:cubicBezTo>
                  <a:close/>
                  <a:moveTo>
                    <a:pt x="54" y="97"/>
                  </a:moveTo>
                  <a:cubicBezTo>
                    <a:pt x="54" y="97"/>
                    <a:pt x="54" y="97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lose/>
                  <a:moveTo>
                    <a:pt x="52" y="96"/>
                  </a:move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2" y="96"/>
                  </a:cubicBezTo>
                  <a:close/>
                  <a:moveTo>
                    <a:pt x="49" y="96"/>
                  </a:moveTo>
                  <a:cubicBezTo>
                    <a:pt x="49" y="96"/>
                    <a:pt x="49" y="96"/>
                    <a:pt x="49" y="96"/>
                  </a:cubicBezTo>
                  <a:cubicBezTo>
                    <a:pt x="49" y="96"/>
                    <a:pt x="49" y="96"/>
                    <a:pt x="49" y="96"/>
                  </a:cubicBezTo>
                  <a:close/>
                  <a:moveTo>
                    <a:pt x="57" y="21"/>
                  </a:moveTo>
                  <a:cubicBezTo>
                    <a:pt x="51" y="21"/>
                    <a:pt x="46" y="20"/>
                    <a:pt x="41" y="19"/>
                  </a:cubicBezTo>
                  <a:cubicBezTo>
                    <a:pt x="41" y="18"/>
                    <a:pt x="42" y="16"/>
                    <a:pt x="42" y="15"/>
                  </a:cubicBezTo>
                  <a:cubicBezTo>
                    <a:pt x="46" y="8"/>
                    <a:pt x="51" y="3"/>
                    <a:pt x="57" y="2"/>
                  </a:cubicBezTo>
                  <a:lnTo>
                    <a:pt x="57" y="21"/>
                  </a:lnTo>
                  <a:close/>
                  <a:moveTo>
                    <a:pt x="46" y="3"/>
                  </a:moveTo>
                  <a:cubicBezTo>
                    <a:pt x="46" y="3"/>
                    <a:pt x="47" y="3"/>
                    <a:pt x="47" y="3"/>
                  </a:cubicBezTo>
                  <a:cubicBezTo>
                    <a:pt x="47" y="3"/>
                    <a:pt x="46" y="3"/>
                    <a:pt x="46" y="3"/>
                  </a:cubicBezTo>
                  <a:close/>
                  <a:moveTo>
                    <a:pt x="56" y="1"/>
                  </a:moveTo>
                  <a:cubicBezTo>
                    <a:pt x="56" y="1"/>
                    <a:pt x="56" y="1"/>
                    <a:pt x="57" y="1"/>
                  </a:cubicBezTo>
                  <a:cubicBezTo>
                    <a:pt x="56" y="1"/>
                    <a:pt x="56" y="1"/>
                    <a:pt x="56" y="1"/>
                  </a:cubicBezTo>
                  <a:close/>
                  <a:moveTo>
                    <a:pt x="49" y="2"/>
                  </a:move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2"/>
                    <a:pt x="49" y="2"/>
                  </a:cubicBezTo>
                  <a:close/>
                  <a:moveTo>
                    <a:pt x="51" y="2"/>
                  </a:moveTo>
                  <a:cubicBezTo>
                    <a:pt x="51" y="2"/>
                    <a:pt x="51" y="2"/>
                    <a:pt x="52" y="2"/>
                  </a:cubicBezTo>
                  <a:cubicBezTo>
                    <a:pt x="51" y="2"/>
                    <a:pt x="51" y="2"/>
                    <a:pt x="51" y="2"/>
                  </a:cubicBezTo>
                  <a:close/>
                  <a:moveTo>
                    <a:pt x="54" y="2"/>
                  </a:moveTo>
                  <a:cubicBezTo>
                    <a:pt x="54" y="2"/>
                    <a:pt x="54" y="2"/>
                    <a:pt x="54" y="2"/>
                  </a:cubicBezTo>
                  <a:cubicBezTo>
                    <a:pt x="54" y="2"/>
                    <a:pt x="54" y="2"/>
                    <a:pt x="54" y="2"/>
                  </a:cubicBezTo>
                  <a:close/>
                  <a:moveTo>
                    <a:pt x="26" y="14"/>
                  </a:moveTo>
                  <a:cubicBezTo>
                    <a:pt x="25" y="14"/>
                    <a:pt x="25" y="14"/>
                    <a:pt x="24" y="15"/>
                  </a:cubicBezTo>
                  <a:cubicBezTo>
                    <a:pt x="25" y="14"/>
                    <a:pt x="25" y="14"/>
                    <a:pt x="26" y="14"/>
                  </a:cubicBezTo>
                  <a:close/>
                  <a:moveTo>
                    <a:pt x="24" y="15"/>
                  </a:moveTo>
                  <a:cubicBezTo>
                    <a:pt x="23" y="16"/>
                    <a:pt x="23" y="16"/>
                    <a:pt x="22" y="17"/>
                  </a:cubicBezTo>
                  <a:cubicBezTo>
                    <a:pt x="23" y="16"/>
                    <a:pt x="23" y="16"/>
                    <a:pt x="24" y="15"/>
                  </a:cubicBezTo>
                  <a:close/>
                  <a:moveTo>
                    <a:pt x="22" y="17"/>
                  </a:moveTo>
                  <a:cubicBezTo>
                    <a:pt x="26" y="19"/>
                    <a:pt x="30" y="21"/>
                    <a:pt x="34" y="22"/>
                  </a:cubicBezTo>
                  <a:cubicBezTo>
                    <a:pt x="32" y="30"/>
                    <a:pt x="31" y="38"/>
                    <a:pt x="30" y="47"/>
                  </a:cubicBezTo>
                  <a:cubicBezTo>
                    <a:pt x="23" y="48"/>
                    <a:pt x="16" y="49"/>
                    <a:pt x="9" y="50"/>
                  </a:cubicBezTo>
                  <a:cubicBezTo>
                    <a:pt x="9" y="50"/>
                    <a:pt x="9" y="50"/>
                    <a:pt x="9" y="49"/>
                  </a:cubicBezTo>
                  <a:cubicBezTo>
                    <a:pt x="9" y="37"/>
                    <a:pt x="14" y="25"/>
                    <a:pt x="22" y="17"/>
                  </a:cubicBezTo>
                  <a:close/>
                  <a:moveTo>
                    <a:pt x="9" y="51"/>
                  </a:moveTo>
                  <a:cubicBezTo>
                    <a:pt x="9" y="51"/>
                    <a:pt x="9" y="52"/>
                    <a:pt x="9" y="52"/>
                  </a:cubicBezTo>
                  <a:cubicBezTo>
                    <a:pt x="9" y="52"/>
                    <a:pt x="9" y="51"/>
                    <a:pt x="9" y="51"/>
                  </a:cubicBezTo>
                  <a:close/>
                  <a:moveTo>
                    <a:pt x="10" y="53"/>
                  </a:moveTo>
                  <a:cubicBezTo>
                    <a:pt x="10" y="54"/>
                    <a:pt x="10" y="54"/>
                    <a:pt x="10" y="55"/>
                  </a:cubicBezTo>
                  <a:cubicBezTo>
                    <a:pt x="10" y="54"/>
                    <a:pt x="10" y="54"/>
                    <a:pt x="10" y="53"/>
                  </a:cubicBezTo>
                  <a:close/>
                  <a:moveTo>
                    <a:pt x="10" y="55"/>
                  </a:moveTo>
                  <a:cubicBezTo>
                    <a:pt x="16" y="54"/>
                    <a:pt x="23" y="53"/>
                    <a:pt x="30" y="52"/>
                  </a:cubicBezTo>
                  <a:cubicBezTo>
                    <a:pt x="31" y="62"/>
                    <a:pt x="32" y="71"/>
                    <a:pt x="35" y="78"/>
                  </a:cubicBezTo>
                  <a:cubicBezTo>
                    <a:pt x="32" y="80"/>
                    <a:pt x="29" y="82"/>
                    <a:pt x="25" y="84"/>
                  </a:cubicBezTo>
                  <a:cubicBezTo>
                    <a:pt x="17" y="77"/>
                    <a:pt x="11" y="67"/>
                    <a:pt x="10" y="55"/>
                  </a:cubicBezTo>
                  <a:close/>
                  <a:moveTo>
                    <a:pt x="29" y="87"/>
                  </a:moveTo>
                  <a:cubicBezTo>
                    <a:pt x="28" y="87"/>
                    <a:pt x="28" y="86"/>
                    <a:pt x="27" y="86"/>
                  </a:cubicBezTo>
                  <a:cubicBezTo>
                    <a:pt x="28" y="86"/>
                    <a:pt x="28" y="87"/>
                    <a:pt x="29" y="87"/>
                  </a:cubicBezTo>
                  <a:close/>
                  <a:moveTo>
                    <a:pt x="27" y="86"/>
                  </a:moveTo>
                  <a:cubicBezTo>
                    <a:pt x="26" y="85"/>
                    <a:pt x="26" y="85"/>
                    <a:pt x="26" y="84"/>
                  </a:cubicBezTo>
                  <a:cubicBezTo>
                    <a:pt x="26" y="85"/>
                    <a:pt x="26" y="85"/>
                    <a:pt x="27" y="86"/>
                  </a:cubicBezTo>
                  <a:close/>
                  <a:moveTo>
                    <a:pt x="89" y="87"/>
                  </a:moveTo>
                  <a:cubicBezTo>
                    <a:pt x="90" y="87"/>
                    <a:pt x="90" y="86"/>
                    <a:pt x="91" y="86"/>
                  </a:cubicBezTo>
                  <a:cubicBezTo>
                    <a:pt x="90" y="86"/>
                    <a:pt x="90" y="87"/>
                    <a:pt x="89" y="87"/>
                  </a:cubicBezTo>
                  <a:close/>
                  <a:moveTo>
                    <a:pt x="91" y="85"/>
                  </a:moveTo>
                  <a:cubicBezTo>
                    <a:pt x="91" y="85"/>
                    <a:pt x="92" y="85"/>
                    <a:pt x="92" y="84"/>
                  </a:cubicBezTo>
                  <a:cubicBezTo>
                    <a:pt x="92" y="85"/>
                    <a:pt x="91" y="85"/>
                    <a:pt x="91" y="85"/>
                  </a:cubicBezTo>
                  <a:close/>
                  <a:moveTo>
                    <a:pt x="92" y="84"/>
                  </a:moveTo>
                  <a:cubicBezTo>
                    <a:pt x="89" y="82"/>
                    <a:pt x="86" y="80"/>
                    <a:pt x="83" y="78"/>
                  </a:cubicBezTo>
                  <a:cubicBezTo>
                    <a:pt x="85" y="71"/>
                    <a:pt x="87" y="62"/>
                    <a:pt x="87" y="52"/>
                  </a:cubicBezTo>
                  <a:cubicBezTo>
                    <a:pt x="95" y="53"/>
                    <a:pt x="102" y="54"/>
                    <a:pt x="108" y="55"/>
                  </a:cubicBezTo>
                  <a:cubicBezTo>
                    <a:pt x="107" y="67"/>
                    <a:pt x="101" y="77"/>
                    <a:pt x="92" y="84"/>
                  </a:cubicBezTo>
                  <a:close/>
                  <a:moveTo>
                    <a:pt x="108" y="51"/>
                  </a:moveTo>
                  <a:cubicBezTo>
                    <a:pt x="108" y="51"/>
                    <a:pt x="108" y="52"/>
                    <a:pt x="108" y="52"/>
                  </a:cubicBezTo>
                  <a:cubicBezTo>
                    <a:pt x="108" y="52"/>
                    <a:pt x="108" y="51"/>
                    <a:pt x="108" y="51"/>
                  </a:cubicBezTo>
                  <a:close/>
                  <a:moveTo>
                    <a:pt x="108" y="53"/>
                  </a:moveTo>
                  <a:cubicBezTo>
                    <a:pt x="108" y="54"/>
                    <a:pt x="108" y="54"/>
                    <a:pt x="108" y="55"/>
                  </a:cubicBezTo>
                  <a:cubicBezTo>
                    <a:pt x="108" y="54"/>
                    <a:pt x="108" y="54"/>
                    <a:pt x="108" y="53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87" name="Freeform 81"/>
            <p:cNvSpPr/>
            <p:nvPr/>
          </p:nvSpPr>
          <p:spPr bwMode="auto">
            <a:xfrm>
              <a:off x="6866039" y="4151755"/>
              <a:ext cx="123458" cy="154980"/>
            </a:xfrm>
            <a:custGeom>
              <a:avLst/>
              <a:gdLst>
                <a:gd name="T0" fmla="*/ 2147483646 w 40"/>
                <a:gd name="T1" fmla="*/ 2147483646 h 50"/>
                <a:gd name="T2" fmla="*/ 2147483646 w 40"/>
                <a:gd name="T3" fmla="*/ 2147483646 h 50"/>
                <a:gd name="T4" fmla="*/ 2147483646 w 40"/>
                <a:gd name="T5" fmla="*/ 2147483646 h 50"/>
                <a:gd name="T6" fmla="*/ 2147483646 w 40"/>
                <a:gd name="T7" fmla="*/ 2147483646 h 50"/>
                <a:gd name="T8" fmla="*/ 2147483646 w 40"/>
                <a:gd name="T9" fmla="*/ 2147483646 h 50"/>
                <a:gd name="T10" fmla="*/ 2147483646 w 40"/>
                <a:gd name="T11" fmla="*/ 0 h 50"/>
                <a:gd name="T12" fmla="*/ 2147483646 w 40"/>
                <a:gd name="T13" fmla="*/ 2147483646 h 50"/>
                <a:gd name="T14" fmla="*/ 2147483646 w 40"/>
                <a:gd name="T15" fmla="*/ 2147483646 h 50"/>
                <a:gd name="T16" fmla="*/ 2147483646 w 40"/>
                <a:gd name="T17" fmla="*/ 2147483646 h 50"/>
                <a:gd name="T18" fmla="*/ 2147483646 w 40"/>
                <a:gd name="T19" fmla="*/ 2147483646 h 50"/>
                <a:gd name="T20" fmla="*/ 2147483646 w 40"/>
                <a:gd name="T21" fmla="*/ 2147483646 h 50"/>
                <a:gd name="T22" fmla="*/ 2147483646 w 40"/>
                <a:gd name="T23" fmla="*/ 2147483646 h 50"/>
                <a:gd name="T24" fmla="*/ 0 w 40"/>
                <a:gd name="T25" fmla="*/ 2147483646 h 50"/>
                <a:gd name="T26" fmla="*/ 2147483646 w 40"/>
                <a:gd name="T27" fmla="*/ 2147483646 h 5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0" h="50">
                  <a:moveTo>
                    <a:pt x="2" y="18"/>
                  </a:moveTo>
                  <a:cubicBezTo>
                    <a:pt x="5" y="20"/>
                    <a:pt x="13" y="27"/>
                    <a:pt x="16" y="30"/>
                  </a:cubicBezTo>
                  <a:cubicBezTo>
                    <a:pt x="17" y="29"/>
                    <a:pt x="17" y="28"/>
                    <a:pt x="18" y="26"/>
                  </a:cubicBezTo>
                  <a:cubicBezTo>
                    <a:pt x="20" y="23"/>
                    <a:pt x="22" y="20"/>
                    <a:pt x="24" y="17"/>
                  </a:cubicBezTo>
                  <a:cubicBezTo>
                    <a:pt x="26" y="14"/>
                    <a:pt x="28" y="11"/>
                    <a:pt x="31" y="8"/>
                  </a:cubicBezTo>
                  <a:cubicBezTo>
                    <a:pt x="33" y="5"/>
                    <a:pt x="35" y="2"/>
                    <a:pt x="38" y="0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8" y="5"/>
                    <a:pt x="36" y="8"/>
                    <a:pt x="35" y="11"/>
                  </a:cubicBezTo>
                  <a:cubicBezTo>
                    <a:pt x="33" y="14"/>
                    <a:pt x="31" y="17"/>
                    <a:pt x="29" y="20"/>
                  </a:cubicBezTo>
                  <a:cubicBezTo>
                    <a:pt x="28" y="23"/>
                    <a:pt x="26" y="27"/>
                    <a:pt x="25" y="30"/>
                  </a:cubicBezTo>
                  <a:cubicBezTo>
                    <a:pt x="21" y="38"/>
                    <a:pt x="17" y="50"/>
                    <a:pt x="17" y="50"/>
                  </a:cubicBezTo>
                  <a:cubicBezTo>
                    <a:pt x="17" y="50"/>
                    <a:pt x="11" y="37"/>
                    <a:pt x="7" y="30"/>
                  </a:cubicBezTo>
                  <a:cubicBezTo>
                    <a:pt x="5" y="27"/>
                    <a:pt x="2" y="23"/>
                    <a:pt x="0" y="20"/>
                  </a:cubicBezTo>
                  <a:lnTo>
                    <a:pt x="2" y="18"/>
                  </a:ln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 bwMode="auto">
          <a:xfrm>
            <a:off x="2160588" y="4391025"/>
            <a:ext cx="369887" cy="311150"/>
            <a:chOff x="5534267" y="4197724"/>
            <a:chExt cx="596277" cy="457059"/>
          </a:xfrm>
        </p:grpSpPr>
        <p:sp>
          <p:nvSpPr>
            <p:cNvPr id="6183" name="Freeform 82"/>
            <p:cNvSpPr/>
            <p:nvPr/>
          </p:nvSpPr>
          <p:spPr bwMode="auto">
            <a:xfrm>
              <a:off x="5727335" y="4300168"/>
              <a:ext cx="219336" cy="354615"/>
            </a:xfrm>
            <a:custGeom>
              <a:avLst/>
              <a:gdLst>
                <a:gd name="T0" fmla="*/ 2147483646 w 71"/>
                <a:gd name="T1" fmla="*/ 2147483646 h 114"/>
                <a:gd name="T2" fmla="*/ 2147483646 w 71"/>
                <a:gd name="T3" fmla="*/ 2147483646 h 114"/>
                <a:gd name="T4" fmla="*/ 2147483646 w 71"/>
                <a:gd name="T5" fmla="*/ 2147483646 h 114"/>
                <a:gd name="T6" fmla="*/ 2147483646 w 71"/>
                <a:gd name="T7" fmla="*/ 2147483646 h 114"/>
                <a:gd name="T8" fmla="*/ 2147483646 w 71"/>
                <a:gd name="T9" fmla="*/ 2147483646 h 114"/>
                <a:gd name="T10" fmla="*/ 2147483646 w 71"/>
                <a:gd name="T11" fmla="*/ 2147483646 h 114"/>
                <a:gd name="T12" fmla="*/ 2147483646 w 71"/>
                <a:gd name="T13" fmla="*/ 0 h 114"/>
                <a:gd name="T14" fmla="*/ 2147483646 w 71"/>
                <a:gd name="T15" fmla="*/ 2147483646 h 114"/>
                <a:gd name="T16" fmla="*/ 2147483646 w 71"/>
                <a:gd name="T17" fmla="*/ 2147483646 h 114"/>
                <a:gd name="T18" fmla="*/ 2147483646 w 71"/>
                <a:gd name="T19" fmla="*/ 2147483646 h 114"/>
                <a:gd name="T20" fmla="*/ 2147483646 w 71"/>
                <a:gd name="T21" fmla="*/ 2147483646 h 114"/>
                <a:gd name="T22" fmla="*/ 2147483646 w 71"/>
                <a:gd name="T23" fmla="*/ 2147483646 h 114"/>
                <a:gd name="T24" fmla="*/ 0 w 71"/>
                <a:gd name="T25" fmla="*/ 2147483646 h 114"/>
                <a:gd name="T26" fmla="*/ 0 w 71"/>
                <a:gd name="T27" fmla="*/ 2147483646 h 114"/>
                <a:gd name="T28" fmla="*/ 2147483646 w 71"/>
                <a:gd name="T29" fmla="*/ 2147483646 h 114"/>
                <a:gd name="T30" fmla="*/ 2147483646 w 71"/>
                <a:gd name="T31" fmla="*/ 2147483646 h 114"/>
                <a:gd name="T32" fmla="*/ 2147483646 w 71"/>
                <a:gd name="T33" fmla="*/ 2147483646 h 114"/>
                <a:gd name="T34" fmla="*/ 2147483646 w 71"/>
                <a:gd name="T35" fmla="*/ 2147483646 h 114"/>
                <a:gd name="T36" fmla="*/ 2147483646 w 71"/>
                <a:gd name="T37" fmla="*/ 2147483646 h 114"/>
                <a:gd name="T38" fmla="*/ 2147483646 w 71"/>
                <a:gd name="T39" fmla="*/ 2147483646 h 114"/>
                <a:gd name="T40" fmla="*/ 2147483646 w 71"/>
                <a:gd name="T41" fmla="*/ 2147483646 h 114"/>
                <a:gd name="T42" fmla="*/ 2147483646 w 71"/>
                <a:gd name="T43" fmla="*/ 2147483646 h 114"/>
                <a:gd name="T44" fmla="*/ 2147483646 w 71"/>
                <a:gd name="T45" fmla="*/ 2147483646 h 114"/>
                <a:gd name="T46" fmla="*/ 2147483646 w 71"/>
                <a:gd name="T47" fmla="*/ 2147483646 h 114"/>
                <a:gd name="T48" fmla="*/ 2147483646 w 71"/>
                <a:gd name="T49" fmla="*/ 2147483646 h 114"/>
                <a:gd name="T50" fmla="*/ 2147483646 w 71"/>
                <a:gd name="T51" fmla="*/ 2147483646 h 114"/>
                <a:gd name="T52" fmla="*/ 2147483646 w 71"/>
                <a:gd name="T53" fmla="*/ 2147483646 h 114"/>
                <a:gd name="T54" fmla="*/ 2147483646 w 71"/>
                <a:gd name="T55" fmla="*/ 2147483646 h 114"/>
                <a:gd name="T56" fmla="*/ 2147483646 w 71"/>
                <a:gd name="T57" fmla="*/ 2147483646 h 114"/>
                <a:gd name="T58" fmla="*/ 2147483646 w 71"/>
                <a:gd name="T59" fmla="*/ 2147483646 h 114"/>
                <a:gd name="T60" fmla="*/ 2147483646 w 71"/>
                <a:gd name="T61" fmla="*/ 2147483646 h 114"/>
                <a:gd name="T62" fmla="*/ 2147483646 w 71"/>
                <a:gd name="T63" fmla="*/ 2147483646 h 114"/>
                <a:gd name="T64" fmla="*/ 2147483646 w 71"/>
                <a:gd name="T65" fmla="*/ 2147483646 h 114"/>
                <a:gd name="T66" fmla="*/ 2147483646 w 71"/>
                <a:gd name="T67" fmla="*/ 2147483646 h 114"/>
                <a:gd name="T68" fmla="*/ 2147483646 w 71"/>
                <a:gd name="T69" fmla="*/ 2147483646 h 114"/>
                <a:gd name="T70" fmla="*/ 2147483646 w 71"/>
                <a:gd name="T71" fmla="*/ 2147483646 h 114"/>
                <a:gd name="T72" fmla="*/ 2147483646 w 71"/>
                <a:gd name="T73" fmla="*/ 2147483646 h 114"/>
                <a:gd name="T74" fmla="*/ 2147483646 w 71"/>
                <a:gd name="T75" fmla="*/ 2147483646 h 114"/>
                <a:gd name="T76" fmla="*/ 2147483646 w 71"/>
                <a:gd name="T77" fmla="*/ 2147483646 h 114"/>
                <a:gd name="T78" fmla="*/ 2147483646 w 71"/>
                <a:gd name="T79" fmla="*/ 2147483646 h 114"/>
                <a:gd name="T80" fmla="*/ 2147483646 w 71"/>
                <a:gd name="T81" fmla="*/ 2147483646 h 11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1" h="114">
                  <a:moveTo>
                    <a:pt x="71" y="65"/>
                  </a:moveTo>
                  <a:cubicBezTo>
                    <a:pt x="70" y="62"/>
                    <a:pt x="70" y="63"/>
                    <a:pt x="68" y="52"/>
                  </a:cubicBezTo>
                  <a:cubicBezTo>
                    <a:pt x="66" y="42"/>
                    <a:pt x="61" y="35"/>
                    <a:pt x="56" y="30"/>
                  </a:cubicBezTo>
                  <a:cubicBezTo>
                    <a:pt x="51" y="25"/>
                    <a:pt x="48" y="24"/>
                    <a:pt x="43" y="21"/>
                  </a:cubicBezTo>
                  <a:cubicBezTo>
                    <a:pt x="41" y="20"/>
                    <a:pt x="42" y="17"/>
                    <a:pt x="43" y="15"/>
                  </a:cubicBezTo>
                  <a:cubicBezTo>
                    <a:pt x="44" y="13"/>
                    <a:pt x="45" y="12"/>
                    <a:pt x="45" y="10"/>
                  </a:cubicBezTo>
                  <a:cubicBezTo>
                    <a:pt x="45" y="4"/>
                    <a:pt x="41" y="0"/>
                    <a:pt x="35" y="0"/>
                  </a:cubicBezTo>
                  <a:cubicBezTo>
                    <a:pt x="30" y="0"/>
                    <a:pt x="26" y="4"/>
                    <a:pt x="26" y="10"/>
                  </a:cubicBezTo>
                  <a:cubicBezTo>
                    <a:pt x="26" y="12"/>
                    <a:pt x="26" y="13"/>
                    <a:pt x="27" y="15"/>
                  </a:cubicBezTo>
                  <a:cubicBezTo>
                    <a:pt x="29" y="17"/>
                    <a:pt x="29" y="20"/>
                    <a:pt x="27" y="21"/>
                  </a:cubicBezTo>
                  <a:cubicBezTo>
                    <a:pt x="23" y="24"/>
                    <a:pt x="19" y="25"/>
                    <a:pt x="15" y="30"/>
                  </a:cubicBezTo>
                  <a:cubicBezTo>
                    <a:pt x="10" y="35"/>
                    <a:pt x="5" y="42"/>
                    <a:pt x="3" y="52"/>
                  </a:cubicBezTo>
                  <a:cubicBezTo>
                    <a:pt x="0" y="63"/>
                    <a:pt x="1" y="62"/>
                    <a:pt x="0" y="65"/>
                  </a:cubicBezTo>
                  <a:cubicBezTo>
                    <a:pt x="0" y="66"/>
                    <a:pt x="0" y="67"/>
                    <a:pt x="0" y="67"/>
                  </a:cubicBezTo>
                  <a:cubicBezTo>
                    <a:pt x="0" y="70"/>
                    <a:pt x="2" y="73"/>
                    <a:pt x="6" y="73"/>
                  </a:cubicBezTo>
                  <a:cubicBezTo>
                    <a:pt x="9" y="73"/>
                    <a:pt x="12" y="70"/>
                    <a:pt x="12" y="67"/>
                  </a:cubicBezTo>
                  <a:cubicBezTo>
                    <a:pt x="12" y="67"/>
                    <a:pt x="11" y="66"/>
                    <a:pt x="11" y="66"/>
                  </a:cubicBezTo>
                  <a:cubicBezTo>
                    <a:pt x="11" y="59"/>
                    <a:pt x="12" y="52"/>
                    <a:pt x="14" y="46"/>
                  </a:cubicBezTo>
                  <a:cubicBezTo>
                    <a:pt x="15" y="42"/>
                    <a:pt x="20" y="38"/>
                    <a:pt x="22" y="44"/>
                  </a:cubicBezTo>
                  <a:cubicBezTo>
                    <a:pt x="20" y="45"/>
                    <a:pt x="16" y="49"/>
                    <a:pt x="16" y="58"/>
                  </a:cubicBezTo>
                  <a:cubicBezTo>
                    <a:pt x="16" y="66"/>
                    <a:pt x="16" y="100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11"/>
                    <a:pt x="18" y="114"/>
                    <a:pt x="21" y="114"/>
                  </a:cubicBezTo>
                  <a:cubicBezTo>
                    <a:pt x="25" y="114"/>
                    <a:pt x="28" y="111"/>
                    <a:pt x="28" y="107"/>
                  </a:cubicBezTo>
                  <a:cubicBezTo>
                    <a:pt x="28" y="107"/>
                    <a:pt x="28" y="106"/>
                    <a:pt x="28" y="106"/>
                  </a:cubicBezTo>
                  <a:cubicBezTo>
                    <a:pt x="27" y="98"/>
                    <a:pt x="27" y="87"/>
                    <a:pt x="28" y="80"/>
                  </a:cubicBezTo>
                  <a:cubicBezTo>
                    <a:pt x="28" y="76"/>
                    <a:pt x="29" y="61"/>
                    <a:pt x="35" y="61"/>
                  </a:cubicBezTo>
                  <a:cubicBezTo>
                    <a:pt x="42" y="61"/>
                    <a:pt x="42" y="76"/>
                    <a:pt x="43" y="80"/>
                  </a:cubicBezTo>
                  <a:cubicBezTo>
                    <a:pt x="43" y="87"/>
                    <a:pt x="44" y="98"/>
                    <a:pt x="43" y="106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11"/>
                    <a:pt x="46" y="114"/>
                    <a:pt x="49" y="114"/>
                  </a:cubicBezTo>
                  <a:cubicBezTo>
                    <a:pt x="53" y="114"/>
                    <a:pt x="56" y="111"/>
                    <a:pt x="56" y="107"/>
                  </a:cubicBezTo>
                  <a:cubicBezTo>
                    <a:pt x="56" y="107"/>
                    <a:pt x="56" y="106"/>
                    <a:pt x="56" y="106"/>
                  </a:cubicBezTo>
                  <a:cubicBezTo>
                    <a:pt x="54" y="100"/>
                    <a:pt x="55" y="66"/>
                    <a:pt x="55" y="58"/>
                  </a:cubicBezTo>
                  <a:cubicBezTo>
                    <a:pt x="55" y="49"/>
                    <a:pt x="51" y="45"/>
                    <a:pt x="49" y="44"/>
                  </a:cubicBezTo>
                  <a:cubicBezTo>
                    <a:pt x="51" y="38"/>
                    <a:pt x="55" y="42"/>
                    <a:pt x="57" y="46"/>
                  </a:cubicBezTo>
                  <a:cubicBezTo>
                    <a:pt x="59" y="52"/>
                    <a:pt x="60" y="59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70"/>
                    <a:pt x="62" y="73"/>
                    <a:pt x="65" y="73"/>
                  </a:cubicBezTo>
                  <a:cubicBezTo>
                    <a:pt x="68" y="73"/>
                    <a:pt x="71" y="70"/>
                    <a:pt x="71" y="67"/>
                  </a:cubicBezTo>
                  <a:cubicBezTo>
                    <a:pt x="71" y="67"/>
                    <a:pt x="71" y="66"/>
                    <a:pt x="71" y="65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84" name="Freeform 83"/>
            <p:cNvSpPr/>
            <p:nvPr/>
          </p:nvSpPr>
          <p:spPr bwMode="auto">
            <a:xfrm>
              <a:off x="5909895" y="4197724"/>
              <a:ext cx="220649" cy="354615"/>
            </a:xfrm>
            <a:custGeom>
              <a:avLst/>
              <a:gdLst>
                <a:gd name="T0" fmla="*/ 2147483646 w 71"/>
                <a:gd name="T1" fmla="*/ 2147483646 h 114"/>
                <a:gd name="T2" fmla="*/ 2147483646 w 71"/>
                <a:gd name="T3" fmla="*/ 2147483646 h 114"/>
                <a:gd name="T4" fmla="*/ 2147483646 w 71"/>
                <a:gd name="T5" fmla="*/ 2147483646 h 114"/>
                <a:gd name="T6" fmla="*/ 2147483646 w 71"/>
                <a:gd name="T7" fmla="*/ 2147483646 h 114"/>
                <a:gd name="T8" fmla="*/ 2147483646 w 71"/>
                <a:gd name="T9" fmla="*/ 2147483646 h 114"/>
                <a:gd name="T10" fmla="*/ 2147483646 w 71"/>
                <a:gd name="T11" fmla="*/ 2147483646 h 114"/>
                <a:gd name="T12" fmla="*/ 2147483646 w 71"/>
                <a:gd name="T13" fmla="*/ 0 h 114"/>
                <a:gd name="T14" fmla="*/ 2147483646 w 71"/>
                <a:gd name="T15" fmla="*/ 2147483646 h 114"/>
                <a:gd name="T16" fmla="*/ 2147483646 w 71"/>
                <a:gd name="T17" fmla="*/ 2147483646 h 114"/>
                <a:gd name="T18" fmla="*/ 2147483646 w 71"/>
                <a:gd name="T19" fmla="*/ 2147483646 h 114"/>
                <a:gd name="T20" fmla="*/ 2147483646 w 71"/>
                <a:gd name="T21" fmla="*/ 2147483646 h 114"/>
                <a:gd name="T22" fmla="*/ 2147483646 w 71"/>
                <a:gd name="T23" fmla="*/ 2147483646 h 114"/>
                <a:gd name="T24" fmla="*/ 0 w 71"/>
                <a:gd name="T25" fmla="*/ 2147483646 h 114"/>
                <a:gd name="T26" fmla="*/ 0 w 71"/>
                <a:gd name="T27" fmla="*/ 2147483646 h 114"/>
                <a:gd name="T28" fmla="*/ 2147483646 w 71"/>
                <a:gd name="T29" fmla="*/ 2147483646 h 114"/>
                <a:gd name="T30" fmla="*/ 2147483646 w 71"/>
                <a:gd name="T31" fmla="*/ 2147483646 h 114"/>
                <a:gd name="T32" fmla="*/ 2147483646 w 71"/>
                <a:gd name="T33" fmla="*/ 2147483646 h 114"/>
                <a:gd name="T34" fmla="*/ 2147483646 w 71"/>
                <a:gd name="T35" fmla="*/ 2147483646 h 114"/>
                <a:gd name="T36" fmla="*/ 2147483646 w 71"/>
                <a:gd name="T37" fmla="*/ 2147483646 h 114"/>
                <a:gd name="T38" fmla="*/ 2147483646 w 71"/>
                <a:gd name="T39" fmla="*/ 2147483646 h 114"/>
                <a:gd name="T40" fmla="*/ 2147483646 w 71"/>
                <a:gd name="T41" fmla="*/ 2147483646 h 114"/>
                <a:gd name="T42" fmla="*/ 2147483646 w 71"/>
                <a:gd name="T43" fmla="*/ 2147483646 h 114"/>
                <a:gd name="T44" fmla="*/ 2147483646 w 71"/>
                <a:gd name="T45" fmla="*/ 2147483646 h 114"/>
                <a:gd name="T46" fmla="*/ 2147483646 w 71"/>
                <a:gd name="T47" fmla="*/ 2147483646 h 114"/>
                <a:gd name="T48" fmla="*/ 2147483646 w 71"/>
                <a:gd name="T49" fmla="*/ 2147483646 h 114"/>
                <a:gd name="T50" fmla="*/ 2147483646 w 71"/>
                <a:gd name="T51" fmla="*/ 2147483646 h 114"/>
                <a:gd name="T52" fmla="*/ 2147483646 w 71"/>
                <a:gd name="T53" fmla="*/ 2147483646 h 114"/>
                <a:gd name="T54" fmla="*/ 2147483646 w 71"/>
                <a:gd name="T55" fmla="*/ 2147483646 h 114"/>
                <a:gd name="T56" fmla="*/ 2147483646 w 71"/>
                <a:gd name="T57" fmla="*/ 2147483646 h 114"/>
                <a:gd name="T58" fmla="*/ 2147483646 w 71"/>
                <a:gd name="T59" fmla="*/ 2147483646 h 114"/>
                <a:gd name="T60" fmla="*/ 2147483646 w 71"/>
                <a:gd name="T61" fmla="*/ 2147483646 h 114"/>
                <a:gd name="T62" fmla="*/ 2147483646 w 71"/>
                <a:gd name="T63" fmla="*/ 2147483646 h 114"/>
                <a:gd name="T64" fmla="*/ 2147483646 w 71"/>
                <a:gd name="T65" fmla="*/ 2147483646 h 114"/>
                <a:gd name="T66" fmla="*/ 2147483646 w 71"/>
                <a:gd name="T67" fmla="*/ 2147483646 h 114"/>
                <a:gd name="T68" fmla="*/ 2147483646 w 71"/>
                <a:gd name="T69" fmla="*/ 2147483646 h 114"/>
                <a:gd name="T70" fmla="*/ 2147483646 w 71"/>
                <a:gd name="T71" fmla="*/ 2147483646 h 114"/>
                <a:gd name="T72" fmla="*/ 2147483646 w 71"/>
                <a:gd name="T73" fmla="*/ 2147483646 h 114"/>
                <a:gd name="T74" fmla="*/ 2147483646 w 71"/>
                <a:gd name="T75" fmla="*/ 2147483646 h 114"/>
                <a:gd name="T76" fmla="*/ 2147483646 w 71"/>
                <a:gd name="T77" fmla="*/ 2147483646 h 114"/>
                <a:gd name="T78" fmla="*/ 2147483646 w 71"/>
                <a:gd name="T79" fmla="*/ 2147483646 h 11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1" h="114">
                  <a:moveTo>
                    <a:pt x="71" y="65"/>
                  </a:moveTo>
                  <a:cubicBezTo>
                    <a:pt x="70" y="61"/>
                    <a:pt x="70" y="62"/>
                    <a:pt x="68" y="52"/>
                  </a:cubicBezTo>
                  <a:cubicBezTo>
                    <a:pt x="66" y="42"/>
                    <a:pt x="61" y="35"/>
                    <a:pt x="56" y="30"/>
                  </a:cubicBezTo>
                  <a:cubicBezTo>
                    <a:pt x="51" y="25"/>
                    <a:pt x="48" y="24"/>
                    <a:pt x="43" y="21"/>
                  </a:cubicBezTo>
                  <a:cubicBezTo>
                    <a:pt x="42" y="20"/>
                    <a:pt x="42" y="17"/>
                    <a:pt x="44" y="15"/>
                  </a:cubicBezTo>
                  <a:cubicBezTo>
                    <a:pt x="45" y="13"/>
                    <a:pt x="45" y="11"/>
                    <a:pt x="45" y="9"/>
                  </a:cubicBezTo>
                  <a:cubicBezTo>
                    <a:pt x="45" y="4"/>
                    <a:pt x="41" y="0"/>
                    <a:pt x="35" y="0"/>
                  </a:cubicBezTo>
                  <a:cubicBezTo>
                    <a:pt x="30" y="0"/>
                    <a:pt x="26" y="4"/>
                    <a:pt x="26" y="9"/>
                  </a:cubicBezTo>
                  <a:cubicBezTo>
                    <a:pt x="26" y="11"/>
                    <a:pt x="26" y="13"/>
                    <a:pt x="27" y="15"/>
                  </a:cubicBezTo>
                  <a:cubicBezTo>
                    <a:pt x="29" y="17"/>
                    <a:pt x="29" y="20"/>
                    <a:pt x="28" y="21"/>
                  </a:cubicBezTo>
                  <a:cubicBezTo>
                    <a:pt x="23" y="24"/>
                    <a:pt x="20" y="25"/>
                    <a:pt x="15" y="30"/>
                  </a:cubicBezTo>
                  <a:cubicBezTo>
                    <a:pt x="10" y="35"/>
                    <a:pt x="5" y="42"/>
                    <a:pt x="3" y="52"/>
                  </a:cubicBezTo>
                  <a:cubicBezTo>
                    <a:pt x="1" y="62"/>
                    <a:pt x="1" y="61"/>
                    <a:pt x="0" y="65"/>
                  </a:cubicBezTo>
                  <a:cubicBezTo>
                    <a:pt x="0" y="66"/>
                    <a:pt x="0" y="66"/>
                    <a:pt x="0" y="67"/>
                  </a:cubicBezTo>
                  <a:cubicBezTo>
                    <a:pt x="0" y="70"/>
                    <a:pt x="2" y="73"/>
                    <a:pt x="6" y="73"/>
                  </a:cubicBezTo>
                  <a:cubicBezTo>
                    <a:pt x="9" y="73"/>
                    <a:pt x="12" y="70"/>
                    <a:pt x="12" y="67"/>
                  </a:cubicBezTo>
                  <a:cubicBezTo>
                    <a:pt x="12" y="67"/>
                    <a:pt x="12" y="66"/>
                    <a:pt x="11" y="66"/>
                  </a:cubicBezTo>
                  <a:cubicBezTo>
                    <a:pt x="11" y="59"/>
                    <a:pt x="12" y="52"/>
                    <a:pt x="14" y="46"/>
                  </a:cubicBezTo>
                  <a:cubicBezTo>
                    <a:pt x="15" y="42"/>
                    <a:pt x="20" y="37"/>
                    <a:pt x="22" y="44"/>
                  </a:cubicBezTo>
                  <a:cubicBezTo>
                    <a:pt x="20" y="45"/>
                    <a:pt x="16" y="49"/>
                    <a:pt x="16" y="58"/>
                  </a:cubicBezTo>
                  <a:cubicBezTo>
                    <a:pt x="16" y="66"/>
                    <a:pt x="16" y="99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11"/>
                    <a:pt x="18" y="114"/>
                    <a:pt x="21" y="114"/>
                  </a:cubicBezTo>
                  <a:cubicBezTo>
                    <a:pt x="25" y="114"/>
                    <a:pt x="28" y="111"/>
                    <a:pt x="28" y="107"/>
                  </a:cubicBezTo>
                  <a:cubicBezTo>
                    <a:pt x="28" y="107"/>
                    <a:pt x="28" y="106"/>
                    <a:pt x="28" y="105"/>
                  </a:cubicBezTo>
                  <a:cubicBezTo>
                    <a:pt x="27" y="98"/>
                    <a:pt x="28" y="87"/>
                    <a:pt x="28" y="80"/>
                  </a:cubicBezTo>
                  <a:cubicBezTo>
                    <a:pt x="28" y="75"/>
                    <a:pt x="43" y="75"/>
                    <a:pt x="43" y="80"/>
                  </a:cubicBezTo>
                  <a:cubicBezTo>
                    <a:pt x="43" y="87"/>
                    <a:pt x="44" y="98"/>
                    <a:pt x="43" y="105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11"/>
                    <a:pt x="46" y="114"/>
                    <a:pt x="50" y="114"/>
                  </a:cubicBezTo>
                  <a:cubicBezTo>
                    <a:pt x="53" y="114"/>
                    <a:pt x="56" y="111"/>
                    <a:pt x="56" y="107"/>
                  </a:cubicBezTo>
                  <a:cubicBezTo>
                    <a:pt x="56" y="107"/>
                    <a:pt x="56" y="106"/>
                    <a:pt x="56" y="106"/>
                  </a:cubicBezTo>
                  <a:cubicBezTo>
                    <a:pt x="54" y="99"/>
                    <a:pt x="55" y="66"/>
                    <a:pt x="55" y="58"/>
                  </a:cubicBezTo>
                  <a:cubicBezTo>
                    <a:pt x="55" y="49"/>
                    <a:pt x="51" y="45"/>
                    <a:pt x="49" y="44"/>
                  </a:cubicBezTo>
                  <a:cubicBezTo>
                    <a:pt x="51" y="37"/>
                    <a:pt x="56" y="42"/>
                    <a:pt x="57" y="46"/>
                  </a:cubicBezTo>
                  <a:cubicBezTo>
                    <a:pt x="59" y="52"/>
                    <a:pt x="60" y="59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70"/>
                    <a:pt x="62" y="73"/>
                    <a:pt x="65" y="73"/>
                  </a:cubicBezTo>
                  <a:cubicBezTo>
                    <a:pt x="69" y="73"/>
                    <a:pt x="71" y="70"/>
                    <a:pt x="71" y="67"/>
                  </a:cubicBezTo>
                  <a:cubicBezTo>
                    <a:pt x="71" y="66"/>
                    <a:pt x="71" y="66"/>
                    <a:pt x="71" y="65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85" name="Freeform 84"/>
            <p:cNvSpPr/>
            <p:nvPr/>
          </p:nvSpPr>
          <p:spPr bwMode="auto">
            <a:xfrm>
              <a:off x="5534267" y="4197724"/>
              <a:ext cx="223275" cy="363809"/>
            </a:xfrm>
            <a:custGeom>
              <a:avLst/>
              <a:gdLst>
                <a:gd name="T0" fmla="*/ 2147483646 w 72"/>
                <a:gd name="T1" fmla="*/ 2147483646 h 117"/>
                <a:gd name="T2" fmla="*/ 2147483646 w 72"/>
                <a:gd name="T3" fmla="*/ 2147483646 h 117"/>
                <a:gd name="T4" fmla="*/ 2147483646 w 72"/>
                <a:gd name="T5" fmla="*/ 2147483646 h 117"/>
                <a:gd name="T6" fmla="*/ 2147483646 w 72"/>
                <a:gd name="T7" fmla="*/ 2147483646 h 117"/>
                <a:gd name="T8" fmla="*/ 2147483646 w 72"/>
                <a:gd name="T9" fmla="*/ 2147483646 h 117"/>
                <a:gd name="T10" fmla="*/ 2147483646 w 72"/>
                <a:gd name="T11" fmla="*/ 2147483646 h 117"/>
                <a:gd name="T12" fmla="*/ 2147483646 w 72"/>
                <a:gd name="T13" fmla="*/ 2147483646 h 117"/>
                <a:gd name="T14" fmla="*/ 2147483646 w 72"/>
                <a:gd name="T15" fmla="*/ 2147483646 h 117"/>
                <a:gd name="T16" fmla="*/ 2147483646 w 72"/>
                <a:gd name="T17" fmla="*/ 0 h 117"/>
                <a:gd name="T18" fmla="*/ 2147483646 w 72"/>
                <a:gd name="T19" fmla="*/ 2147483646 h 117"/>
                <a:gd name="T20" fmla="*/ 2147483646 w 72"/>
                <a:gd name="T21" fmla="*/ 2147483646 h 117"/>
                <a:gd name="T22" fmla="*/ 2147483646 w 72"/>
                <a:gd name="T23" fmla="*/ 2147483646 h 117"/>
                <a:gd name="T24" fmla="*/ 2147483646 w 72"/>
                <a:gd name="T25" fmla="*/ 2147483646 h 117"/>
                <a:gd name="T26" fmla="*/ 2147483646 w 72"/>
                <a:gd name="T27" fmla="*/ 2147483646 h 117"/>
                <a:gd name="T28" fmla="*/ 2147483646 w 72"/>
                <a:gd name="T29" fmla="*/ 2147483646 h 117"/>
                <a:gd name="T30" fmla="*/ 2147483646 w 72"/>
                <a:gd name="T31" fmla="*/ 2147483646 h 117"/>
                <a:gd name="T32" fmla="*/ 2147483646 w 72"/>
                <a:gd name="T33" fmla="*/ 2147483646 h 117"/>
                <a:gd name="T34" fmla="*/ 0 w 72"/>
                <a:gd name="T35" fmla="*/ 2147483646 h 117"/>
                <a:gd name="T36" fmla="*/ 2147483646 w 72"/>
                <a:gd name="T37" fmla="*/ 2147483646 h 117"/>
                <a:gd name="T38" fmla="*/ 2147483646 w 72"/>
                <a:gd name="T39" fmla="*/ 2147483646 h 117"/>
                <a:gd name="T40" fmla="*/ 2147483646 w 72"/>
                <a:gd name="T41" fmla="*/ 2147483646 h 117"/>
                <a:gd name="T42" fmla="*/ 2147483646 w 72"/>
                <a:gd name="T43" fmla="*/ 2147483646 h 117"/>
                <a:gd name="T44" fmla="*/ 2147483646 w 72"/>
                <a:gd name="T45" fmla="*/ 2147483646 h 117"/>
                <a:gd name="T46" fmla="*/ 2147483646 w 72"/>
                <a:gd name="T47" fmla="*/ 2147483646 h 117"/>
                <a:gd name="T48" fmla="*/ 2147483646 w 72"/>
                <a:gd name="T49" fmla="*/ 2147483646 h 117"/>
                <a:gd name="T50" fmla="*/ 2147483646 w 72"/>
                <a:gd name="T51" fmla="*/ 2147483646 h 117"/>
                <a:gd name="T52" fmla="*/ 2147483646 w 72"/>
                <a:gd name="T53" fmla="*/ 2147483646 h 117"/>
                <a:gd name="T54" fmla="*/ 2147483646 w 72"/>
                <a:gd name="T55" fmla="*/ 2147483646 h 117"/>
                <a:gd name="T56" fmla="*/ 2147483646 w 72"/>
                <a:gd name="T57" fmla="*/ 2147483646 h 117"/>
                <a:gd name="T58" fmla="*/ 2147483646 w 72"/>
                <a:gd name="T59" fmla="*/ 2147483646 h 117"/>
                <a:gd name="T60" fmla="*/ 2147483646 w 72"/>
                <a:gd name="T61" fmla="*/ 2147483646 h 117"/>
                <a:gd name="T62" fmla="*/ 2147483646 w 72"/>
                <a:gd name="T63" fmla="*/ 2147483646 h 117"/>
                <a:gd name="T64" fmla="*/ 2147483646 w 72"/>
                <a:gd name="T65" fmla="*/ 2147483646 h 117"/>
                <a:gd name="T66" fmla="*/ 2147483646 w 72"/>
                <a:gd name="T67" fmla="*/ 2147483646 h 117"/>
                <a:gd name="T68" fmla="*/ 2147483646 w 72"/>
                <a:gd name="T69" fmla="*/ 2147483646 h 117"/>
                <a:gd name="T70" fmla="*/ 2147483646 w 72"/>
                <a:gd name="T71" fmla="*/ 2147483646 h 117"/>
                <a:gd name="T72" fmla="*/ 2147483646 w 72"/>
                <a:gd name="T73" fmla="*/ 2147483646 h 117"/>
                <a:gd name="T74" fmla="*/ 2147483646 w 72"/>
                <a:gd name="T75" fmla="*/ 2147483646 h 117"/>
                <a:gd name="T76" fmla="*/ 2147483646 w 72"/>
                <a:gd name="T77" fmla="*/ 2147483646 h 117"/>
                <a:gd name="T78" fmla="*/ 2147483646 w 72"/>
                <a:gd name="T79" fmla="*/ 2147483646 h 117"/>
                <a:gd name="T80" fmla="*/ 2147483646 w 72"/>
                <a:gd name="T81" fmla="*/ 2147483646 h 117"/>
                <a:gd name="T82" fmla="*/ 2147483646 w 72"/>
                <a:gd name="T83" fmla="*/ 2147483646 h 117"/>
                <a:gd name="T84" fmla="*/ 2147483646 w 72"/>
                <a:gd name="T85" fmla="*/ 2147483646 h 117"/>
                <a:gd name="T86" fmla="*/ 2147483646 w 72"/>
                <a:gd name="T87" fmla="*/ 2147483646 h 117"/>
                <a:gd name="T88" fmla="*/ 2147483646 w 72"/>
                <a:gd name="T89" fmla="*/ 2147483646 h 11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72" h="117">
                  <a:moveTo>
                    <a:pt x="72" y="71"/>
                  </a:moveTo>
                  <a:cubicBezTo>
                    <a:pt x="71" y="67"/>
                    <a:pt x="70" y="65"/>
                    <a:pt x="69" y="55"/>
                  </a:cubicBezTo>
                  <a:cubicBezTo>
                    <a:pt x="68" y="42"/>
                    <a:pt x="64" y="34"/>
                    <a:pt x="58" y="29"/>
                  </a:cubicBezTo>
                  <a:cubicBezTo>
                    <a:pt x="54" y="26"/>
                    <a:pt x="51" y="25"/>
                    <a:pt x="47" y="23"/>
                  </a:cubicBezTo>
                  <a:cubicBezTo>
                    <a:pt x="46" y="22"/>
                    <a:pt x="46" y="22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3" y="20"/>
                    <a:pt x="43" y="17"/>
                    <a:pt x="44" y="15"/>
                  </a:cubicBezTo>
                  <a:cubicBezTo>
                    <a:pt x="45" y="13"/>
                    <a:pt x="46" y="11"/>
                    <a:pt x="46" y="9"/>
                  </a:cubicBezTo>
                  <a:cubicBezTo>
                    <a:pt x="46" y="4"/>
                    <a:pt x="41" y="0"/>
                    <a:pt x="36" y="0"/>
                  </a:cubicBezTo>
                  <a:cubicBezTo>
                    <a:pt x="31" y="0"/>
                    <a:pt x="26" y="4"/>
                    <a:pt x="26" y="9"/>
                  </a:cubicBezTo>
                  <a:cubicBezTo>
                    <a:pt x="26" y="11"/>
                    <a:pt x="27" y="13"/>
                    <a:pt x="28" y="15"/>
                  </a:cubicBezTo>
                  <a:cubicBezTo>
                    <a:pt x="30" y="17"/>
                    <a:pt x="29" y="20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2"/>
                    <a:pt x="26" y="22"/>
                    <a:pt x="25" y="23"/>
                  </a:cubicBezTo>
                  <a:cubicBezTo>
                    <a:pt x="22" y="25"/>
                    <a:pt x="19" y="26"/>
                    <a:pt x="14" y="29"/>
                  </a:cubicBezTo>
                  <a:cubicBezTo>
                    <a:pt x="9" y="34"/>
                    <a:pt x="5" y="42"/>
                    <a:pt x="4" y="55"/>
                  </a:cubicBezTo>
                  <a:cubicBezTo>
                    <a:pt x="3" y="65"/>
                    <a:pt x="2" y="67"/>
                    <a:pt x="1" y="71"/>
                  </a:cubicBezTo>
                  <a:cubicBezTo>
                    <a:pt x="0" y="71"/>
                    <a:pt x="0" y="72"/>
                    <a:pt x="0" y="73"/>
                  </a:cubicBezTo>
                  <a:cubicBezTo>
                    <a:pt x="0" y="76"/>
                    <a:pt x="3" y="79"/>
                    <a:pt x="6" y="79"/>
                  </a:cubicBezTo>
                  <a:cubicBezTo>
                    <a:pt x="10" y="79"/>
                    <a:pt x="12" y="76"/>
                    <a:pt x="12" y="73"/>
                  </a:cubicBezTo>
                  <a:cubicBezTo>
                    <a:pt x="12" y="72"/>
                    <a:pt x="12" y="72"/>
                    <a:pt x="12" y="71"/>
                  </a:cubicBezTo>
                  <a:cubicBezTo>
                    <a:pt x="11" y="65"/>
                    <a:pt x="12" y="56"/>
                    <a:pt x="14" y="49"/>
                  </a:cubicBezTo>
                  <a:cubicBezTo>
                    <a:pt x="15" y="43"/>
                    <a:pt x="18" y="41"/>
                    <a:pt x="19" y="44"/>
                  </a:cubicBezTo>
                  <a:cubicBezTo>
                    <a:pt x="18" y="49"/>
                    <a:pt x="16" y="52"/>
                    <a:pt x="16" y="58"/>
                  </a:cubicBezTo>
                  <a:cubicBezTo>
                    <a:pt x="16" y="67"/>
                    <a:pt x="17" y="102"/>
                    <a:pt x="16" y="108"/>
                  </a:cubicBezTo>
                  <a:cubicBezTo>
                    <a:pt x="16" y="109"/>
                    <a:pt x="15" y="109"/>
                    <a:pt x="15" y="110"/>
                  </a:cubicBezTo>
                  <a:cubicBezTo>
                    <a:pt x="15" y="114"/>
                    <a:pt x="18" y="117"/>
                    <a:pt x="22" y="117"/>
                  </a:cubicBezTo>
                  <a:cubicBezTo>
                    <a:pt x="26" y="117"/>
                    <a:pt x="29" y="114"/>
                    <a:pt x="29" y="110"/>
                  </a:cubicBezTo>
                  <a:cubicBezTo>
                    <a:pt x="29" y="109"/>
                    <a:pt x="29" y="109"/>
                    <a:pt x="28" y="108"/>
                  </a:cubicBezTo>
                  <a:cubicBezTo>
                    <a:pt x="28" y="101"/>
                    <a:pt x="28" y="90"/>
                    <a:pt x="29" y="83"/>
                  </a:cubicBezTo>
                  <a:cubicBezTo>
                    <a:pt x="29" y="78"/>
                    <a:pt x="30" y="64"/>
                    <a:pt x="36" y="64"/>
                  </a:cubicBezTo>
                  <a:cubicBezTo>
                    <a:pt x="43" y="64"/>
                    <a:pt x="43" y="78"/>
                    <a:pt x="44" y="83"/>
                  </a:cubicBezTo>
                  <a:cubicBezTo>
                    <a:pt x="44" y="90"/>
                    <a:pt x="44" y="101"/>
                    <a:pt x="44" y="108"/>
                  </a:cubicBezTo>
                  <a:cubicBezTo>
                    <a:pt x="44" y="109"/>
                    <a:pt x="44" y="109"/>
                    <a:pt x="44" y="110"/>
                  </a:cubicBezTo>
                  <a:cubicBezTo>
                    <a:pt x="44" y="114"/>
                    <a:pt x="47" y="117"/>
                    <a:pt x="50" y="117"/>
                  </a:cubicBezTo>
                  <a:cubicBezTo>
                    <a:pt x="54" y="117"/>
                    <a:pt x="57" y="114"/>
                    <a:pt x="57" y="110"/>
                  </a:cubicBezTo>
                  <a:cubicBezTo>
                    <a:pt x="57" y="109"/>
                    <a:pt x="57" y="109"/>
                    <a:pt x="57" y="108"/>
                  </a:cubicBezTo>
                  <a:cubicBezTo>
                    <a:pt x="55" y="102"/>
                    <a:pt x="56" y="67"/>
                    <a:pt x="56" y="58"/>
                  </a:cubicBezTo>
                  <a:cubicBezTo>
                    <a:pt x="56" y="52"/>
                    <a:pt x="54" y="49"/>
                    <a:pt x="53" y="44"/>
                  </a:cubicBezTo>
                  <a:cubicBezTo>
                    <a:pt x="54" y="41"/>
                    <a:pt x="57" y="43"/>
                    <a:pt x="59" y="49"/>
                  </a:cubicBezTo>
                  <a:cubicBezTo>
                    <a:pt x="61" y="56"/>
                    <a:pt x="61" y="65"/>
                    <a:pt x="60" y="71"/>
                  </a:cubicBezTo>
                  <a:cubicBezTo>
                    <a:pt x="60" y="72"/>
                    <a:pt x="60" y="72"/>
                    <a:pt x="60" y="73"/>
                  </a:cubicBezTo>
                  <a:cubicBezTo>
                    <a:pt x="60" y="76"/>
                    <a:pt x="63" y="79"/>
                    <a:pt x="66" y="79"/>
                  </a:cubicBezTo>
                  <a:cubicBezTo>
                    <a:pt x="69" y="79"/>
                    <a:pt x="72" y="76"/>
                    <a:pt x="72" y="73"/>
                  </a:cubicBezTo>
                  <a:cubicBezTo>
                    <a:pt x="72" y="72"/>
                    <a:pt x="72" y="71"/>
                    <a:pt x="72" y="71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24" name="TextBox 123"/>
          <p:cNvSpPr txBox="1"/>
          <p:nvPr/>
        </p:nvSpPr>
        <p:spPr>
          <a:xfrm>
            <a:off x="4721225" y="901700"/>
            <a:ext cx="3865563" cy="768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di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Gothic Std B" panose="020B0800000000000000" pitchFamily="34" charset="-128"/>
                <a:ea typeface="Adobe Gothic Std B" panose="020B0800000000000000" pitchFamily="34" charset="-128"/>
              </a:rPr>
              <a:t>POWERPOINT</a:t>
            </a:r>
            <a:endParaRPr lang="zh-CN" altLang="en-US" sz="4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Gothic Std B" panose="020B0800000000000000" pitchFamily="34" charset="-128"/>
              <a:ea typeface="+mn-ea"/>
            </a:endParaRPr>
          </a:p>
        </p:txBody>
      </p:sp>
      <p:sp>
        <p:nvSpPr>
          <p:cNvPr id="118" name="TextBox 22"/>
          <p:cNvSpPr txBox="1">
            <a:spLocks noChangeArrowheads="1"/>
          </p:cNvSpPr>
          <p:nvPr/>
        </p:nvSpPr>
        <p:spPr bwMode="auto">
          <a:xfrm>
            <a:off x="4758203" y="1563615"/>
            <a:ext cx="2660353" cy="307777"/>
          </a:xfrm>
          <a:prstGeom prst="rect">
            <a:avLst/>
          </a:prstGeom>
          <a:noFill/>
          <a:ln w="3175">
            <a:noFill/>
          </a:ln>
        </p:spPr>
        <p:txBody>
          <a:bodyPr>
            <a:spAutoFit/>
            <a:scene3d>
              <a:camera prst="orthographicFront"/>
              <a:lightRig rig="threePt" dir="t"/>
            </a:scene3d>
            <a:sp3d prstMaterial="matte">
              <a:bevelB w="127000"/>
            </a:sp3d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di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kern="1500" dirty="0" smtClean="0">
                <a:ln w="9525">
                  <a:noFill/>
                </a:ln>
                <a:solidFill>
                  <a:prstClr val="white"/>
                </a:solidFill>
                <a:effectLst>
                  <a:glow>
                    <a:prstClr val="white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仿宋简" pitchFamily="49" charset="-122"/>
              </a:rPr>
              <a:t>上海锐普广告有限公司</a:t>
            </a:r>
            <a:endParaRPr lang="en-US" altLang="zh-CN" sz="1400" kern="1500" dirty="0" smtClean="0">
              <a:ln w="9525">
                <a:noFill/>
              </a:ln>
              <a:solidFill>
                <a:prstClr val="white"/>
              </a:solidFill>
              <a:effectLst>
                <a:glow>
                  <a:prstClr val="white"/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经典仿宋简" pitchFamily="49" charset="-122"/>
            </a:endParaRPr>
          </a:p>
        </p:txBody>
      </p:sp>
      <p:sp>
        <p:nvSpPr>
          <p:cNvPr id="119" name="矩形 7"/>
          <p:cNvSpPr>
            <a:spLocks noChangeArrowheads="1"/>
          </p:cNvSpPr>
          <p:nvPr/>
        </p:nvSpPr>
        <p:spPr bwMode="auto">
          <a:xfrm>
            <a:off x="4778375" y="1808163"/>
            <a:ext cx="2619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dist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8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</a:rPr>
              <a:t>SHANGHAI RAPIDESIGN ADVERTISING CO.,LTD </a:t>
            </a:r>
            <a:endParaRPr lang="en-US" altLang="zh-CN" sz="8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 bwMode="auto">
          <a:xfrm>
            <a:off x="2484438" y="1646238"/>
            <a:ext cx="1811337" cy="2495550"/>
            <a:chOff x="2483768" y="1646405"/>
            <a:chExt cx="1811300" cy="2496077"/>
          </a:xfrm>
        </p:grpSpPr>
        <p:pic>
          <p:nvPicPr>
            <p:cNvPr id="6181" name="Picture 59"/>
            <p:cNvPicPr>
              <a:picLocks noChangeAspect="1" noChangeArrowheads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5452" y="1646405"/>
              <a:ext cx="993775" cy="2496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2" name="TextBox 231"/>
            <p:cNvSpPr txBox="1"/>
            <p:nvPr/>
          </p:nvSpPr>
          <p:spPr>
            <a:xfrm>
              <a:off x="2483768" y="3616908"/>
              <a:ext cx="1811300" cy="46206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4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sp>
        <p:nvSpPr>
          <p:cNvPr id="234" name="椭圆 233"/>
          <p:cNvSpPr/>
          <p:nvPr/>
        </p:nvSpPr>
        <p:spPr>
          <a:xfrm rot="16200000" flipV="1">
            <a:off x="783431" y="469662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5" name="椭圆 234"/>
          <p:cNvSpPr/>
          <p:nvPr/>
        </p:nvSpPr>
        <p:spPr>
          <a:xfrm rot="16200000" flipV="1">
            <a:off x="783431" y="4629945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6" name="椭圆 235"/>
          <p:cNvSpPr/>
          <p:nvPr/>
        </p:nvSpPr>
        <p:spPr>
          <a:xfrm rot="16200000" flipV="1">
            <a:off x="783431" y="4561682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7" name="椭圆 236"/>
          <p:cNvSpPr/>
          <p:nvPr/>
        </p:nvSpPr>
        <p:spPr>
          <a:xfrm rot="16200000" flipV="1">
            <a:off x="782637" y="4492626"/>
            <a:ext cx="36513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grpSp>
        <p:nvGrpSpPr>
          <p:cNvPr id="3" name="组合 2"/>
          <p:cNvGrpSpPr/>
          <p:nvPr/>
        </p:nvGrpSpPr>
        <p:grpSpPr bwMode="auto">
          <a:xfrm>
            <a:off x="452438" y="2881313"/>
            <a:ext cx="1811337" cy="1260475"/>
            <a:chOff x="452748" y="2882008"/>
            <a:chExt cx="1811300" cy="1260475"/>
          </a:xfrm>
        </p:grpSpPr>
        <p:pic>
          <p:nvPicPr>
            <p:cNvPr id="6179" name="Picture 67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360" y="2882008"/>
              <a:ext cx="984250" cy="1260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TextBox 116"/>
            <p:cNvSpPr txBox="1"/>
            <p:nvPr/>
          </p:nvSpPr>
          <p:spPr>
            <a:xfrm>
              <a:off x="452748" y="3617020"/>
              <a:ext cx="1811300" cy="4619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2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grpSp>
        <p:nvGrpSpPr>
          <p:cNvPr id="6" name="组合 5"/>
          <p:cNvGrpSpPr/>
          <p:nvPr/>
        </p:nvGrpSpPr>
        <p:grpSpPr bwMode="auto">
          <a:xfrm>
            <a:off x="1450975" y="2362200"/>
            <a:ext cx="1811338" cy="1779588"/>
            <a:chOff x="1450380" y="2362895"/>
            <a:chExt cx="1811300" cy="1779588"/>
          </a:xfrm>
        </p:grpSpPr>
        <p:pic>
          <p:nvPicPr>
            <p:cNvPr id="6177" name="Picture 6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2786" y="2362895"/>
              <a:ext cx="979488" cy="1779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6" name="TextBox 115"/>
            <p:cNvSpPr txBox="1"/>
            <p:nvPr/>
          </p:nvSpPr>
          <p:spPr>
            <a:xfrm>
              <a:off x="1450380" y="3617020"/>
              <a:ext cx="1811300" cy="4619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3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pic>
        <p:nvPicPr>
          <p:cNvPr id="2116" name="Picture 68" descr="E:\2013.3.28\2014\箭头01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5" b="12386"/>
          <a:stretch>
            <a:fillRect/>
          </a:stretch>
        </p:blipFill>
        <p:spPr bwMode="auto">
          <a:xfrm>
            <a:off x="688975" y="1717675"/>
            <a:ext cx="3248025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椭圆 76"/>
          <p:cNvSpPr/>
          <p:nvPr/>
        </p:nvSpPr>
        <p:spPr>
          <a:xfrm rot="16200000" flipV="1">
            <a:off x="5154613" y="4144963"/>
            <a:ext cx="34925" cy="34925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78" name="椭圆 77"/>
          <p:cNvSpPr/>
          <p:nvPr/>
        </p:nvSpPr>
        <p:spPr>
          <a:xfrm rot="16200000" flipV="1">
            <a:off x="5091906" y="414417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79" name="椭圆 78"/>
          <p:cNvSpPr/>
          <p:nvPr/>
        </p:nvSpPr>
        <p:spPr>
          <a:xfrm rot="16200000" flipV="1">
            <a:off x="5029994" y="4144169"/>
            <a:ext cx="34925" cy="36513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80" name="椭圆 79"/>
          <p:cNvSpPr/>
          <p:nvPr/>
        </p:nvSpPr>
        <p:spPr>
          <a:xfrm rot="16200000" flipV="1">
            <a:off x="4968081" y="414417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20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" fill="hold"/>
                                        <p:tgtEl>
                                          <p:spTgt spid="20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750"/>
                                        <p:tgtEl>
                                          <p:spTgt spid="20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20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20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50"/>
                                        <p:tgtEl>
                                          <p:spTgt spid="20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20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20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3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3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3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8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0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2" grpId="0" animBg="1"/>
      <p:bldP spid="123" grpId="0" animBg="1"/>
      <p:bldP spid="124" grpId="0"/>
      <p:bldP spid="119" grpId="0"/>
      <p:bldP spid="234" grpId="0" animBg="1"/>
      <p:bldP spid="235" grpId="0" animBg="1"/>
      <p:bldP spid="236" grpId="0" animBg="1"/>
      <p:bldP spid="237" grpId="0" animBg="1"/>
      <p:bldP spid="77" grpId="0" animBg="1"/>
      <p:bldP spid="78" grpId="0" animBg="1"/>
      <p:bldP spid="79" grpId="0" animBg="1"/>
      <p:bldP spid="80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 bwMode="auto">
          <a:xfrm>
            <a:off x="1027113" y="920750"/>
            <a:ext cx="539750" cy="3263900"/>
            <a:chOff x="1026900" y="920724"/>
            <a:chExt cx="539382" cy="3264501"/>
          </a:xfrm>
        </p:grpSpPr>
        <p:sp>
          <p:nvSpPr>
            <p:cNvPr id="4" name="Rectangle 22"/>
            <p:cNvSpPr/>
            <p:nvPr/>
          </p:nvSpPr>
          <p:spPr bwMode="auto">
            <a:xfrm>
              <a:off x="1026900" y="920724"/>
              <a:ext cx="539382" cy="3264501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164918" y="1635231"/>
              <a:ext cx="401364" cy="1200371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" name="组合 2"/>
          <p:cNvGrpSpPr/>
          <p:nvPr/>
        </p:nvGrpSpPr>
        <p:grpSpPr bwMode="auto">
          <a:xfrm>
            <a:off x="1593850" y="920750"/>
            <a:ext cx="539750" cy="3263900"/>
            <a:chOff x="1594325" y="920724"/>
            <a:chExt cx="539382" cy="3264499"/>
          </a:xfrm>
        </p:grpSpPr>
        <p:sp>
          <p:nvSpPr>
            <p:cNvPr id="5" name="Rectangle 23"/>
            <p:cNvSpPr/>
            <p:nvPr/>
          </p:nvSpPr>
          <p:spPr bwMode="auto">
            <a:xfrm>
              <a:off x="1594325" y="920724"/>
              <a:ext cx="539382" cy="326449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694270" y="1635230"/>
              <a:ext cx="401363" cy="1200370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" name="组合 6"/>
          <p:cNvGrpSpPr/>
          <p:nvPr/>
        </p:nvGrpSpPr>
        <p:grpSpPr bwMode="auto">
          <a:xfrm>
            <a:off x="2162175" y="920750"/>
            <a:ext cx="539750" cy="3263900"/>
            <a:chOff x="2162441" y="920724"/>
            <a:chExt cx="539382" cy="3264499"/>
          </a:xfrm>
        </p:grpSpPr>
        <p:sp>
          <p:nvSpPr>
            <p:cNvPr id="6" name="Rectangle 24"/>
            <p:cNvSpPr/>
            <p:nvPr/>
          </p:nvSpPr>
          <p:spPr bwMode="auto">
            <a:xfrm>
              <a:off x="2162441" y="920724"/>
              <a:ext cx="539382" cy="326449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262386" y="1635230"/>
              <a:ext cx="401363" cy="1200370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 bwMode="auto">
          <a:xfrm>
            <a:off x="2928938" y="1862138"/>
            <a:ext cx="538162" cy="2354262"/>
            <a:chOff x="2928187" y="1862529"/>
            <a:chExt cx="539382" cy="2353522"/>
          </a:xfrm>
        </p:grpSpPr>
        <p:sp>
          <p:nvSpPr>
            <p:cNvPr id="9" name="Rectangle 25"/>
            <p:cNvSpPr/>
            <p:nvPr/>
          </p:nvSpPr>
          <p:spPr bwMode="auto">
            <a:xfrm>
              <a:off x="2928187" y="1862529"/>
              <a:ext cx="539382" cy="232336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998195" y="3401920"/>
              <a:ext cx="399365" cy="814131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" name="组合 11"/>
          <p:cNvGrpSpPr/>
          <p:nvPr/>
        </p:nvGrpSpPr>
        <p:grpSpPr bwMode="auto">
          <a:xfrm>
            <a:off x="3495675" y="2636838"/>
            <a:ext cx="539750" cy="1579562"/>
            <a:chOff x="3496402" y="2636762"/>
            <a:chExt cx="539382" cy="1579289"/>
          </a:xfrm>
        </p:grpSpPr>
        <p:sp>
          <p:nvSpPr>
            <p:cNvPr id="10" name="Rectangle 26"/>
            <p:cNvSpPr/>
            <p:nvPr/>
          </p:nvSpPr>
          <p:spPr bwMode="auto">
            <a:xfrm>
              <a:off x="3496402" y="2636762"/>
              <a:ext cx="539382" cy="154913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566204" y="3401805"/>
              <a:ext cx="399777" cy="814246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" name="组合 12"/>
          <p:cNvGrpSpPr/>
          <p:nvPr/>
        </p:nvGrpSpPr>
        <p:grpSpPr bwMode="auto">
          <a:xfrm>
            <a:off x="4064000" y="3402013"/>
            <a:ext cx="539750" cy="814387"/>
            <a:chOff x="4064617" y="3401938"/>
            <a:chExt cx="539382" cy="814113"/>
          </a:xfrm>
        </p:grpSpPr>
        <p:sp>
          <p:nvSpPr>
            <p:cNvPr id="11" name="Rectangle 27"/>
            <p:cNvSpPr/>
            <p:nvPr/>
          </p:nvSpPr>
          <p:spPr bwMode="auto">
            <a:xfrm>
              <a:off x="4064617" y="3413046"/>
              <a:ext cx="539382" cy="77285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134419" y="3401938"/>
              <a:ext cx="399777" cy="814113"/>
            </a:xfrm>
            <a:prstGeom prst="rect">
              <a:avLst/>
            </a:prstGeom>
            <a:noFill/>
            <a:effectLst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4" name="组合 23"/>
          <p:cNvGrpSpPr/>
          <p:nvPr/>
        </p:nvGrpSpPr>
        <p:grpSpPr bwMode="auto">
          <a:xfrm>
            <a:off x="4830763" y="2636838"/>
            <a:ext cx="539750" cy="1579562"/>
            <a:chOff x="4830366" y="2636763"/>
            <a:chExt cx="539382" cy="1579288"/>
          </a:xfrm>
        </p:grpSpPr>
        <p:sp>
          <p:nvSpPr>
            <p:cNvPr id="14" name="Rectangle 28"/>
            <p:cNvSpPr/>
            <p:nvPr/>
          </p:nvSpPr>
          <p:spPr bwMode="auto">
            <a:xfrm>
              <a:off x="4830366" y="2636763"/>
              <a:ext cx="539382" cy="1549131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900168" y="3401805"/>
              <a:ext cx="399777" cy="814246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" name="组合 24"/>
          <p:cNvGrpSpPr/>
          <p:nvPr/>
        </p:nvGrpSpPr>
        <p:grpSpPr bwMode="auto">
          <a:xfrm>
            <a:off x="5399088" y="3402013"/>
            <a:ext cx="538162" cy="814387"/>
            <a:chOff x="5398581" y="3401938"/>
            <a:chExt cx="539382" cy="814113"/>
          </a:xfrm>
        </p:grpSpPr>
        <p:sp>
          <p:nvSpPr>
            <p:cNvPr id="15" name="Rectangle 29"/>
            <p:cNvSpPr/>
            <p:nvPr/>
          </p:nvSpPr>
          <p:spPr bwMode="auto">
            <a:xfrm>
              <a:off x="5398581" y="3413046"/>
              <a:ext cx="539382" cy="77285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468589" y="3401938"/>
              <a:ext cx="399365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 bwMode="auto">
          <a:xfrm>
            <a:off x="5967413" y="3402013"/>
            <a:ext cx="538162" cy="814387"/>
            <a:chOff x="5966796" y="3401938"/>
            <a:chExt cx="539382" cy="814113"/>
          </a:xfrm>
        </p:grpSpPr>
        <p:sp>
          <p:nvSpPr>
            <p:cNvPr id="16" name="Rectangle 30"/>
            <p:cNvSpPr/>
            <p:nvPr/>
          </p:nvSpPr>
          <p:spPr bwMode="auto">
            <a:xfrm>
              <a:off x="5966796" y="3413046"/>
              <a:ext cx="539382" cy="77285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036804" y="3401938"/>
              <a:ext cx="399365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 bwMode="auto">
          <a:xfrm>
            <a:off x="6732588" y="3402013"/>
            <a:ext cx="539750" cy="814387"/>
            <a:chOff x="6732548" y="3401938"/>
            <a:chExt cx="539382" cy="814113"/>
          </a:xfrm>
        </p:grpSpPr>
        <p:sp>
          <p:nvSpPr>
            <p:cNvPr id="19" name="Rectangle 34"/>
            <p:cNvSpPr/>
            <p:nvPr/>
          </p:nvSpPr>
          <p:spPr bwMode="auto">
            <a:xfrm>
              <a:off x="6732548" y="3413046"/>
              <a:ext cx="539382" cy="77285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802350" y="3401938"/>
              <a:ext cx="399777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8" name="组合 27"/>
          <p:cNvGrpSpPr/>
          <p:nvPr/>
        </p:nvGrpSpPr>
        <p:grpSpPr bwMode="auto">
          <a:xfrm>
            <a:off x="7300913" y="3402013"/>
            <a:ext cx="539750" cy="814387"/>
            <a:chOff x="7300763" y="3401938"/>
            <a:chExt cx="539382" cy="814113"/>
          </a:xfrm>
        </p:grpSpPr>
        <p:sp>
          <p:nvSpPr>
            <p:cNvPr id="20" name="Rectangle 35"/>
            <p:cNvSpPr/>
            <p:nvPr/>
          </p:nvSpPr>
          <p:spPr bwMode="auto">
            <a:xfrm>
              <a:off x="7300763" y="3413046"/>
              <a:ext cx="539382" cy="77285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370565" y="3401938"/>
              <a:ext cx="399777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 bwMode="auto">
          <a:xfrm>
            <a:off x="7869238" y="3402013"/>
            <a:ext cx="539750" cy="814387"/>
            <a:chOff x="7868978" y="3401938"/>
            <a:chExt cx="539382" cy="814113"/>
          </a:xfrm>
        </p:grpSpPr>
        <p:sp>
          <p:nvSpPr>
            <p:cNvPr id="21" name="Rectangle 36"/>
            <p:cNvSpPr/>
            <p:nvPr/>
          </p:nvSpPr>
          <p:spPr bwMode="auto">
            <a:xfrm>
              <a:off x="7868978" y="3413046"/>
              <a:ext cx="539382" cy="77285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938780" y="3401938"/>
              <a:ext cx="399777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22" name="组合 2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58" name="矩形 57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9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7490" name="组合 16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63" name="矩形 62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492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93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4" name="组合 53"/>
          <p:cNvGrpSpPr/>
          <p:nvPr/>
        </p:nvGrpSpPr>
        <p:grpSpPr bwMode="auto">
          <a:xfrm>
            <a:off x="4787900" y="771525"/>
            <a:ext cx="3960813" cy="1385888"/>
            <a:chOff x="4788024" y="771549"/>
            <a:chExt cx="3960440" cy="1386262"/>
          </a:xfrm>
        </p:grpSpPr>
        <p:sp>
          <p:nvSpPr>
            <p:cNvPr id="18" name="矩形 17"/>
            <p:cNvSpPr/>
            <p:nvPr/>
          </p:nvSpPr>
          <p:spPr>
            <a:xfrm>
              <a:off x="4788024" y="771549"/>
              <a:ext cx="3960440" cy="1386262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7486" name="矩形 22"/>
            <p:cNvSpPr>
              <a:spLocks noChangeArrowheads="1"/>
            </p:cNvSpPr>
            <p:nvPr/>
          </p:nvSpPr>
          <p:spPr bwMode="auto">
            <a:xfrm>
              <a:off x="4885712" y="987574"/>
              <a:ext cx="3790744" cy="1015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，让您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487" name="Freeform 51"/>
            <p:cNvSpPr>
              <a:spLocks noEditPoints="1"/>
            </p:cNvSpPr>
            <p:nvPr/>
          </p:nvSpPr>
          <p:spPr bwMode="auto">
            <a:xfrm rot="10800000" flipH="1" flipV="1">
              <a:off x="4977079" y="830729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3" name="组合 52"/>
          <p:cNvGrpSpPr/>
          <p:nvPr/>
        </p:nvGrpSpPr>
        <p:grpSpPr bwMode="auto">
          <a:xfrm>
            <a:off x="6726238" y="4300538"/>
            <a:ext cx="1674812" cy="368300"/>
            <a:chOff x="6726436" y="4299942"/>
            <a:chExt cx="1674923" cy="369034"/>
          </a:xfrm>
        </p:grpSpPr>
        <p:sp>
          <p:nvSpPr>
            <p:cNvPr id="32" name="矩形 31"/>
            <p:cNvSpPr/>
            <p:nvPr/>
          </p:nvSpPr>
          <p:spPr>
            <a:xfrm>
              <a:off x="6726436" y="4299942"/>
              <a:ext cx="1674923" cy="359490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837568" y="4330164"/>
              <a:ext cx="1465359" cy="338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defRPr sz="16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文字</a:t>
              </a: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17477" name="Freeform 51"/>
            <p:cNvSpPr>
              <a:spLocks noEditPoints="1"/>
            </p:cNvSpPr>
            <p:nvPr/>
          </p:nvSpPr>
          <p:spPr bwMode="auto">
            <a:xfrm rot="10800000" flipH="1" flipV="1">
              <a:off x="8059812" y="442963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7478" name="组合 138"/>
            <p:cNvGrpSpPr/>
            <p:nvPr/>
          </p:nvGrpSpPr>
          <p:grpSpPr bwMode="auto">
            <a:xfrm>
              <a:off x="6802184" y="4341761"/>
              <a:ext cx="287741" cy="287741"/>
              <a:chOff x="8951913" y="-4413250"/>
              <a:chExt cx="2576513" cy="2576512"/>
            </a:xfrm>
          </p:grpSpPr>
          <p:sp>
            <p:nvSpPr>
              <p:cNvPr id="140" name="Freeform 8"/>
              <p:cNvSpPr/>
              <p:nvPr/>
            </p:nvSpPr>
            <p:spPr bwMode="auto">
              <a:xfrm>
                <a:off x="8956005" y="-4417386"/>
                <a:ext cx="2573065" cy="2578019"/>
              </a:xfrm>
              <a:custGeom>
                <a:avLst/>
                <a:gdLst>
                  <a:gd name="T0" fmla="*/ 0 w 687"/>
                  <a:gd name="T1" fmla="*/ 625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480" name="Freeform 9"/>
              <p:cNvSpPr/>
              <p:nvPr/>
            </p:nvSpPr>
            <p:spPr bwMode="auto">
              <a:xfrm>
                <a:off x="9532938" y="-3962400"/>
                <a:ext cx="1995488" cy="2125662"/>
              </a:xfrm>
              <a:custGeom>
                <a:avLst/>
                <a:gdLst>
                  <a:gd name="T0" fmla="*/ 2147483646 w 532"/>
                  <a:gd name="T1" fmla="*/ 2147483646 h 567"/>
                  <a:gd name="T2" fmla="*/ 2147483646 w 532"/>
                  <a:gd name="T3" fmla="*/ 2147483646 h 567"/>
                  <a:gd name="T4" fmla="*/ 2147483646 w 532"/>
                  <a:gd name="T5" fmla="*/ 0 h 567"/>
                  <a:gd name="T6" fmla="*/ 2147483646 w 532"/>
                  <a:gd name="T7" fmla="*/ 2147483646 h 567"/>
                  <a:gd name="T8" fmla="*/ 2147483646 w 532"/>
                  <a:gd name="T9" fmla="*/ 2147483646 h 567"/>
                  <a:gd name="T10" fmla="*/ 2147483646 w 532"/>
                  <a:gd name="T11" fmla="*/ 2147483646 h 567"/>
                  <a:gd name="T12" fmla="*/ 2147483646 w 532"/>
                  <a:gd name="T13" fmla="*/ 2147483646 h 567"/>
                  <a:gd name="T14" fmla="*/ 2147483646 w 532"/>
                  <a:gd name="T15" fmla="*/ 2147483646 h 567"/>
                  <a:gd name="T16" fmla="*/ 2147483646 w 532"/>
                  <a:gd name="T17" fmla="*/ 2147483646 h 567"/>
                  <a:gd name="T18" fmla="*/ 2147483646 w 532"/>
                  <a:gd name="T19" fmla="*/ 2147483646 h 567"/>
                  <a:gd name="T20" fmla="*/ 2147483646 w 532"/>
                  <a:gd name="T21" fmla="*/ 2147483646 h 567"/>
                  <a:gd name="T22" fmla="*/ 2147483646 w 532"/>
                  <a:gd name="T23" fmla="*/ 2147483646 h 567"/>
                  <a:gd name="T24" fmla="*/ 2147483646 w 532"/>
                  <a:gd name="T25" fmla="*/ 2147483646 h 567"/>
                  <a:gd name="T26" fmla="*/ 2147483646 w 532"/>
                  <a:gd name="T27" fmla="*/ 2147483646 h 56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32" h="567">
                    <a:moveTo>
                      <a:pt x="282" y="12"/>
                    </a:moveTo>
                    <a:cubicBezTo>
                      <a:pt x="265" y="41"/>
                      <a:pt x="265" y="41"/>
                      <a:pt x="265" y="41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88" y="152"/>
                      <a:pt x="88" y="152"/>
                      <a:pt x="88" y="152"/>
                    </a:cubicBezTo>
                    <a:cubicBezTo>
                      <a:pt x="109" y="280"/>
                      <a:pt x="109" y="280"/>
                      <a:pt x="109" y="280"/>
                    </a:cubicBezTo>
                    <a:cubicBezTo>
                      <a:pt x="4" y="174"/>
                      <a:pt x="4" y="174"/>
                      <a:pt x="4" y="174"/>
                    </a:cubicBezTo>
                    <a:cubicBezTo>
                      <a:pt x="4" y="174"/>
                      <a:pt x="0" y="353"/>
                      <a:pt x="85" y="399"/>
                    </a:cubicBezTo>
                    <a:cubicBezTo>
                      <a:pt x="170" y="445"/>
                      <a:pt x="99" y="505"/>
                      <a:pt x="99" y="505"/>
                    </a:cubicBezTo>
                    <a:cubicBezTo>
                      <a:pt x="161" y="567"/>
                      <a:pt x="161" y="567"/>
                      <a:pt x="161" y="567"/>
                    </a:cubicBezTo>
                    <a:cubicBezTo>
                      <a:pt x="470" y="567"/>
                      <a:pt x="470" y="567"/>
                      <a:pt x="470" y="567"/>
                    </a:cubicBezTo>
                    <a:cubicBezTo>
                      <a:pt x="504" y="567"/>
                      <a:pt x="532" y="539"/>
                      <a:pt x="532" y="505"/>
                    </a:cubicBezTo>
                    <a:cubicBezTo>
                      <a:pt x="532" y="263"/>
                      <a:pt x="532" y="263"/>
                      <a:pt x="532" y="263"/>
                    </a:cubicBezTo>
                    <a:lnTo>
                      <a:pt x="282" y="12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81" name="Freeform 10"/>
              <p:cNvSpPr/>
              <p:nvPr/>
            </p:nvSpPr>
            <p:spPr bwMode="auto">
              <a:xfrm>
                <a:off x="9755188" y="-3843338"/>
                <a:ext cx="955675" cy="930275"/>
              </a:xfrm>
              <a:custGeom>
                <a:avLst/>
                <a:gdLst>
                  <a:gd name="T0" fmla="*/ 2147483646 w 255"/>
                  <a:gd name="T1" fmla="*/ 2147483646 h 248"/>
                  <a:gd name="T2" fmla="*/ 2147483646 w 255"/>
                  <a:gd name="T3" fmla="*/ 2147483646 h 248"/>
                  <a:gd name="T4" fmla="*/ 2147483646 w 255"/>
                  <a:gd name="T5" fmla="*/ 2147483646 h 248"/>
                  <a:gd name="T6" fmla="*/ 2147483646 w 255"/>
                  <a:gd name="T7" fmla="*/ 2147483646 h 248"/>
                  <a:gd name="T8" fmla="*/ 2147483646 w 255"/>
                  <a:gd name="T9" fmla="*/ 2147483646 h 248"/>
                  <a:gd name="T10" fmla="*/ 2147483646 w 255"/>
                  <a:gd name="T11" fmla="*/ 2147483646 h 248"/>
                  <a:gd name="T12" fmla="*/ 2147483646 w 255"/>
                  <a:gd name="T13" fmla="*/ 2147483646 h 248"/>
                  <a:gd name="T14" fmla="*/ 2147483646 w 255"/>
                  <a:gd name="T15" fmla="*/ 2147483646 h 248"/>
                  <a:gd name="T16" fmla="*/ 2147483646 w 255"/>
                  <a:gd name="T17" fmla="*/ 2147483646 h 248"/>
                  <a:gd name="T18" fmla="*/ 2147483646 w 255"/>
                  <a:gd name="T19" fmla="*/ 2147483646 h 248"/>
                  <a:gd name="T20" fmla="*/ 2147483646 w 255"/>
                  <a:gd name="T21" fmla="*/ 2147483646 h 248"/>
                  <a:gd name="T22" fmla="*/ 2147483646 w 255"/>
                  <a:gd name="T23" fmla="*/ 2147483646 h 248"/>
                  <a:gd name="T24" fmla="*/ 2147483646 w 255"/>
                  <a:gd name="T25" fmla="*/ 2147483646 h 248"/>
                  <a:gd name="T26" fmla="*/ 2147483646 w 255"/>
                  <a:gd name="T27" fmla="*/ 2147483646 h 248"/>
                  <a:gd name="T28" fmla="*/ 2147483646 w 255"/>
                  <a:gd name="T29" fmla="*/ 2147483646 h 248"/>
                  <a:gd name="T30" fmla="*/ 2147483646 w 255"/>
                  <a:gd name="T31" fmla="*/ 2147483646 h 248"/>
                  <a:gd name="T32" fmla="*/ 2147483646 w 255"/>
                  <a:gd name="T33" fmla="*/ 2147483646 h 2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5" h="248">
                    <a:moveTo>
                      <a:pt x="245" y="83"/>
                    </a:moveTo>
                    <a:cubicBezTo>
                      <a:pt x="139" y="4"/>
                      <a:pt x="139" y="4"/>
                      <a:pt x="139" y="4"/>
                    </a:cubicBezTo>
                    <a:cubicBezTo>
                      <a:pt x="133" y="0"/>
                      <a:pt x="122" y="0"/>
                      <a:pt x="115" y="4"/>
                    </a:cubicBezTo>
                    <a:cubicBezTo>
                      <a:pt x="10" y="83"/>
                      <a:pt x="10" y="83"/>
                      <a:pt x="10" y="83"/>
                    </a:cubicBezTo>
                    <a:cubicBezTo>
                      <a:pt x="3" y="88"/>
                      <a:pt x="0" y="98"/>
                      <a:pt x="3" y="106"/>
                    </a:cubicBezTo>
                    <a:cubicBezTo>
                      <a:pt x="43" y="233"/>
                      <a:pt x="43" y="233"/>
                      <a:pt x="43" y="233"/>
                    </a:cubicBezTo>
                    <a:cubicBezTo>
                      <a:pt x="45" y="241"/>
                      <a:pt x="54" y="248"/>
                      <a:pt x="62" y="248"/>
                    </a:cubicBezTo>
                    <a:cubicBezTo>
                      <a:pt x="95" y="248"/>
                      <a:pt x="95" y="248"/>
                      <a:pt x="95" y="2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5" y="142"/>
                      <a:pt x="98" y="136"/>
                      <a:pt x="101" y="136"/>
                    </a:cubicBezTo>
                    <a:cubicBezTo>
                      <a:pt x="153" y="136"/>
                      <a:pt x="153" y="136"/>
                      <a:pt x="153" y="136"/>
                    </a:cubicBezTo>
                    <a:cubicBezTo>
                      <a:pt x="157" y="136"/>
                      <a:pt x="159" y="142"/>
                      <a:pt x="159" y="148"/>
                    </a:cubicBezTo>
                    <a:cubicBezTo>
                      <a:pt x="159" y="248"/>
                      <a:pt x="159" y="248"/>
                      <a:pt x="159" y="248"/>
                    </a:cubicBezTo>
                    <a:cubicBezTo>
                      <a:pt x="192" y="248"/>
                      <a:pt x="192" y="248"/>
                      <a:pt x="192" y="248"/>
                    </a:cubicBezTo>
                    <a:cubicBezTo>
                      <a:pt x="201" y="248"/>
                      <a:pt x="209" y="241"/>
                      <a:pt x="212" y="233"/>
                    </a:cubicBezTo>
                    <a:cubicBezTo>
                      <a:pt x="252" y="106"/>
                      <a:pt x="252" y="106"/>
                      <a:pt x="252" y="106"/>
                    </a:cubicBezTo>
                    <a:cubicBezTo>
                      <a:pt x="255" y="98"/>
                      <a:pt x="251" y="88"/>
                      <a:pt x="245" y="8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82" name="Freeform 11"/>
              <p:cNvSpPr/>
              <p:nvPr/>
            </p:nvSpPr>
            <p:spPr bwMode="auto">
              <a:xfrm>
                <a:off x="9648825" y="-4008438"/>
                <a:ext cx="1166813" cy="457200"/>
              </a:xfrm>
              <a:custGeom>
                <a:avLst/>
                <a:gdLst>
                  <a:gd name="T0" fmla="*/ 2147483646 w 311"/>
                  <a:gd name="T1" fmla="*/ 2147483646 h 122"/>
                  <a:gd name="T2" fmla="*/ 2147483646 w 311"/>
                  <a:gd name="T3" fmla="*/ 2147483646 h 122"/>
                  <a:gd name="T4" fmla="*/ 2147483646 w 311"/>
                  <a:gd name="T5" fmla="*/ 2147483646 h 122"/>
                  <a:gd name="T6" fmla="*/ 2147483646 w 311"/>
                  <a:gd name="T7" fmla="*/ 2147483646 h 122"/>
                  <a:gd name="T8" fmla="*/ 2147483646 w 311"/>
                  <a:gd name="T9" fmla="*/ 2147483646 h 122"/>
                  <a:gd name="T10" fmla="*/ 2147483646 w 311"/>
                  <a:gd name="T11" fmla="*/ 2147483646 h 122"/>
                  <a:gd name="T12" fmla="*/ 2147483646 w 311"/>
                  <a:gd name="T13" fmla="*/ 2147483646 h 122"/>
                  <a:gd name="T14" fmla="*/ 2147483646 w 311"/>
                  <a:gd name="T15" fmla="*/ 2147483646 h 122"/>
                  <a:gd name="T16" fmla="*/ 2147483646 w 311"/>
                  <a:gd name="T17" fmla="*/ 2147483646 h 122"/>
                  <a:gd name="T18" fmla="*/ 2147483646 w 311"/>
                  <a:gd name="T19" fmla="*/ 2147483646 h 122"/>
                  <a:gd name="T20" fmla="*/ 2147483646 w 311"/>
                  <a:gd name="T21" fmla="*/ 2147483646 h 122"/>
                  <a:gd name="T22" fmla="*/ 2147483646 w 311"/>
                  <a:gd name="T23" fmla="*/ 2147483646 h 122"/>
                  <a:gd name="T24" fmla="*/ 2147483646 w 311"/>
                  <a:gd name="T25" fmla="*/ 2147483646 h 122"/>
                  <a:gd name="T26" fmla="*/ 2147483646 w 311"/>
                  <a:gd name="T27" fmla="*/ 2147483646 h 122"/>
                  <a:gd name="T28" fmla="*/ 2147483646 w 311"/>
                  <a:gd name="T29" fmla="*/ 2147483646 h 122"/>
                  <a:gd name="T30" fmla="*/ 2147483646 w 311"/>
                  <a:gd name="T31" fmla="*/ 2147483646 h 122"/>
                  <a:gd name="T32" fmla="*/ 2147483646 w 311"/>
                  <a:gd name="T33" fmla="*/ 2147483646 h 122"/>
                  <a:gd name="T34" fmla="*/ 2147483646 w 311"/>
                  <a:gd name="T35" fmla="*/ 2147483646 h 122"/>
                  <a:gd name="T36" fmla="*/ 2147483646 w 311"/>
                  <a:gd name="T37" fmla="*/ 2147483646 h 122"/>
                  <a:gd name="T38" fmla="*/ 2147483646 w 311"/>
                  <a:gd name="T39" fmla="*/ 2147483646 h 12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311" h="122">
                    <a:moveTo>
                      <a:pt x="305" y="100"/>
                    </a:moveTo>
                    <a:cubicBezTo>
                      <a:pt x="257" y="66"/>
                      <a:pt x="257" y="66"/>
                      <a:pt x="257" y="66"/>
                    </a:cubicBezTo>
                    <a:cubicBezTo>
                      <a:pt x="257" y="35"/>
                      <a:pt x="257" y="35"/>
                      <a:pt x="257" y="35"/>
                    </a:cubicBezTo>
                    <a:cubicBezTo>
                      <a:pt x="257" y="26"/>
                      <a:pt x="250" y="18"/>
                      <a:pt x="242" y="18"/>
                    </a:cubicBezTo>
                    <a:cubicBezTo>
                      <a:pt x="235" y="18"/>
                      <a:pt x="235" y="18"/>
                      <a:pt x="235" y="18"/>
                    </a:cubicBezTo>
                    <a:cubicBezTo>
                      <a:pt x="227" y="18"/>
                      <a:pt x="221" y="26"/>
                      <a:pt x="221" y="35"/>
                    </a:cubicBezTo>
                    <a:cubicBezTo>
                      <a:pt x="221" y="40"/>
                      <a:pt x="221" y="40"/>
                      <a:pt x="221" y="40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64" y="0"/>
                      <a:pt x="146" y="0"/>
                      <a:pt x="135" y="8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" y="104"/>
                      <a:pt x="0" y="111"/>
                      <a:pt x="3" y="116"/>
                    </a:cubicBezTo>
                    <a:cubicBezTo>
                      <a:pt x="6" y="121"/>
                      <a:pt x="13" y="122"/>
                      <a:pt x="18" y="118"/>
                    </a:cubicBezTo>
                    <a:cubicBezTo>
                      <a:pt x="147" y="26"/>
                      <a:pt x="147" y="26"/>
                      <a:pt x="147" y="26"/>
                    </a:cubicBezTo>
                    <a:cubicBezTo>
                      <a:pt x="151" y="23"/>
                      <a:pt x="159" y="23"/>
                      <a:pt x="164" y="26"/>
                    </a:cubicBezTo>
                    <a:cubicBezTo>
                      <a:pt x="221" y="67"/>
                      <a:pt x="221" y="67"/>
                      <a:pt x="221" y="67"/>
                    </a:cubicBezTo>
                    <a:cubicBezTo>
                      <a:pt x="221" y="67"/>
                      <a:pt x="221" y="67"/>
                      <a:pt x="221" y="67"/>
                    </a:cubicBezTo>
                    <a:cubicBezTo>
                      <a:pt x="221" y="67"/>
                      <a:pt x="221" y="67"/>
                      <a:pt x="221" y="67"/>
                    </a:cubicBezTo>
                    <a:cubicBezTo>
                      <a:pt x="293" y="118"/>
                      <a:pt x="293" y="118"/>
                      <a:pt x="293" y="118"/>
                    </a:cubicBezTo>
                    <a:cubicBezTo>
                      <a:pt x="298" y="122"/>
                      <a:pt x="304" y="121"/>
                      <a:pt x="308" y="116"/>
                    </a:cubicBezTo>
                    <a:cubicBezTo>
                      <a:pt x="311" y="111"/>
                      <a:pt x="310" y="104"/>
                      <a:pt x="305" y="10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83" name="Freeform 12"/>
              <p:cNvSpPr/>
              <p:nvPr/>
            </p:nvSpPr>
            <p:spPr bwMode="auto">
              <a:xfrm>
                <a:off x="9477375" y="-3340100"/>
                <a:ext cx="723900" cy="1277937"/>
              </a:xfrm>
              <a:custGeom>
                <a:avLst/>
                <a:gdLst>
                  <a:gd name="T0" fmla="*/ 2147483646 w 193"/>
                  <a:gd name="T1" fmla="*/ 2147483646 h 341"/>
                  <a:gd name="T2" fmla="*/ 2147483646 w 193"/>
                  <a:gd name="T3" fmla="*/ 2147483646 h 341"/>
                  <a:gd name="T4" fmla="*/ 2147483646 w 193"/>
                  <a:gd name="T5" fmla="*/ 2147483646 h 341"/>
                  <a:gd name="T6" fmla="*/ 2147483646 w 193"/>
                  <a:gd name="T7" fmla="*/ 2147483646 h 341"/>
                  <a:gd name="T8" fmla="*/ 2147483646 w 193"/>
                  <a:gd name="T9" fmla="*/ 2147483646 h 341"/>
                  <a:gd name="T10" fmla="*/ 2147483646 w 193"/>
                  <a:gd name="T11" fmla="*/ 2147483646 h 341"/>
                  <a:gd name="T12" fmla="*/ 2147483646 w 193"/>
                  <a:gd name="T13" fmla="*/ 2147483646 h 341"/>
                  <a:gd name="T14" fmla="*/ 2147483646 w 193"/>
                  <a:gd name="T15" fmla="*/ 2147483646 h 341"/>
                  <a:gd name="T16" fmla="*/ 2147483646 w 193"/>
                  <a:gd name="T17" fmla="*/ 2147483646 h 341"/>
                  <a:gd name="T18" fmla="*/ 2147483646 w 193"/>
                  <a:gd name="T19" fmla="*/ 2147483646 h 341"/>
                  <a:gd name="T20" fmla="*/ 2147483646 w 193"/>
                  <a:gd name="T21" fmla="*/ 2147483646 h 341"/>
                  <a:gd name="T22" fmla="*/ 2147483646 w 193"/>
                  <a:gd name="T23" fmla="*/ 2147483646 h 341"/>
                  <a:gd name="T24" fmla="*/ 2147483646 w 193"/>
                  <a:gd name="T25" fmla="*/ 2147483646 h 3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3" h="341">
                    <a:moveTo>
                      <a:pt x="191" y="208"/>
                    </a:moveTo>
                    <a:cubicBezTo>
                      <a:pt x="188" y="194"/>
                      <a:pt x="124" y="146"/>
                      <a:pt x="114" y="138"/>
                    </a:cubicBezTo>
                    <a:cubicBezTo>
                      <a:pt x="103" y="130"/>
                      <a:pt x="79" y="106"/>
                      <a:pt x="61" y="113"/>
                    </a:cubicBezTo>
                    <a:cubicBezTo>
                      <a:pt x="43" y="120"/>
                      <a:pt x="120" y="179"/>
                      <a:pt x="115" y="193"/>
                    </a:cubicBezTo>
                    <a:cubicBezTo>
                      <a:pt x="110" y="206"/>
                      <a:pt x="71" y="162"/>
                      <a:pt x="59" y="147"/>
                    </a:cubicBezTo>
                    <a:cubicBezTo>
                      <a:pt x="47" y="133"/>
                      <a:pt x="43" y="94"/>
                      <a:pt x="37" y="71"/>
                    </a:cubicBezTo>
                    <a:cubicBezTo>
                      <a:pt x="31" y="48"/>
                      <a:pt x="26" y="3"/>
                      <a:pt x="13" y="2"/>
                    </a:cubicBezTo>
                    <a:cubicBezTo>
                      <a:pt x="0" y="0"/>
                      <a:pt x="3" y="30"/>
                      <a:pt x="6" y="67"/>
                    </a:cubicBezTo>
                    <a:cubicBezTo>
                      <a:pt x="10" y="105"/>
                      <a:pt x="11" y="124"/>
                      <a:pt x="19" y="169"/>
                    </a:cubicBezTo>
                    <a:cubicBezTo>
                      <a:pt x="27" y="213"/>
                      <a:pt x="96" y="237"/>
                      <a:pt x="112" y="272"/>
                    </a:cubicBezTo>
                    <a:cubicBezTo>
                      <a:pt x="123" y="298"/>
                      <a:pt x="116" y="326"/>
                      <a:pt x="110" y="341"/>
                    </a:cubicBezTo>
                    <a:cubicBezTo>
                      <a:pt x="191" y="341"/>
                      <a:pt x="191" y="341"/>
                      <a:pt x="191" y="341"/>
                    </a:cubicBezTo>
                    <a:cubicBezTo>
                      <a:pt x="191" y="341"/>
                      <a:pt x="193" y="222"/>
                      <a:pt x="191" y="20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84" name="Freeform 13"/>
              <p:cNvSpPr/>
              <p:nvPr/>
            </p:nvSpPr>
            <p:spPr bwMode="auto">
              <a:xfrm>
                <a:off x="10279063" y="-3340100"/>
                <a:ext cx="728663" cy="1277937"/>
              </a:xfrm>
              <a:custGeom>
                <a:avLst/>
                <a:gdLst>
                  <a:gd name="T0" fmla="*/ 2147483646 w 194"/>
                  <a:gd name="T1" fmla="*/ 2147483646 h 341"/>
                  <a:gd name="T2" fmla="*/ 2147483646 w 194"/>
                  <a:gd name="T3" fmla="*/ 2147483646 h 341"/>
                  <a:gd name="T4" fmla="*/ 2147483646 w 194"/>
                  <a:gd name="T5" fmla="*/ 2147483646 h 341"/>
                  <a:gd name="T6" fmla="*/ 2147483646 w 194"/>
                  <a:gd name="T7" fmla="*/ 2147483646 h 341"/>
                  <a:gd name="T8" fmla="*/ 2147483646 w 194"/>
                  <a:gd name="T9" fmla="*/ 2147483646 h 341"/>
                  <a:gd name="T10" fmla="*/ 2147483646 w 194"/>
                  <a:gd name="T11" fmla="*/ 2147483646 h 341"/>
                  <a:gd name="T12" fmla="*/ 2147483646 w 194"/>
                  <a:gd name="T13" fmla="*/ 2147483646 h 341"/>
                  <a:gd name="T14" fmla="*/ 2147483646 w 194"/>
                  <a:gd name="T15" fmla="*/ 2147483646 h 341"/>
                  <a:gd name="T16" fmla="*/ 2147483646 w 194"/>
                  <a:gd name="T17" fmla="*/ 2147483646 h 341"/>
                  <a:gd name="T18" fmla="*/ 2147483646 w 194"/>
                  <a:gd name="T19" fmla="*/ 2147483646 h 341"/>
                  <a:gd name="T20" fmla="*/ 2147483646 w 194"/>
                  <a:gd name="T21" fmla="*/ 2147483646 h 341"/>
                  <a:gd name="T22" fmla="*/ 2147483646 w 194"/>
                  <a:gd name="T23" fmla="*/ 2147483646 h 341"/>
                  <a:gd name="T24" fmla="*/ 2147483646 w 194"/>
                  <a:gd name="T25" fmla="*/ 2147483646 h 3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4" h="341">
                    <a:moveTo>
                      <a:pt x="2" y="341"/>
                    </a:moveTo>
                    <a:cubicBezTo>
                      <a:pt x="83" y="341"/>
                      <a:pt x="83" y="341"/>
                      <a:pt x="83" y="341"/>
                    </a:cubicBezTo>
                    <a:cubicBezTo>
                      <a:pt x="78" y="326"/>
                      <a:pt x="70" y="298"/>
                      <a:pt x="81" y="272"/>
                    </a:cubicBezTo>
                    <a:cubicBezTo>
                      <a:pt x="97" y="237"/>
                      <a:pt x="166" y="213"/>
                      <a:pt x="174" y="169"/>
                    </a:cubicBezTo>
                    <a:cubicBezTo>
                      <a:pt x="182" y="124"/>
                      <a:pt x="184" y="105"/>
                      <a:pt x="187" y="67"/>
                    </a:cubicBezTo>
                    <a:cubicBezTo>
                      <a:pt x="191" y="30"/>
                      <a:pt x="194" y="0"/>
                      <a:pt x="180" y="2"/>
                    </a:cubicBezTo>
                    <a:cubicBezTo>
                      <a:pt x="167" y="3"/>
                      <a:pt x="162" y="48"/>
                      <a:pt x="156" y="71"/>
                    </a:cubicBezTo>
                    <a:cubicBezTo>
                      <a:pt x="150" y="94"/>
                      <a:pt x="147" y="133"/>
                      <a:pt x="135" y="147"/>
                    </a:cubicBezTo>
                    <a:cubicBezTo>
                      <a:pt x="123" y="162"/>
                      <a:pt x="84" y="206"/>
                      <a:pt x="78" y="193"/>
                    </a:cubicBezTo>
                    <a:cubicBezTo>
                      <a:pt x="73" y="179"/>
                      <a:pt x="150" y="120"/>
                      <a:pt x="132" y="113"/>
                    </a:cubicBezTo>
                    <a:cubicBezTo>
                      <a:pt x="114" y="106"/>
                      <a:pt x="90" y="130"/>
                      <a:pt x="80" y="138"/>
                    </a:cubicBezTo>
                    <a:cubicBezTo>
                      <a:pt x="69" y="146"/>
                      <a:pt x="5" y="194"/>
                      <a:pt x="2" y="208"/>
                    </a:cubicBezTo>
                    <a:cubicBezTo>
                      <a:pt x="0" y="222"/>
                      <a:pt x="2" y="341"/>
                      <a:pt x="2" y="3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1" name="组合 50"/>
          <p:cNvGrpSpPr/>
          <p:nvPr/>
        </p:nvGrpSpPr>
        <p:grpSpPr bwMode="auto">
          <a:xfrm>
            <a:off x="2928938" y="4300538"/>
            <a:ext cx="1674812" cy="368300"/>
            <a:chOff x="2928187" y="4299942"/>
            <a:chExt cx="1674923" cy="369034"/>
          </a:xfrm>
        </p:grpSpPr>
        <p:sp>
          <p:nvSpPr>
            <p:cNvPr id="30" name="矩形 29"/>
            <p:cNvSpPr/>
            <p:nvPr/>
          </p:nvSpPr>
          <p:spPr>
            <a:xfrm>
              <a:off x="2928187" y="4299942"/>
              <a:ext cx="1674923" cy="359490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045670" y="4330164"/>
              <a:ext cx="1465359" cy="338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defRPr sz="16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文字</a:t>
              </a: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17469" name="Freeform 51"/>
            <p:cNvSpPr>
              <a:spLocks noEditPoints="1"/>
            </p:cNvSpPr>
            <p:nvPr/>
          </p:nvSpPr>
          <p:spPr bwMode="auto">
            <a:xfrm rot="10800000" flipH="1" flipV="1">
              <a:off x="4268151" y="442963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7470" name="组合 146"/>
            <p:cNvGrpSpPr/>
            <p:nvPr/>
          </p:nvGrpSpPr>
          <p:grpSpPr bwMode="auto">
            <a:xfrm>
              <a:off x="2997823" y="4341761"/>
              <a:ext cx="287741" cy="287741"/>
              <a:chOff x="5414963" y="-4413250"/>
              <a:chExt cx="2576513" cy="2576512"/>
            </a:xfrm>
          </p:grpSpPr>
          <p:sp>
            <p:nvSpPr>
              <p:cNvPr id="148" name="Freeform 17"/>
              <p:cNvSpPr/>
              <p:nvPr/>
            </p:nvSpPr>
            <p:spPr bwMode="auto">
              <a:xfrm>
                <a:off x="5416924" y="-4417386"/>
                <a:ext cx="2573065" cy="2578019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5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5 w 687"/>
                  <a:gd name="T11" fmla="*/ 0 h 687"/>
                  <a:gd name="T12" fmla="*/ 62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472" name="Freeform 18"/>
              <p:cNvSpPr/>
              <p:nvPr/>
            </p:nvSpPr>
            <p:spPr bwMode="auto">
              <a:xfrm>
                <a:off x="5632450" y="-3711575"/>
                <a:ext cx="2359025" cy="1874837"/>
              </a:xfrm>
              <a:custGeom>
                <a:avLst/>
                <a:gdLst>
                  <a:gd name="T0" fmla="*/ 2147483646 w 629"/>
                  <a:gd name="T1" fmla="*/ 2147483646 h 500"/>
                  <a:gd name="T2" fmla="*/ 2147483646 w 629"/>
                  <a:gd name="T3" fmla="*/ 2147483646 h 500"/>
                  <a:gd name="T4" fmla="*/ 2147483646 w 629"/>
                  <a:gd name="T5" fmla="*/ 0 h 500"/>
                  <a:gd name="T6" fmla="*/ 2147483646 w 629"/>
                  <a:gd name="T7" fmla="*/ 2147483646 h 500"/>
                  <a:gd name="T8" fmla="*/ 2147483646 w 629"/>
                  <a:gd name="T9" fmla="*/ 2147483646 h 500"/>
                  <a:gd name="T10" fmla="*/ 2147483646 w 629"/>
                  <a:gd name="T11" fmla="*/ 2147483646 h 500"/>
                  <a:gd name="T12" fmla="*/ 2147483646 w 629"/>
                  <a:gd name="T13" fmla="*/ 2147483646 h 500"/>
                  <a:gd name="T14" fmla="*/ 2147483646 w 629"/>
                  <a:gd name="T15" fmla="*/ 2147483646 h 500"/>
                  <a:gd name="T16" fmla="*/ 2147483646 w 629"/>
                  <a:gd name="T17" fmla="*/ 2147483646 h 500"/>
                  <a:gd name="T18" fmla="*/ 2147483646 w 629"/>
                  <a:gd name="T19" fmla="*/ 2147483646 h 500"/>
                  <a:gd name="T20" fmla="*/ 2147483646 w 629"/>
                  <a:gd name="T21" fmla="*/ 2147483646 h 500"/>
                  <a:gd name="T22" fmla="*/ 2147483646 w 629"/>
                  <a:gd name="T23" fmla="*/ 2147483646 h 500"/>
                  <a:gd name="T24" fmla="*/ 2147483646 w 629"/>
                  <a:gd name="T25" fmla="*/ 2147483646 h 500"/>
                  <a:gd name="T26" fmla="*/ 2147483646 w 629"/>
                  <a:gd name="T27" fmla="*/ 2147483646 h 500"/>
                  <a:gd name="T28" fmla="*/ 0 w 629"/>
                  <a:gd name="T29" fmla="*/ 2147483646 h 500"/>
                  <a:gd name="T30" fmla="*/ 2147483646 w 629"/>
                  <a:gd name="T31" fmla="*/ 2147483646 h 500"/>
                  <a:gd name="T32" fmla="*/ 2147483646 w 629"/>
                  <a:gd name="T33" fmla="*/ 2147483646 h 500"/>
                  <a:gd name="T34" fmla="*/ 2147483646 w 629"/>
                  <a:gd name="T35" fmla="*/ 2147483646 h 500"/>
                  <a:gd name="T36" fmla="*/ 2147483646 w 629"/>
                  <a:gd name="T37" fmla="*/ 2147483646 h 500"/>
                  <a:gd name="T38" fmla="*/ 2147483646 w 629"/>
                  <a:gd name="T39" fmla="*/ 2147483646 h 50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629" h="500">
                    <a:moveTo>
                      <a:pt x="500" y="2"/>
                    </a:moveTo>
                    <a:cubicBezTo>
                      <a:pt x="473" y="29"/>
                      <a:pt x="473" y="29"/>
                      <a:pt x="473" y="29"/>
                    </a:cubicBezTo>
                    <a:cubicBezTo>
                      <a:pt x="443" y="0"/>
                      <a:pt x="443" y="0"/>
                      <a:pt x="443" y="0"/>
                    </a:cubicBezTo>
                    <a:cubicBezTo>
                      <a:pt x="387" y="56"/>
                      <a:pt x="387" y="56"/>
                      <a:pt x="387" y="56"/>
                    </a:cubicBezTo>
                    <a:cubicBezTo>
                      <a:pt x="405" y="74"/>
                      <a:pt x="405" y="74"/>
                      <a:pt x="405" y="74"/>
                    </a:cubicBezTo>
                    <a:cubicBezTo>
                      <a:pt x="362" y="97"/>
                      <a:pt x="362" y="97"/>
                      <a:pt x="362" y="97"/>
                    </a:cubicBezTo>
                    <a:cubicBezTo>
                      <a:pt x="340" y="206"/>
                      <a:pt x="340" y="206"/>
                      <a:pt x="340" y="206"/>
                    </a:cubicBezTo>
                    <a:cubicBezTo>
                      <a:pt x="389" y="242"/>
                      <a:pt x="389" y="242"/>
                      <a:pt x="389" y="242"/>
                    </a:cubicBezTo>
                    <a:cubicBezTo>
                      <a:pt x="339" y="292"/>
                      <a:pt x="339" y="292"/>
                      <a:pt x="339" y="292"/>
                    </a:cubicBezTo>
                    <a:cubicBezTo>
                      <a:pt x="390" y="343"/>
                      <a:pt x="390" y="343"/>
                      <a:pt x="390" y="343"/>
                    </a:cubicBezTo>
                    <a:cubicBezTo>
                      <a:pt x="355" y="332"/>
                      <a:pt x="355" y="332"/>
                      <a:pt x="355" y="332"/>
                    </a:cubicBezTo>
                    <a:cubicBezTo>
                      <a:pt x="300" y="277"/>
                      <a:pt x="300" y="277"/>
                      <a:pt x="300" y="277"/>
                    </a:cubicBezTo>
                    <a:cubicBezTo>
                      <a:pt x="200" y="214"/>
                      <a:pt x="200" y="214"/>
                      <a:pt x="200" y="214"/>
                    </a:cubicBezTo>
                    <a:cubicBezTo>
                      <a:pt x="83" y="180"/>
                      <a:pt x="83" y="180"/>
                      <a:pt x="83" y="180"/>
                    </a:cubicBezTo>
                    <a:cubicBezTo>
                      <a:pt x="0" y="263"/>
                      <a:pt x="0" y="263"/>
                      <a:pt x="0" y="263"/>
                    </a:cubicBezTo>
                    <a:cubicBezTo>
                      <a:pt x="238" y="500"/>
                      <a:pt x="238" y="500"/>
                      <a:pt x="238" y="500"/>
                    </a:cubicBezTo>
                    <a:cubicBezTo>
                      <a:pt x="567" y="500"/>
                      <a:pt x="567" y="500"/>
                      <a:pt x="567" y="500"/>
                    </a:cubicBezTo>
                    <a:cubicBezTo>
                      <a:pt x="601" y="500"/>
                      <a:pt x="629" y="472"/>
                      <a:pt x="629" y="438"/>
                    </a:cubicBezTo>
                    <a:cubicBezTo>
                      <a:pt x="629" y="131"/>
                      <a:pt x="629" y="131"/>
                      <a:pt x="629" y="131"/>
                    </a:cubicBezTo>
                    <a:lnTo>
                      <a:pt x="500" y="2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73" name="Freeform 19"/>
              <p:cNvSpPr>
                <a:spLocks noEditPoints="1"/>
              </p:cNvSpPr>
              <p:nvPr/>
            </p:nvSpPr>
            <p:spPr bwMode="auto">
              <a:xfrm>
                <a:off x="6840538" y="-3771900"/>
                <a:ext cx="820738" cy="1211262"/>
              </a:xfrm>
              <a:custGeom>
                <a:avLst/>
                <a:gdLst>
                  <a:gd name="T0" fmla="*/ 2147483646 w 219"/>
                  <a:gd name="T1" fmla="*/ 2147483646 h 323"/>
                  <a:gd name="T2" fmla="*/ 2147483646 w 219"/>
                  <a:gd name="T3" fmla="*/ 2147483646 h 323"/>
                  <a:gd name="T4" fmla="*/ 2147483646 w 219"/>
                  <a:gd name="T5" fmla="*/ 2147483646 h 323"/>
                  <a:gd name="T6" fmla="*/ 2147483646 w 219"/>
                  <a:gd name="T7" fmla="*/ 2147483646 h 323"/>
                  <a:gd name="T8" fmla="*/ 2147483646 w 219"/>
                  <a:gd name="T9" fmla="*/ 2147483646 h 323"/>
                  <a:gd name="T10" fmla="*/ 2147483646 w 219"/>
                  <a:gd name="T11" fmla="*/ 2147483646 h 323"/>
                  <a:gd name="T12" fmla="*/ 2147483646 w 219"/>
                  <a:gd name="T13" fmla="*/ 2147483646 h 323"/>
                  <a:gd name="T14" fmla="*/ 2147483646 w 219"/>
                  <a:gd name="T15" fmla="*/ 2147483646 h 323"/>
                  <a:gd name="T16" fmla="*/ 2147483646 w 219"/>
                  <a:gd name="T17" fmla="*/ 2147483646 h 323"/>
                  <a:gd name="T18" fmla="*/ 2147483646 w 219"/>
                  <a:gd name="T19" fmla="*/ 0 h 323"/>
                  <a:gd name="T20" fmla="*/ 2147483646 w 219"/>
                  <a:gd name="T21" fmla="*/ 2147483646 h 323"/>
                  <a:gd name="T22" fmla="*/ 2147483646 w 219"/>
                  <a:gd name="T23" fmla="*/ 2147483646 h 323"/>
                  <a:gd name="T24" fmla="*/ 2147483646 w 219"/>
                  <a:gd name="T25" fmla="*/ 2147483646 h 323"/>
                  <a:gd name="T26" fmla="*/ 2147483646 w 219"/>
                  <a:gd name="T27" fmla="*/ 2147483646 h 323"/>
                  <a:gd name="T28" fmla="*/ 2147483646 w 219"/>
                  <a:gd name="T29" fmla="*/ 2147483646 h 323"/>
                  <a:gd name="T30" fmla="*/ 2147483646 w 219"/>
                  <a:gd name="T31" fmla="*/ 2147483646 h 323"/>
                  <a:gd name="T32" fmla="*/ 2147483646 w 219"/>
                  <a:gd name="T33" fmla="*/ 2147483646 h 323"/>
                  <a:gd name="T34" fmla="*/ 2147483646 w 219"/>
                  <a:gd name="T35" fmla="*/ 2147483646 h 323"/>
                  <a:gd name="T36" fmla="*/ 2147483646 w 219"/>
                  <a:gd name="T37" fmla="*/ 2147483646 h 323"/>
                  <a:gd name="T38" fmla="*/ 2147483646 w 219"/>
                  <a:gd name="T39" fmla="*/ 2147483646 h 323"/>
                  <a:gd name="T40" fmla="*/ 2147483646 w 219"/>
                  <a:gd name="T41" fmla="*/ 2147483646 h 323"/>
                  <a:gd name="T42" fmla="*/ 2147483646 w 219"/>
                  <a:gd name="T43" fmla="*/ 2147483646 h 323"/>
                  <a:gd name="T44" fmla="*/ 2147483646 w 219"/>
                  <a:gd name="T45" fmla="*/ 2147483646 h 323"/>
                  <a:gd name="T46" fmla="*/ 2147483646 w 219"/>
                  <a:gd name="T47" fmla="*/ 2147483646 h 323"/>
                  <a:gd name="T48" fmla="*/ 2147483646 w 219"/>
                  <a:gd name="T49" fmla="*/ 2147483646 h 323"/>
                  <a:gd name="T50" fmla="*/ 2147483646 w 219"/>
                  <a:gd name="T51" fmla="*/ 2147483646 h 323"/>
                  <a:gd name="T52" fmla="*/ 2147483646 w 219"/>
                  <a:gd name="T53" fmla="*/ 2147483646 h 323"/>
                  <a:gd name="T54" fmla="*/ 2147483646 w 219"/>
                  <a:gd name="T55" fmla="*/ 2147483646 h 323"/>
                  <a:gd name="T56" fmla="*/ 2147483646 w 219"/>
                  <a:gd name="T57" fmla="*/ 2147483646 h 323"/>
                  <a:gd name="T58" fmla="*/ 2147483646 w 219"/>
                  <a:gd name="T59" fmla="*/ 2147483646 h 323"/>
                  <a:gd name="T60" fmla="*/ 2147483646 w 219"/>
                  <a:gd name="T61" fmla="*/ 2147483646 h 323"/>
                  <a:gd name="T62" fmla="*/ 2147483646 w 219"/>
                  <a:gd name="T63" fmla="*/ 2147483646 h 323"/>
                  <a:gd name="T64" fmla="*/ 2147483646 w 219"/>
                  <a:gd name="T65" fmla="*/ 2147483646 h 323"/>
                  <a:gd name="T66" fmla="*/ 2147483646 w 219"/>
                  <a:gd name="T67" fmla="*/ 2147483646 h 323"/>
                  <a:gd name="T68" fmla="*/ 2147483646 w 219"/>
                  <a:gd name="T69" fmla="*/ 2147483646 h 323"/>
                  <a:gd name="T70" fmla="*/ 2147483646 w 219"/>
                  <a:gd name="T71" fmla="*/ 2147483646 h 323"/>
                  <a:gd name="T72" fmla="*/ 2147483646 w 219"/>
                  <a:gd name="T73" fmla="*/ 2147483646 h 323"/>
                  <a:gd name="T74" fmla="*/ 0 w 219"/>
                  <a:gd name="T75" fmla="*/ 2147483646 h 323"/>
                  <a:gd name="T76" fmla="*/ 0 w 219"/>
                  <a:gd name="T77" fmla="*/ 2147483646 h 323"/>
                  <a:gd name="T78" fmla="*/ 2147483646 w 219"/>
                  <a:gd name="T79" fmla="*/ 2147483646 h 323"/>
                  <a:gd name="T80" fmla="*/ 2147483646 w 219"/>
                  <a:gd name="T81" fmla="*/ 2147483646 h 323"/>
                  <a:gd name="T82" fmla="*/ 2147483646 w 219"/>
                  <a:gd name="T83" fmla="*/ 2147483646 h 323"/>
                  <a:gd name="T84" fmla="*/ 2147483646 w 219"/>
                  <a:gd name="T85" fmla="*/ 2147483646 h 323"/>
                  <a:gd name="T86" fmla="*/ 2147483646 w 219"/>
                  <a:gd name="T87" fmla="*/ 2147483646 h 32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219" h="323">
                    <a:moveTo>
                      <a:pt x="64" y="74"/>
                    </a:moveTo>
                    <a:cubicBezTo>
                      <a:pt x="64" y="74"/>
                      <a:pt x="65" y="73"/>
                      <a:pt x="65" y="73"/>
                    </a:cubicBezTo>
                    <a:cubicBezTo>
                      <a:pt x="152" y="73"/>
                      <a:pt x="152" y="73"/>
                      <a:pt x="152" y="73"/>
                    </a:cubicBezTo>
                    <a:cubicBezTo>
                      <a:pt x="153" y="73"/>
                      <a:pt x="154" y="74"/>
                      <a:pt x="155" y="74"/>
                    </a:cubicBezTo>
                    <a:cubicBezTo>
                      <a:pt x="175" y="51"/>
                      <a:pt x="175" y="51"/>
                      <a:pt x="175" y="51"/>
                    </a:cubicBezTo>
                    <a:cubicBezTo>
                      <a:pt x="178" y="48"/>
                      <a:pt x="181" y="45"/>
                      <a:pt x="182" y="38"/>
                    </a:cubicBezTo>
                    <a:cubicBezTo>
                      <a:pt x="183" y="32"/>
                      <a:pt x="182" y="32"/>
                      <a:pt x="182" y="29"/>
                    </a:cubicBezTo>
                    <a:cubicBezTo>
                      <a:pt x="182" y="14"/>
                      <a:pt x="169" y="1"/>
                      <a:pt x="153" y="1"/>
                    </a:cubicBezTo>
                    <a:cubicBezTo>
                      <a:pt x="147" y="1"/>
                      <a:pt x="141" y="3"/>
                      <a:pt x="136" y="6"/>
                    </a:cubicBezTo>
                    <a:cubicBezTo>
                      <a:pt x="131" y="2"/>
                      <a:pt x="125" y="0"/>
                      <a:pt x="119" y="0"/>
                    </a:cubicBezTo>
                    <a:cubicBezTo>
                      <a:pt x="107" y="0"/>
                      <a:pt x="97" y="7"/>
                      <a:pt x="92" y="16"/>
                    </a:cubicBezTo>
                    <a:cubicBezTo>
                      <a:pt x="87" y="8"/>
                      <a:pt x="78" y="3"/>
                      <a:pt x="67" y="3"/>
                    </a:cubicBezTo>
                    <a:cubicBezTo>
                      <a:pt x="51" y="3"/>
                      <a:pt x="38" y="15"/>
                      <a:pt x="38" y="31"/>
                    </a:cubicBezTo>
                    <a:cubicBezTo>
                      <a:pt x="38" y="32"/>
                      <a:pt x="40" y="47"/>
                      <a:pt x="44" y="51"/>
                    </a:cubicBezTo>
                    <a:lnTo>
                      <a:pt x="64" y="74"/>
                    </a:lnTo>
                    <a:close/>
                    <a:moveTo>
                      <a:pt x="218" y="188"/>
                    </a:moveTo>
                    <a:cubicBezTo>
                      <a:pt x="216" y="143"/>
                      <a:pt x="192" y="104"/>
                      <a:pt x="158" y="85"/>
                    </a:cubicBezTo>
                    <a:cubicBezTo>
                      <a:pt x="157" y="87"/>
                      <a:pt x="154" y="89"/>
                      <a:pt x="152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44" y="99"/>
                      <a:pt x="164" y="117"/>
                      <a:pt x="170" y="152"/>
                    </a:cubicBezTo>
                    <a:cubicBezTo>
                      <a:pt x="171" y="156"/>
                      <a:pt x="169" y="160"/>
                      <a:pt x="165" y="161"/>
                    </a:cubicBezTo>
                    <a:cubicBezTo>
                      <a:pt x="161" y="162"/>
                      <a:pt x="157" y="159"/>
                      <a:pt x="156" y="155"/>
                    </a:cubicBezTo>
                    <a:cubicBezTo>
                      <a:pt x="148" y="109"/>
                      <a:pt x="112" y="97"/>
                      <a:pt x="102" y="94"/>
                    </a:cubicBezTo>
                    <a:cubicBezTo>
                      <a:pt x="103" y="98"/>
                      <a:pt x="103" y="103"/>
                      <a:pt x="101" y="109"/>
                    </a:cubicBezTo>
                    <a:cubicBezTo>
                      <a:pt x="98" y="121"/>
                      <a:pt x="88" y="131"/>
                      <a:pt x="72" y="139"/>
                    </a:cubicBezTo>
                    <a:cubicBezTo>
                      <a:pt x="57" y="146"/>
                      <a:pt x="49" y="154"/>
                      <a:pt x="47" y="162"/>
                    </a:cubicBezTo>
                    <a:cubicBezTo>
                      <a:pt x="45" y="168"/>
                      <a:pt x="47" y="176"/>
                      <a:pt x="53" y="186"/>
                    </a:cubicBezTo>
                    <a:cubicBezTo>
                      <a:pt x="55" y="189"/>
                      <a:pt x="54" y="194"/>
                      <a:pt x="51" y="196"/>
                    </a:cubicBezTo>
                    <a:cubicBezTo>
                      <a:pt x="48" y="199"/>
                      <a:pt x="43" y="198"/>
                      <a:pt x="41" y="194"/>
                    </a:cubicBezTo>
                    <a:cubicBezTo>
                      <a:pt x="38" y="189"/>
                      <a:pt x="28" y="174"/>
                      <a:pt x="33" y="158"/>
                    </a:cubicBezTo>
                    <a:cubicBezTo>
                      <a:pt x="36" y="145"/>
                      <a:pt x="47" y="134"/>
                      <a:pt x="66" y="125"/>
                    </a:cubicBezTo>
                    <a:cubicBezTo>
                      <a:pt x="78" y="119"/>
                      <a:pt x="85" y="112"/>
                      <a:pt x="87" y="105"/>
                    </a:cubicBezTo>
                    <a:cubicBezTo>
                      <a:pt x="89" y="97"/>
                      <a:pt x="85" y="91"/>
                      <a:pt x="85" y="90"/>
                    </a:cubicBezTo>
                    <a:cubicBezTo>
                      <a:pt x="85" y="90"/>
                      <a:pt x="85" y="89"/>
                      <a:pt x="85" y="89"/>
                    </a:cubicBezTo>
                    <a:cubicBezTo>
                      <a:pt x="65" y="89"/>
                      <a:pt x="65" y="89"/>
                      <a:pt x="65" y="89"/>
                    </a:cubicBezTo>
                    <a:cubicBezTo>
                      <a:pt x="63" y="89"/>
                      <a:pt x="61" y="88"/>
                      <a:pt x="60" y="86"/>
                    </a:cubicBezTo>
                    <a:cubicBezTo>
                      <a:pt x="26" y="105"/>
                      <a:pt x="3" y="144"/>
                      <a:pt x="2" y="188"/>
                    </a:cubicBezTo>
                    <a:cubicBezTo>
                      <a:pt x="0" y="193"/>
                      <a:pt x="0" y="197"/>
                      <a:pt x="0" y="202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0" y="300"/>
                      <a:pt x="21" y="323"/>
                      <a:pt x="47" y="323"/>
                    </a:cubicBezTo>
                    <a:cubicBezTo>
                      <a:pt x="172" y="323"/>
                      <a:pt x="172" y="323"/>
                      <a:pt x="172" y="323"/>
                    </a:cubicBezTo>
                    <a:cubicBezTo>
                      <a:pt x="198" y="323"/>
                      <a:pt x="219" y="300"/>
                      <a:pt x="219" y="272"/>
                    </a:cubicBezTo>
                    <a:cubicBezTo>
                      <a:pt x="219" y="202"/>
                      <a:pt x="219" y="202"/>
                      <a:pt x="219" y="202"/>
                    </a:cubicBezTo>
                    <a:cubicBezTo>
                      <a:pt x="219" y="197"/>
                      <a:pt x="219" y="193"/>
                      <a:pt x="218" y="18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74" name="Freeform 20"/>
              <p:cNvSpPr/>
              <p:nvPr/>
            </p:nvSpPr>
            <p:spPr bwMode="auto">
              <a:xfrm>
                <a:off x="5626100" y="-3063875"/>
                <a:ext cx="1746250" cy="690562"/>
              </a:xfrm>
              <a:custGeom>
                <a:avLst/>
                <a:gdLst>
                  <a:gd name="T0" fmla="*/ 2147483646 w 466"/>
                  <a:gd name="T1" fmla="*/ 2147483646 h 184"/>
                  <a:gd name="T2" fmla="*/ 2147483646 w 466"/>
                  <a:gd name="T3" fmla="*/ 2147483646 h 184"/>
                  <a:gd name="T4" fmla="*/ 2147483646 w 466"/>
                  <a:gd name="T5" fmla="*/ 2147483646 h 184"/>
                  <a:gd name="T6" fmla="*/ 2147483646 w 466"/>
                  <a:gd name="T7" fmla="*/ 2147483646 h 184"/>
                  <a:gd name="T8" fmla="*/ 2147483646 w 466"/>
                  <a:gd name="T9" fmla="*/ 2147483646 h 184"/>
                  <a:gd name="T10" fmla="*/ 2147483646 w 466"/>
                  <a:gd name="T11" fmla="*/ 2147483646 h 184"/>
                  <a:gd name="T12" fmla="*/ 0 w 466"/>
                  <a:gd name="T13" fmla="*/ 2147483646 h 184"/>
                  <a:gd name="T14" fmla="*/ 2147483646 w 466"/>
                  <a:gd name="T15" fmla="*/ 2147483646 h 184"/>
                  <a:gd name="T16" fmla="*/ 2147483646 w 466"/>
                  <a:gd name="T17" fmla="*/ 2147483646 h 184"/>
                  <a:gd name="T18" fmla="*/ 2147483646 w 466"/>
                  <a:gd name="T19" fmla="*/ 2147483646 h 184"/>
                  <a:gd name="T20" fmla="*/ 2147483646 w 466"/>
                  <a:gd name="T21" fmla="*/ 2147483646 h 184"/>
                  <a:gd name="T22" fmla="*/ 2147483646 w 466"/>
                  <a:gd name="T23" fmla="*/ 2147483646 h 184"/>
                  <a:gd name="T24" fmla="*/ 2147483646 w 466"/>
                  <a:gd name="T25" fmla="*/ 2147483646 h 184"/>
                  <a:gd name="T26" fmla="*/ 2147483646 w 466"/>
                  <a:gd name="T27" fmla="*/ 2147483646 h 184"/>
                  <a:gd name="T28" fmla="*/ 2147483646 w 466"/>
                  <a:gd name="T29" fmla="*/ 2147483646 h 184"/>
                  <a:gd name="T30" fmla="*/ 2147483646 w 466"/>
                  <a:gd name="T31" fmla="*/ 2147483646 h 18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6" h="184">
                    <a:moveTo>
                      <a:pt x="448" y="179"/>
                    </a:moveTo>
                    <a:cubicBezTo>
                      <a:pt x="445" y="179"/>
                      <a:pt x="440" y="180"/>
                      <a:pt x="433" y="180"/>
                    </a:cubicBezTo>
                    <a:cubicBezTo>
                      <a:pt x="242" y="184"/>
                      <a:pt x="242" y="184"/>
                      <a:pt x="242" y="184"/>
                    </a:cubicBezTo>
                    <a:cubicBezTo>
                      <a:pt x="238" y="184"/>
                      <a:pt x="234" y="184"/>
                      <a:pt x="230" y="184"/>
                    </a:cubicBezTo>
                    <a:cubicBezTo>
                      <a:pt x="162" y="184"/>
                      <a:pt x="123" y="100"/>
                      <a:pt x="69" y="86"/>
                    </a:cubicBezTo>
                    <a:cubicBezTo>
                      <a:pt x="31" y="77"/>
                      <a:pt x="24" y="85"/>
                      <a:pt x="2" y="9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3" y="4"/>
                      <a:pt x="13" y="4"/>
                      <a:pt x="33" y="4"/>
                    </a:cubicBezTo>
                    <a:cubicBezTo>
                      <a:pt x="70" y="3"/>
                      <a:pt x="142" y="0"/>
                      <a:pt x="163" y="2"/>
                    </a:cubicBezTo>
                    <a:cubicBezTo>
                      <a:pt x="184" y="4"/>
                      <a:pt x="259" y="65"/>
                      <a:pt x="272" y="75"/>
                    </a:cubicBezTo>
                    <a:cubicBezTo>
                      <a:pt x="294" y="95"/>
                      <a:pt x="322" y="108"/>
                      <a:pt x="311" y="127"/>
                    </a:cubicBezTo>
                    <a:cubicBezTo>
                      <a:pt x="301" y="146"/>
                      <a:pt x="197" y="75"/>
                      <a:pt x="190" y="87"/>
                    </a:cubicBezTo>
                    <a:cubicBezTo>
                      <a:pt x="181" y="100"/>
                      <a:pt x="234" y="122"/>
                      <a:pt x="260" y="132"/>
                    </a:cubicBezTo>
                    <a:cubicBezTo>
                      <a:pt x="286" y="141"/>
                      <a:pt x="341" y="146"/>
                      <a:pt x="375" y="148"/>
                    </a:cubicBezTo>
                    <a:cubicBezTo>
                      <a:pt x="413" y="151"/>
                      <a:pt x="461" y="151"/>
                      <a:pt x="465" y="167"/>
                    </a:cubicBezTo>
                    <a:cubicBezTo>
                      <a:pt x="466" y="174"/>
                      <a:pt x="460" y="178"/>
                      <a:pt x="448" y="17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2" name="组合 51"/>
          <p:cNvGrpSpPr/>
          <p:nvPr/>
        </p:nvGrpSpPr>
        <p:grpSpPr bwMode="auto">
          <a:xfrm>
            <a:off x="4830763" y="4300538"/>
            <a:ext cx="1674812" cy="368300"/>
            <a:chOff x="4831255" y="4299942"/>
            <a:chExt cx="1674923" cy="369034"/>
          </a:xfrm>
        </p:grpSpPr>
        <p:sp>
          <p:nvSpPr>
            <p:cNvPr id="31" name="矩形 30"/>
            <p:cNvSpPr/>
            <p:nvPr/>
          </p:nvSpPr>
          <p:spPr>
            <a:xfrm>
              <a:off x="4831255" y="4299942"/>
              <a:ext cx="1674923" cy="359490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936037" y="4330164"/>
              <a:ext cx="1465359" cy="338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defRPr sz="16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文字</a:t>
              </a: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17454" name="Freeform 51"/>
            <p:cNvSpPr>
              <a:spLocks noEditPoints="1"/>
            </p:cNvSpPr>
            <p:nvPr/>
          </p:nvSpPr>
          <p:spPr bwMode="auto">
            <a:xfrm rot="10800000" flipH="1" flipV="1">
              <a:off x="6182945" y="442963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7455" name="组合 151"/>
            <p:cNvGrpSpPr/>
            <p:nvPr/>
          </p:nvGrpSpPr>
          <p:grpSpPr bwMode="auto">
            <a:xfrm>
              <a:off x="4897570" y="4341761"/>
              <a:ext cx="287386" cy="287741"/>
              <a:chOff x="-1657350" y="-4413250"/>
              <a:chExt cx="2573338" cy="2576512"/>
            </a:xfrm>
          </p:grpSpPr>
          <p:sp>
            <p:nvSpPr>
              <p:cNvPr id="153" name="Freeform 21"/>
              <p:cNvSpPr/>
              <p:nvPr/>
            </p:nvSpPr>
            <p:spPr bwMode="auto">
              <a:xfrm>
                <a:off x="-1654090" y="-4417386"/>
                <a:ext cx="2573069" cy="2578019"/>
              </a:xfrm>
              <a:custGeom>
                <a:avLst/>
                <a:gdLst>
                  <a:gd name="T0" fmla="*/ 0 w 686"/>
                  <a:gd name="T1" fmla="*/ 625 h 687"/>
                  <a:gd name="T2" fmla="*/ 62 w 686"/>
                  <a:gd name="T3" fmla="*/ 687 h 687"/>
                  <a:gd name="T4" fmla="*/ 624 w 686"/>
                  <a:gd name="T5" fmla="*/ 687 h 687"/>
                  <a:gd name="T6" fmla="*/ 686 w 686"/>
                  <a:gd name="T7" fmla="*/ 625 h 687"/>
                  <a:gd name="T8" fmla="*/ 686 w 686"/>
                  <a:gd name="T9" fmla="*/ 63 h 687"/>
                  <a:gd name="T10" fmla="*/ 624 w 686"/>
                  <a:gd name="T11" fmla="*/ 0 h 687"/>
                  <a:gd name="T12" fmla="*/ 62 w 686"/>
                  <a:gd name="T13" fmla="*/ 0 h 687"/>
                  <a:gd name="T14" fmla="*/ 0 w 686"/>
                  <a:gd name="T15" fmla="*/ 63 h 687"/>
                  <a:gd name="T16" fmla="*/ 0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6" y="659"/>
                      <a:pt x="686" y="625"/>
                    </a:cubicBezTo>
                    <a:cubicBezTo>
                      <a:pt x="686" y="63"/>
                      <a:pt x="686" y="63"/>
                      <a:pt x="686" y="63"/>
                    </a:cubicBezTo>
                    <a:cubicBezTo>
                      <a:pt x="686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457" name="Freeform 22"/>
              <p:cNvSpPr/>
              <p:nvPr/>
            </p:nvSpPr>
            <p:spPr bwMode="auto">
              <a:xfrm>
                <a:off x="-1169988" y="-4041775"/>
                <a:ext cx="2085975" cy="2205037"/>
              </a:xfrm>
              <a:custGeom>
                <a:avLst/>
                <a:gdLst>
                  <a:gd name="T0" fmla="*/ 2147483646 w 556"/>
                  <a:gd name="T1" fmla="*/ 2147483646 h 588"/>
                  <a:gd name="T2" fmla="*/ 2147483646 w 556"/>
                  <a:gd name="T3" fmla="*/ 0 h 588"/>
                  <a:gd name="T4" fmla="*/ 2147483646 w 556"/>
                  <a:gd name="T5" fmla="*/ 2147483646 h 588"/>
                  <a:gd name="T6" fmla="*/ 2147483646 w 556"/>
                  <a:gd name="T7" fmla="*/ 2147483646 h 588"/>
                  <a:gd name="T8" fmla="*/ 2147483646 w 556"/>
                  <a:gd name="T9" fmla="*/ 2147483646 h 588"/>
                  <a:gd name="T10" fmla="*/ 2147483646 w 556"/>
                  <a:gd name="T11" fmla="*/ 2147483646 h 588"/>
                  <a:gd name="T12" fmla="*/ 2147483646 w 556"/>
                  <a:gd name="T13" fmla="*/ 2147483646 h 588"/>
                  <a:gd name="T14" fmla="*/ 2147483646 w 556"/>
                  <a:gd name="T15" fmla="*/ 2147483646 h 588"/>
                  <a:gd name="T16" fmla="*/ 2147483646 w 556"/>
                  <a:gd name="T17" fmla="*/ 2147483646 h 588"/>
                  <a:gd name="T18" fmla="*/ 2147483646 w 556"/>
                  <a:gd name="T19" fmla="*/ 2147483646 h 588"/>
                  <a:gd name="T20" fmla="*/ 2147483646 w 556"/>
                  <a:gd name="T21" fmla="*/ 2147483646 h 588"/>
                  <a:gd name="T22" fmla="*/ 2147483646 w 556"/>
                  <a:gd name="T23" fmla="*/ 2147483646 h 588"/>
                  <a:gd name="T24" fmla="*/ 2147483646 w 556"/>
                  <a:gd name="T25" fmla="*/ 2147483646 h 588"/>
                  <a:gd name="T26" fmla="*/ 2147483646 w 556"/>
                  <a:gd name="T27" fmla="*/ 2147483646 h 588"/>
                  <a:gd name="T28" fmla="*/ 2147483646 w 556"/>
                  <a:gd name="T29" fmla="*/ 2147483646 h 588"/>
                  <a:gd name="T30" fmla="*/ 2147483646 w 556"/>
                  <a:gd name="T31" fmla="*/ 2147483646 h 588"/>
                  <a:gd name="T32" fmla="*/ 2147483646 w 556"/>
                  <a:gd name="T33" fmla="*/ 2147483646 h 588"/>
                  <a:gd name="T34" fmla="*/ 2147483646 w 556"/>
                  <a:gd name="T35" fmla="*/ 2147483646 h 588"/>
                  <a:gd name="T36" fmla="*/ 2147483646 w 556"/>
                  <a:gd name="T37" fmla="*/ 2147483646 h 588"/>
                  <a:gd name="T38" fmla="*/ 2147483646 w 556"/>
                  <a:gd name="T39" fmla="*/ 2147483646 h 588"/>
                  <a:gd name="T40" fmla="*/ 2147483646 w 556"/>
                  <a:gd name="T41" fmla="*/ 2147483646 h 588"/>
                  <a:gd name="T42" fmla="*/ 2147483646 w 556"/>
                  <a:gd name="T43" fmla="*/ 2147483646 h 588"/>
                  <a:gd name="T44" fmla="*/ 2147483646 w 556"/>
                  <a:gd name="T45" fmla="*/ 2147483646 h 588"/>
                  <a:gd name="T46" fmla="*/ 2147483646 w 556"/>
                  <a:gd name="T47" fmla="*/ 2147483646 h 58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556" h="588">
                    <a:moveTo>
                      <a:pt x="380" y="176"/>
                    </a:moveTo>
                    <a:cubicBezTo>
                      <a:pt x="204" y="0"/>
                      <a:pt x="204" y="0"/>
                      <a:pt x="204" y="0"/>
                    </a:cubicBezTo>
                    <a:cubicBezTo>
                      <a:pt x="168" y="36"/>
                      <a:pt x="168" y="36"/>
                      <a:pt x="168" y="36"/>
                    </a:cubicBezTo>
                    <a:cubicBezTo>
                      <a:pt x="193" y="61"/>
                      <a:pt x="193" y="61"/>
                      <a:pt x="193" y="61"/>
                    </a:cubicBezTo>
                    <a:cubicBezTo>
                      <a:pt x="177" y="76"/>
                      <a:pt x="177" y="76"/>
                      <a:pt x="177" y="76"/>
                    </a:cubicBezTo>
                    <a:cubicBezTo>
                      <a:pt x="228" y="127"/>
                      <a:pt x="228" y="127"/>
                      <a:pt x="228" y="127"/>
                    </a:cubicBezTo>
                    <a:cubicBezTo>
                      <a:pt x="215" y="139"/>
                      <a:pt x="215" y="139"/>
                      <a:pt x="215" y="139"/>
                    </a:cubicBezTo>
                    <a:cubicBezTo>
                      <a:pt x="175" y="99"/>
                      <a:pt x="175" y="99"/>
                      <a:pt x="175" y="99"/>
                    </a:cubicBezTo>
                    <a:cubicBezTo>
                      <a:pt x="139" y="135"/>
                      <a:pt x="139" y="135"/>
                      <a:pt x="139" y="135"/>
                    </a:cubicBezTo>
                    <a:cubicBezTo>
                      <a:pt x="184" y="180"/>
                      <a:pt x="184" y="180"/>
                      <a:pt x="184" y="180"/>
                    </a:cubicBezTo>
                    <a:cubicBezTo>
                      <a:pt x="149" y="214"/>
                      <a:pt x="149" y="214"/>
                      <a:pt x="149" y="214"/>
                    </a:cubicBezTo>
                    <a:cubicBezTo>
                      <a:pt x="173" y="238"/>
                      <a:pt x="173" y="238"/>
                      <a:pt x="173" y="238"/>
                    </a:cubicBezTo>
                    <a:cubicBezTo>
                      <a:pt x="137" y="274"/>
                      <a:pt x="137" y="274"/>
                      <a:pt x="137" y="274"/>
                    </a:cubicBezTo>
                    <a:cubicBezTo>
                      <a:pt x="230" y="367"/>
                      <a:pt x="230" y="367"/>
                      <a:pt x="230" y="367"/>
                    </a:cubicBezTo>
                    <a:cubicBezTo>
                      <a:pt x="219" y="377"/>
                      <a:pt x="219" y="377"/>
                      <a:pt x="219" y="377"/>
                    </a:cubicBezTo>
                    <a:cubicBezTo>
                      <a:pt x="8" y="166"/>
                      <a:pt x="8" y="166"/>
                      <a:pt x="8" y="166"/>
                    </a:cubicBezTo>
                    <a:cubicBezTo>
                      <a:pt x="8" y="166"/>
                      <a:pt x="0" y="328"/>
                      <a:pt x="76" y="368"/>
                    </a:cubicBezTo>
                    <a:cubicBezTo>
                      <a:pt x="151" y="408"/>
                      <a:pt x="112" y="498"/>
                      <a:pt x="112" y="498"/>
                    </a:cubicBezTo>
                    <a:cubicBezTo>
                      <a:pt x="203" y="588"/>
                      <a:pt x="203" y="588"/>
                      <a:pt x="203" y="588"/>
                    </a:cubicBezTo>
                    <a:cubicBezTo>
                      <a:pt x="494" y="588"/>
                      <a:pt x="494" y="588"/>
                      <a:pt x="494" y="588"/>
                    </a:cubicBezTo>
                    <a:cubicBezTo>
                      <a:pt x="529" y="588"/>
                      <a:pt x="556" y="560"/>
                      <a:pt x="556" y="526"/>
                    </a:cubicBezTo>
                    <a:cubicBezTo>
                      <a:pt x="556" y="328"/>
                      <a:pt x="556" y="328"/>
                      <a:pt x="556" y="328"/>
                    </a:cubicBezTo>
                    <a:cubicBezTo>
                      <a:pt x="392" y="164"/>
                      <a:pt x="392" y="164"/>
                      <a:pt x="392" y="164"/>
                    </a:cubicBezTo>
                    <a:lnTo>
                      <a:pt x="380" y="176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58" name="Freeform 23"/>
              <p:cNvSpPr/>
              <p:nvPr/>
            </p:nvSpPr>
            <p:spPr bwMode="auto">
              <a:xfrm>
                <a:off x="-693738" y="-4083050"/>
                <a:ext cx="520700" cy="393700"/>
              </a:xfrm>
              <a:custGeom>
                <a:avLst/>
                <a:gdLst>
                  <a:gd name="T0" fmla="*/ 2147483646 w 139"/>
                  <a:gd name="T1" fmla="*/ 0 h 105"/>
                  <a:gd name="T2" fmla="*/ 2147483646 w 139"/>
                  <a:gd name="T3" fmla="*/ 0 h 105"/>
                  <a:gd name="T4" fmla="*/ 2147483646 w 139"/>
                  <a:gd name="T5" fmla="*/ 2147483646 h 105"/>
                  <a:gd name="T6" fmla="*/ 2147483646 w 139"/>
                  <a:gd name="T7" fmla="*/ 2147483646 h 105"/>
                  <a:gd name="T8" fmla="*/ 2147483646 w 139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9" h="105">
                    <a:moveTo>
                      <a:pt x="70" y="0"/>
                    </a:moveTo>
                    <a:cubicBezTo>
                      <a:pt x="69" y="0"/>
                      <a:pt x="69" y="0"/>
                      <a:pt x="69" y="0"/>
                    </a:cubicBezTo>
                    <a:cubicBezTo>
                      <a:pt x="69" y="0"/>
                      <a:pt x="0" y="66"/>
                      <a:pt x="70" y="105"/>
                    </a:cubicBezTo>
                    <a:cubicBezTo>
                      <a:pt x="70" y="105"/>
                      <a:pt x="70" y="105"/>
                      <a:pt x="70" y="105"/>
                    </a:cubicBezTo>
                    <a:cubicBezTo>
                      <a:pt x="139" y="66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59" name="Freeform 24"/>
              <p:cNvSpPr/>
              <p:nvPr/>
            </p:nvSpPr>
            <p:spPr bwMode="auto">
              <a:xfrm>
                <a:off x="-449263" y="-3794125"/>
                <a:ext cx="352425" cy="427037"/>
              </a:xfrm>
              <a:custGeom>
                <a:avLst/>
                <a:gdLst>
                  <a:gd name="T0" fmla="*/ 2147483646 w 94"/>
                  <a:gd name="T1" fmla="*/ 2147483646 h 114"/>
                  <a:gd name="T2" fmla="*/ 2147483646 w 94"/>
                  <a:gd name="T3" fmla="*/ 2147483646 h 114"/>
                  <a:gd name="T4" fmla="*/ 2147483646 w 94"/>
                  <a:gd name="T5" fmla="*/ 2147483646 h 114"/>
                  <a:gd name="T6" fmla="*/ 2147483646 w 94"/>
                  <a:gd name="T7" fmla="*/ 2147483646 h 114"/>
                  <a:gd name="T8" fmla="*/ 2147483646 w 94"/>
                  <a:gd name="T9" fmla="*/ 2147483646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4">
                    <a:moveTo>
                      <a:pt x="94" y="19"/>
                    </a:moveTo>
                    <a:cubicBezTo>
                      <a:pt x="94" y="19"/>
                      <a:pt x="94" y="19"/>
                      <a:pt x="94" y="19"/>
                    </a:cubicBezTo>
                    <a:cubicBezTo>
                      <a:pt x="94" y="19"/>
                      <a:pt x="0" y="0"/>
                      <a:pt x="7" y="79"/>
                    </a:cubicBezTo>
                    <a:cubicBezTo>
                      <a:pt x="7" y="79"/>
                      <a:pt x="7" y="79"/>
                      <a:pt x="7" y="79"/>
                    </a:cubicBezTo>
                    <a:cubicBezTo>
                      <a:pt x="79" y="114"/>
                      <a:pt x="94" y="19"/>
                      <a:pt x="94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0" name="Freeform 25"/>
              <p:cNvSpPr/>
              <p:nvPr/>
            </p:nvSpPr>
            <p:spPr bwMode="auto">
              <a:xfrm>
                <a:off x="-768350" y="-3794125"/>
                <a:ext cx="352425" cy="427037"/>
              </a:xfrm>
              <a:custGeom>
                <a:avLst/>
                <a:gdLst>
                  <a:gd name="T0" fmla="*/ 0 w 94"/>
                  <a:gd name="T1" fmla="*/ 2147483646 h 114"/>
                  <a:gd name="T2" fmla="*/ 0 w 94"/>
                  <a:gd name="T3" fmla="*/ 2147483646 h 114"/>
                  <a:gd name="T4" fmla="*/ 2147483646 w 94"/>
                  <a:gd name="T5" fmla="*/ 2147483646 h 114"/>
                  <a:gd name="T6" fmla="*/ 2147483646 w 94"/>
                  <a:gd name="T7" fmla="*/ 2147483646 h 114"/>
                  <a:gd name="T8" fmla="*/ 0 w 94"/>
                  <a:gd name="T9" fmla="*/ 2147483646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4">
                    <a:moveTo>
                      <a:pt x="0" y="19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94" y="0"/>
                      <a:pt x="87" y="79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15" y="114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1" name="Freeform 26"/>
              <p:cNvSpPr/>
              <p:nvPr/>
            </p:nvSpPr>
            <p:spPr bwMode="auto">
              <a:xfrm>
                <a:off x="-449263" y="-3540125"/>
                <a:ext cx="352425" cy="431800"/>
              </a:xfrm>
              <a:custGeom>
                <a:avLst/>
                <a:gdLst>
                  <a:gd name="T0" fmla="*/ 2147483646 w 94"/>
                  <a:gd name="T1" fmla="*/ 2147483646 h 115"/>
                  <a:gd name="T2" fmla="*/ 2147483646 w 94"/>
                  <a:gd name="T3" fmla="*/ 2147483646 h 115"/>
                  <a:gd name="T4" fmla="*/ 2147483646 w 94"/>
                  <a:gd name="T5" fmla="*/ 2147483646 h 115"/>
                  <a:gd name="T6" fmla="*/ 2147483646 w 94"/>
                  <a:gd name="T7" fmla="*/ 2147483646 h 115"/>
                  <a:gd name="T8" fmla="*/ 2147483646 w 94"/>
                  <a:gd name="T9" fmla="*/ 2147483646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5">
                    <a:moveTo>
                      <a:pt x="94" y="20"/>
                    </a:moveTo>
                    <a:cubicBezTo>
                      <a:pt x="94" y="20"/>
                      <a:pt x="94" y="20"/>
                      <a:pt x="94" y="20"/>
                    </a:cubicBezTo>
                    <a:cubicBezTo>
                      <a:pt x="94" y="20"/>
                      <a:pt x="0" y="0"/>
                      <a:pt x="7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9" y="115"/>
                      <a:pt x="94" y="20"/>
                      <a:pt x="94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2" name="Freeform 27"/>
              <p:cNvSpPr/>
              <p:nvPr/>
            </p:nvSpPr>
            <p:spPr bwMode="auto">
              <a:xfrm>
                <a:off x="-768350" y="-3540125"/>
                <a:ext cx="352425" cy="431800"/>
              </a:xfrm>
              <a:custGeom>
                <a:avLst/>
                <a:gdLst>
                  <a:gd name="T0" fmla="*/ 0 w 94"/>
                  <a:gd name="T1" fmla="*/ 2147483646 h 115"/>
                  <a:gd name="T2" fmla="*/ 0 w 94"/>
                  <a:gd name="T3" fmla="*/ 2147483646 h 115"/>
                  <a:gd name="T4" fmla="*/ 2147483646 w 94"/>
                  <a:gd name="T5" fmla="*/ 2147483646 h 115"/>
                  <a:gd name="T6" fmla="*/ 2147483646 w 94"/>
                  <a:gd name="T7" fmla="*/ 2147483646 h 115"/>
                  <a:gd name="T8" fmla="*/ 0 w 94"/>
                  <a:gd name="T9" fmla="*/ 2147483646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5">
                    <a:moveTo>
                      <a:pt x="0" y="2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94" y="0"/>
                      <a:pt x="87" y="80"/>
                    </a:cubicBezTo>
                    <a:cubicBezTo>
                      <a:pt x="87" y="80"/>
                      <a:pt x="87" y="80"/>
                      <a:pt x="87" y="80"/>
                    </a:cubicBezTo>
                    <a:cubicBezTo>
                      <a:pt x="15" y="115"/>
                      <a:pt x="0" y="20"/>
                      <a:pt x="0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3" name="Freeform 28"/>
              <p:cNvSpPr/>
              <p:nvPr/>
            </p:nvSpPr>
            <p:spPr bwMode="auto">
              <a:xfrm>
                <a:off x="-434975" y="-3281363"/>
                <a:ext cx="352425" cy="428625"/>
              </a:xfrm>
              <a:custGeom>
                <a:avLst/>
                <a:gdLst>
                  <a:gd name="T0" fmla="*/ 2147483646 w 94"/>
                  <a:gd name="T1" fmla="*/ 2147483646 h 114"/>
                  <a:gd name="T2" fmla="*/ 2147483646 w 94"/>
                  <a:gd name="T3" fmla="*/ 2147483646 h 114"/>
                  <a:gd name="T4" fmla="*/ 2147483646 w 94"/>
                  <a:gd name="T5" fmla="*/ 2147483646 h 114"/>
                  <a:gd name="T6" fmla="*/ 2147483646 w 94"/>
                  <a:gd name="T7" fmla="*/ 2147483646 h 114"/>
                  <a:gd name="T8" fmla="*/ 2147483646 w 94"/>
                  <a:gd name="T9" fmla="*/ 2147483646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4">
                    <a:moveTo>
                      <a:pt x="94" y="20"/>
                    </a:moveTo>
                    <a:cubicBezTo>
                      <a:pt x="93" y="20"/>
                      <a:pt x="93" y="20"/>
                      <a:pt x="93" y="20"/>
                    </a:cubicBezTo>
                    <a:cubicBezTo>
                      <a:pt x="93" y="20"/>
                      <a:pt x="0" y="0"/>
                      <a:pt x="7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9" y="114"/>
                      <a:pt x="94" y="20"/>
                      <a:pt x="94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4" name="Freeform 29"/>
              <p:cNvSpPr/>
              <p:nvPr/>
            </p:nvSpPr>
            <p:spPr bwMode="auto">
              <a:xfrm>
                <a:off x="-757238" y="-3281363"/>
                <a:ext cx="352425" cy="428625"/>
              </a:xfrm>
              <a:custGeom>
                <a:avLst/>
                <a:gdLst>
                  <a:gd name="T0" fmla="*/ 0 w 94"/>
                  <a:gd name="T1" fmla="*/ 2147483646 h 114"/>
                  <a:gd name="T2" fmla="*/ 0 w 94"/>
                  <a:gd name="T3" fmla="*/ 2147483646 h 114"/>
                  <a:gd name="T4" fmla="*/ 2147483646 w 94"/>
                  <a:gd name="T5" fmla="*/ 2147483646 h 114"/>
                  <a:gd name="T6" fmla="*/ 2147483646 w 94"/>
                  <a:gd name="T7" fmla="*/ 2147483646 h 114"/>
                  <a:gd name="T8" fmla="*/ 0 w 94"/>
                  <a:gd name="T9" fmla="*/ 2147483646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4">
                    <a:moveTo>
                      <a:pt x="0" y="2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94" y="0"/>
                      <a:pt x="87" y="80"/>
                    </a:cubicBezTo>
                    <a:cubicBezTo>
                      <a:pt x="87" y="80"/>
                      <a:pt x="87" y="80"/>
                      <a:pt x="87" y="80"/>
                    </a:cubicBezTo>
                    <a:cubicBezTo>
                      <a:pt x="15" y="114"/>
                      <a:pt x="0" y="20"/>
                      <a:pt x="0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5" name="Freeform 30"/>
              <p:cNvSpPr/>
              <p:nvPr/>
            </p:nvSpPr>
            <p:spPr bwMode="auto">
              <a:xfrm>
                <a:off x="-1200150" y="-3444875"/>
                <a:ext cx="727075" cy="1277937"/>
              </a:xfrm>
              <a:custGeom>
                <a:avLst/>
                <a:gdLst>
                  <a:gd name="T0" fmla="*/ 2147483646 w 194"/>
                  <a:gd name="T1" fmla="*/ 2147483646 h 341"/>
                  <a:gd name="T2" fmla="*/ 2147483646 w 194"/>
                  <a:gd name="T3" fmla="*/ 2147483646 h 341"/>
                  <a:gd name="T4" fmla="*/ 2147483646 w 194"/>
                  <a:gd name="T5" fmla="*/ 2147483646 h 341"/>
                  <a:gd name="T6" fmla="*/ 2147483646 w 194"/>
                  <a:gd name="T7" fmla="*/ 2147483646 h 341"/>
                  <a:gd name="T8" fmla="*/ 2147483646 w 194"/>
                  <a:gd name="T9" fmla="*/ 2147483646 h 341"/>
                  <a:gd name="T10" fmla="*/ 2147483646 w 194"/>
                  <a:gd name="T11" fmla="*/ 2147483646 h 341"/>
                  <a:gd name="T12" fmla="*/ 2147483646 w 194"/>
                  <a:gd name="T13" fmla="*/ 2147483646 h 341"/>
                  <a:gd name="T14" fmla="*/ 2147483646 w 194"/>
                  <a:gd name="T15" fmla="*/ 2147483646 h 341"/>
                  <a:gd name="T16" fmla="*/ 2147483646 w 194"/>
                  <a:gd name="T17" fmla="*/ 2147483646 h 341"/>
                  <a:gd name="T18" fmla="*/ 2147483646 w 194"/>
                  <a:gd name="T19" fmla="*/ 2147483646 h 341"/>
                  <a:gd name="T20" fmla="*/ 2147483646 w 194"/>
                  <a:gd name="T21" fmla="*/ 2147483646 h 341"/>
                  <a:gd name="T22" fmla="*/ 2147483646 w 194"/>
                  <a:gd name="T23" fmla="*/ 2147483646 h 341"/>
                  <a:gd name="T24" fmla="*/ 2147483646 w 194"/>
                  <a:gd name="T25" fmla="*/ 2147483646 h 3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4" h="341">
                    <a:moveTo>
                      <a:pt x="192" y="208"/>
                    </a:moveTo>
                    <a:cubicBezTo>
                      <a:pt x="189" y="194"/>
                      <a:pt x="125" y="146"/>
                      <a:pt x="114" y="138"/>
                    </a:cubicBezTo>
                    <a:cubicBezTo>
                      <a:pt x="104" y="130"/>
                      <a:pt x="80" y="106"/>
                      <a:pt x="62" y="113"/>
                    </a:cubicBezTo>
                    <a:cubicBezTo>
                      <a:pt x="44" y="120"/>
                      <a:pt x="121" y="179"/>
                      <a:pt x="115" y="193"/>
                    </a:cubicBezTo>
                    <a:cubicBezTo>
                      <a:pt x="110" y="206"/>
                      <a:pt x="71" y="162"/>
                      <a:pt x="59" y="147"/>
                    </a:cubicBezTo>
                    <a:cubicBezTo>
                      <a:pt x="47" y="133"/>
                      <a:pt x="44" y="94"/>
                      <a:pt x="38" y="71"/>
                    </a:cubicBezTo>
                    <a:cubicBezTo>
                      <a:pt x="32" y="48"/>
                      <a:pt x="27" y="3"/>
                      <a:pt x="14" y="2"/>
                    </a:cubicBezTo>
                    <a:cubicBezTo>
                      <a:pt x="0" y="0"/>
                      <a:pt x="3" y="30"/>
                      <a:pt x="7" y="67"/>
                    </a:cubicBezTo>
                    <a:cubicBezTo>
                      <a:pt x="10" y="105"/>
                      <a:pt x="12" y="124"/>
                      <a:pt x="20" y="169"/>
                    </a:cubicBezTo>
                    <a:cubicBezTo>
                      <a:pt x="28" y="213"/>
                      <a:pt x="97" y="237"/>
                      <a:pt x="113" y="272"/>
                    </a:cubicBezTo>
                    <a:cubicBezTo>
                      <a:pt x="124" y="298"/>
                      <a:pt x="116" y="326"/>
                      <a:pt x="111" y="341"/>
                    </a:cubicBezTo>
                    <a:cubicBezTo>
                      <a:pt x="192" y="341"/>
                      <a:pt x="192" y="341"/>
                      <a:pt x="192" y="341"/>
                    </a:cubicBezTo>
                    <a:cubicBezTo>
                      <a:pt x="192" y="341"/>
                      <a:pt x="194" y="222"/>
                      <a:pt x="192" y="20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6" name="Freeform 31"/>
              <p:cNvSpPr/>
              <p:nvPr/>
            </p:nvSpPr>
            <p:spPr bwMode="auto">
              <a:xfrm>
                <a:off x="-396875" y="-3444875"/>
                <a:ext cx="727075" cy="1277937"/>
              </a:xfrm>
              <a:custGeom>
                <a:avLst/>
                <a:gdLst>
                  <a:gd name="T0" fmla="*/ 2147483646 w 194"/>
                  <a:gd name="T1" fmla="*/ 2147483646 h 341"/>
                  <a:gd name="T2" fmla="*/ 2147483646 w 194"/>
                  <a:gd name="T3" fmla="*/ 2147483646 h 341"/>
                  <a:gd name="T4" fmla="*/ 2147483646 w 194"/>
                  <a:gd name="T5" fmla="*/ 2147483646 h 341"/>
                  <a:gd name="T6" fmla="*/ 2147483646 w 194"/>
                  <a:gd name="T7" fmla="*/ 2147483646 h 341"/>
                  <a:gd name="T8" fmla="*/ 2147483646 w 194"/>
                  <a:gd name="T9" fmla="*/ 2147483646 h 341"/>
                  <a:gd name="T10" fmla="*/ 2147483646 w 194"/>
                  <a:gd name="T11" fmla="*/ 2147483646 h 341"/>
                  <a:gd name="T12" fmla="*/ 2147483646 w 194"/>
                  <a:gd name="T13" fmla="*/ 2147483646 h 341"/>
                  <a:gd name="T14" fmla="*/ 2147483646 w 194"/>
                  <a:gd name="T15" fmla="*/ 2147483646 h 341"/>
                  <a:gd name="T16" fmla="*/ 2147483646 w 194"/>
                  <a:gd name="T17" fmla="*/ 2147483646 h 341"/>
                  <a:gd name="T18" fmla="*/ 2147483646 w 194"/>
                  <a:gd name="T19" fmla="*/ 2147483646 h 341"/>
                  <a:gd name="T20" fmla="*/ 2147483646 w 194"/>
                  <a:gd name="T21" fmla="*/ 2147483646 h 341"/>
                  <a:gd name="T22" fmla="*/ 2147483646 w 194"/>
                  <a:gd name="T23" fmla="*/ 2147483646 h 341"/>
                  <a:gd name="T24" fmla="*/ 2147483646 w 194"/>
                  <a:gd name="T25" fmla="*/ 2147483646 h 3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4" h="341">
                    <a:moveTo>
                      <a:pt x="3" y="341"/>
                    </a:moveTo>
                    <a:cubicBezTo>
                      <a:pt x="83" y="341"/>
                      <a:pt x="83" y="341"/>
                      <a:pt x="83" y="341"/>
                    </a:cubicBezTo>
                    <a:cubicBezTo>
                      <a:pt x="78" y="326"/>
                      <a:pt x="71" y="298"/>
                      <a:pt x="82" y="272"/>
                    </a:cubicBezTo>
                    <a:cubicBezTo>
                      <a:pt x="98" y="237"/>
                      <a:pt x="167" y="213"/>
                      <a:pt x="175" y="169"/>
                    </a:cubicBezTo>
                    <a:cubicBezTo>
                      <a:pt x="183" y="124"/>
                      <a:pt x="184" y="105"/>
                      <a:pt x="188" y="67"/>
                    </a:cubicBezTo>
                    <a:cubicBezTo>
                      <a:pt x="191" y="30"/>
                      <a:pt x="194" y="0"/>
                      <a:pt x="181" y="2"/>
                    </a:cubicBezTo>
                    <a:cubicBezTo>
                      <a:pt x="168" y="3"/>
                      <a:pt x="163" y="48"/>
                      <a:pt x="157" y="71"/>
                    </a:cubicBezTo>
                    <a:cubicBezTo>
                      <a:pt x="151" y="94"/>
                      <a:pt x="147" y="133"/>
                      <a:pt x="135" y="147"/>
                    </a:cubicBezTo>
                    <a:cubicBezTo>
                      <a:pt x="123" y="162"/>
                      <a:pt x="84" y="206"/>
                      <a:pt x="79" y="193"/>
                    </a:cubicBezTo>
                    <a:cubicBezTo>
                      <a:pt x="74" y="179"/>
                      <a:pt x="151" y="120"/>
                      <a:pt x="133" y="113"/>
                    </a:cubicBezTo>
                    <a:cubicBezTo>
                      <a:pt x="115" y="106"/>
                      <a:pt x="91" y="130"/>
                      <a:pt x="80" y="138"/>
                    </a:cubicBezTo>
                    <a:cubicBezTo>
                      <a:pt x="70" y="146"/>
                      <a:pt x="6" y="194"/>
                      <a:pt x="3" y="208"/>
                    </a:cubicBezTo>
                    <a:cubicBezTo>
                      <a:pt x="0" y="222"/>
                      <a:pt x="3" y="341"/>
                      <a:pt x="3" y="3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0" name="组合 49"/>
          <p:cNvGrpSpPr/>
          <p:nvPr/>
        </p:nvGrpSpPr>
        <p:grpSpPr bwMode="auto">
          <a:xfrm>
            <a:off x="1027113" y="4300538"/>
            <a:ext cx="1674812" cy="368300"/>
            <a:chOff x="1026900" y="4299942"/>
            <a:chExt cx="1674923" cy="369034"/>
          </a:xfrm>
        </p:grpSpPr>
        <p:sp>
          <p:nvSpPr>
            <p:cNvPr id="29" name="矩形 28"/>
            <p:cNvSpPr/>
            <p:nvPr/>
          </p:nvSpPr>
          <p:spPr>
            <a:xfrm>
              <a:off x="1026900" y="4299942"/>
              <a:ext cx="1674923" cy="359490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150733" y="4330164"/>
              <a:ext cx="1465359" cy="338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430" name="Freeform 51"/>
            <p:cNvSpPr>
              <a:spLocks noEditPoints="1"/>
            </p:cNvSpPr>
            <p:nvPr/>
          </p:nvSpPr>
          <p:spPr bwMode="auto">
            <a:xfrm rot="10800000" flipH="1" flipV="1">
              <a:off x="2384052" y="442963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7431" name="组合 163"/>
            <p:cNvGrpSpPr/>
            <p:nvPr/>
          </p:nvGrpSpPr>
          <p:grpSpPr bwMode="auto">
            <a:xfrm>
              <a:off x="1093981" y="4341761"/>
              <a:ext cx="287741" cy="287741"/>
              <a:chOff x="1879600" y="-4413250"/>
              <a:chExt cx="2576513" cy="2576512"/>
            </a:xfrm>
          </p:grpSpPr>
          <p:sp>
            <p:nvSpPr>
              <p:cNvPr id="165" name="Freeform 14"/>
              <p:cNvSpPr/>
              <p:nvPr/>
            </p:nvSpPr>
            <p:spPr bwMode="auto">
              <a:xfrm>
                <a:off x="1876000" y="-4417386"/>
                <a:ext cx="2573065" cy="2578019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433" name="Freeform 15"/>
              <p:cNvSpPr/>
              <p:nvPr/>
            </p:nvSpPr>
            <p:spPr bwMode="auto">
              <a:xfrm>
                <a:off x="2179638" y="-3933825"/>
                <a:ext cx="2276475" cy="2097087"/>
              </a:xfrm>
              <a:custGeom>
                <a:avLst/>
                <a:gdLst>
                  <a:gd name="T0" fmla="*/ 2147483646 w 607"/>
                  <a:gd name="T1" fmla="*/ 2147483646 h 559"/>
                  <a:gd name="T2" fmla="*/ 2147483646 w 607"/>
                  <a:gd name="T3" fmla="*/ 2147483646 h 559"/>
                  <a:gd name="T4" fmla="*/ 2147483646 w 607"/>
                  <a:gd name="T5" fmla="*/ 2147483646 h 559"/>
                  <a:gd name="T6" fmla="*/ 2147483646 w 607"/>
                  <a:gd name="T7" fmla="*/ 2147483646 h 559"/>
                  <a:gd name="T8" fmla="*/ 2147483646 w 607"/>
                  <a:gd name="T9" fmla="*/ 2147483646 h 559"/>
                  <a:gd name="T10" fmla="*/ 2147483646 w 607"/>
                  <a:gd name="T11" fmla="*/ 2147483646 h 559"/>
                  <a:gd name="T12" fmla="*/ 2147483646 w 607"/>
                  <a:gd name="T13" fmla="*/ 0 h 559"/>
                  <a:gd name="T14" fmla="*/ 2147483646 w 607"/>
                  <a:gd name="T15" fmla="*/ 2147483646 h 559"/>
                  <a:gd name="T16" fmla="*/ 0 w 607"/>
                  <a:gd name="T17" fmla="*/ 2147483646 h 559"/>
                  <a:gd name="T18" fmla="*/ 2147483646 w 607"/>
                  <a:gd name="T19" fmla="*/ 2147483646 h 559"/>
                  <a:gd name="T20" fmla="*/ 2147483646 w 607"/>
                  <a:gd name="T21" fmla="*/ 2147483646 h 559"/>
                  <a:gd name="T22" fmla="*/ 2147483646 w 607"/>
                  <a:gd name="T23" fmla="*/ 2147483646 h 559"/>
                  <a:gd name="T24" fmla="*/ 2147483646 w 607"/>
                  <a:gd name="T25" fmla="*/ 2147483646 h 559"/>
                  <a:gd name="T26" fmla="*/ 2147483646 w 607"/>
                  <a:gd name="T27" fmla="*/ 2147483646 h 559"/>
                  <a:gd name="T28" fmla="*/ 2147483646 w 607"/>
                  <a:gd name="T29" fmla="*/ 2147483646 h 559"/>
                  <a:gd name="T30" fmla="*/ 2147483646 w 607"/>
                  <a:gd name="T31" fmla="*/ 2147483646 h 559"/>
                  <a:gd name="T32" fmla="*/ 2147483646 w 607"/>
                  <a:gd name="T33" fmla="*/ 2147483646 h 559"/>
                  <a:gd name="T34" fmla="*/ 2147483646 w 607"/>
                  <a:gd name="T35" fmla="*/ 2147483646 h 559"/>
                  <a:gd name="T36" fmla="*/ 2147483646 w 607"/>
                  <a:gd name="T37" fmla="*/ 2147483646 h 559"/>
                  <a:gd name="T38" fmla="*/ 2147483646 w 607"/>
                  <a:gd name="T39" fmla="*/ 2147483646 h 559"/>
                  <a:gd name="T40" fmla="*/ 2147483646 w 607"/>
                  <a:gd name="T41" fmla="*/ 2147483646 h 559"/>
                  <a:gd name="T42" fmla="*/ 2147483646 w 607"/>
                  <a:gd name="T43" fmla="*/ 2147483646 h 559"/>
                  <a:gd name="T44" fmla="*/ 2147483646 w 607"/>
                  <a:gd name="T45" fmla="*/ 2147483646 h 559"/>
                  <a:gd name="T46" fmla="*/ 2147483646 w 607"/>
                  <a:gd name="T47" fmla="*/ 2147483646 h 559"/>
                  <a:gd name="T48" fmla="*/ 2147483646 w 607"/>
                  <a:gd name="T49" fmla="*/ 2147483646 h 559"/>
                  <a:gd name="T50" fmla="*/ 2147483646 w 607"/>
                  <a:gd name="T51" fmla="*/ 2147483646 h 55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7" h="559">
                    <a:moveTo>
                      <a:pt x="525" y="211"/>
                    </a:moveTo>
                    <a:cubicBezTo>
                      <a:pt x="417" y="95"/>
                      <a:pt x="417" y="95"/>
                      <a:pt x="417" y="95"/>
                    </a:cubicBezTo>
                    <a:cubicBezTo>
                      <a:pt x="315" y="17"/>
                      <a:pt x="315" y="17"/>
                      <a:pt x="315" y="17"/>
                    </a:cubicBezTo>
                    <a:cubicBezTo>
                      <a:pt x="298" y="20"/>
                      <a:pt x="298" y="20"/>
                      <a:pt x="298" y="20"/>
                    </a:cubicBezTo>
                    <a:cubicBezTo>
                      <a:pt x="452" y="174"/>
                      <a:pt x="452" y="174"/>
                      <a:pt x="452" y="174"/>
                    </a:cubicBezTo>
                    <a:cubicBezTo>
                      <a:pt x="443" y="183"/>
                      <a:pt x="443" y="183"/>
                      <a:pt x="443" y="183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136" y="79"/>
                      <a:pt x="136" y="79"/>
                      <a:pt x="136" y="79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48" y="290"/>
                      <a:pt x="48" y="290"/>
                      <a:pt x="48" y="290"/>
                    </a:cubicBezTo>
                    <a:cubicBezTo>
                      <a:pt x="39" y="299"/>
                      <a:pt x="39" y="299"/>
                      <a:pt x="39" y="299"/>
                    </a:cubicBezTo>
                    <a:cubicBezTo>
                      <a:pt x="86" y="345"/>
                      <a:pt x="86" y="345"/>
                      <a:pt x="86" y="345"/>
                    </a:cubicBezTo>
                    <a:cubicBezTo>
                      <a:pt x="59" y="341"/>
                      <a:pt x="38" y="338"/>
                      <a:pt x="38" y="338"/>
                    </a:cubicBezTo>
                    <a:cubicBezTo>
                      <a:pt x="82" y="382"/>
                      <a:pt x="82" y="382"/>
                      <a:pt x="82" y="382"/>
                    </a:cubicBezTo>
                    <a:cubicBezTo>
                      <a:pt x="38" y="380"/>
                      <a:pt x="38" y="380"/>
                      <a:pt x="38" y="380"/>
                    </a:cubicBezTo>
                    <a:cubicBezTo>
                      <a:pt x="81" y="423"/>
                      <a:pt x="81" y="423"/>
                      <a:pt x="81" y="423"/>
                    </a:cubicBezTo>
                    <a:cubicBezTo>
                      <a:pt x="80" y="424"/>
                      <a:pt x="80" y="424"/>
                      <a:pt x="80" y="424"/>
                    </a:cubicBezTo>
                    <a:cubicBezTo>
                      <a:pt x="37" y="421"/>
                      <a:pt x="37" y="421"/>
                      <a:pt x="37" y="421"/>
                    </a:cubicBezTo>
                    <a:cubicBezTo>
                      <a:pt x="60" y="444"/>
                      <a:pt x="60" y="444"/>
                      <a:pt x="60" y="444"/>
                    </a:cubicBezTo>
                    <a:cubicBezTo>
                      <a:pt x="42" y="462"/>
                      <a:pt x="42" y="462"/>
                      <a:pt x="42" y="462"/>
                    </a:cubicBezTo>
                    <a:cubicBezTo>
                      <a:pt x="140" y="559"/>
                      <a:pt x="140" y="559"/>
                      <a:pt x="140" y="559"/>
                    </a:cubicBezTo>
                    <a:cubicBezTo>
                      <a:pt x="544" y="559"/>
                      <a:pt x="544" y="559"/>
                      <a:pt x="544" y="559"/>
                    </a:cubicBezTo>
                    <a:cubicBezTo>
                      <a:pt x="579" y="559"/>
                      <a:pt x="607" y="531"/>
                      <a:pt x="607" y="497"/>
                    </a:cubicBezTo>
                    <a:cubicBezTo>
                      <a:pt x="607" y="239"/>
                      <a:pt x="607" y="239"/>
                      <a:pt x="607" y="239"/>
                    </a:cubicBezTo>
                    <a:cubicBezTo>
                      <a:pt x="552" y="184"/>
                      <a:pt x="552" y="184"/>
                      <a:pt x="552" y="184"/>
                    </a:cubicBezTo>
                    <a:lnTo>
                      <a:pt x="525" y="211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4" name="Freeform 32"/>
              <p:cNvSpPr/>
              <p:nvPr/>
            </p:nvSpPr>
            <p:spPr bwMode="auto">
              <a:xfrm>
                <a:off x="2155825" y="-3951288"/>
                <a:ext cx="1020763" cy="928687"/>
              </a:xfrm>
              <a:custGeom>
                <a:avLst/>
                <a:gdLst>
                  <a:gd name="T0" fmla="*/ 2147483646 w 272"/>
                  <a:gd name="T1" fmla="*/ 0 h 248"/>
                  <a:gd name="T2" fmla="*/ 2147483646 w 272"/>
                  <a:gd name="T3" fmla="*/ 2147483646 h 248"/>
                  <a:gd name="T4" fmla="*/ 2147483646 w 272"/>
                  <a:gd name="T5" fmla="*/ 2147483646 h 248"/>
                  <a:gd name="T6" fmla="*/ 0 w 272"/>
                  <a:gd name="T7" fmla="*/ 2147483646 h 248"/>
                  <a:gd name="T8" fmla="*/ 0 w 272"/>
                  <a:gd name="T9" fmla="*/ 2147483646 h 248"/>
                  <a:gd name="T10" fmla="*/ 2147483646 w 272"/>
                  <a:gd name="T11" fmla="*/ 2147483646 h 248"/>
                  <a:gd name="T12" fmla="*/ 2147483646 w 272"/>
                  <a:gd name="T13" fmla="*/ 2147483646 h 248"/>
                  <a:gd name="T14" fmla="*/ 2147483646 w 272"/>
                  <a:gd name="T15" fmla="*/ 2147483646 h 248"/>
                  <a:gd name="T16" fmla="*/ 2147483646 w 272"/>
                  <a:gd name="T17" fmla="*/ 2147483646 h 248"/>
                  <a:gd name="T18" fmla="*/ 2147483646 w 272"/>
                  <a:gd name="T19" fmla="*/ 2147483646 h 248"/>
                  <a:gd name="T20" fmla="*/ 2147483646 w 272"/>
                  <a:gd name="T21" fmla="*/ 2147483646 h 248"/>
                  <a:gd name="T22" fmla="*/ 2147483646 w 272"/>
                  <a:gd name="T23" fmla="*/ 2147483646 h 248"/>
                  <a:gd name="T24" fmla="*/ 2147483646 w 272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2" h="248">
                    <a:moveTo>
                      <a:pt x="266" y="0"/>
                    </a:moveTo>
                    <a:cubicBezTo>
                      <a:pt x="266" y="0"/>
                      <a:pt x="258" y="7"/>
                      <a:pt x="226" y="20"/>
                    </a:cubicBezTo>
                    <a:cubicBezTo>
                      <a:pt x="106" y="69"/>
                      <a:pt x="85" y="136"/>
                      <a:pt x="73" y="160"/>
                    </a:cubicBezTo>
                    <a:cubicBezTo>
                      <a:pt x="53" y="194"/>
                      <a:pt x="0" y="188"/>
                      <a:pt x="0" y="188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24" y="248"/>
                      <a:pt x="62" y="245"/>
                      <a:pt x="83" y="238"/>
                    </a:cubicBezTo>
                    <a:cubicBezTo>
                      <a:pt x="105" y="231"/>
                      <a:pt x="123" y="222"/>
                      <a:pt x="135" y="215"/>
                    </a:cubicBezTo>
                    <a:cubicBezTo>
                      <a:pt x="166" y="195"/>
                      <a:pt x="176" y="176"/>
                      <a:pt x="186" y="154"/>
                    </a:cubicBezTo>
                    <a:cubicBezTo>
                      <a:pt x="197" y="133"/>
                      <a:pt x="211" y="113"/>
                      <a:pt x="199" y="103"/>
                    </a:cubicBezTo>
                    <a:cubicBezTo>
                      <a:pt x="188" y="93"/>
                      <a:pt x="141" y="179"/>
                      <a:pt x="136" y="138"/>
                    </a:cubicBezTo>
                    <a:cubicBezTo>
                      <a:pt x="134" y="111"/>
                      <a:pt x="193" y="61"/>
                      <a:pt x="224" y="44"/>
                    </a:cubicBezTo>
                    <a:cubicBezTo>
                      <a:pt x="255" y="28"/>
                      <a:pt x="258" y="28"/>
                      <a:pt x="265" y="19"/>
                    </a:cubicBezTo>
                    <a:cubicBezTo>
                      <a:pt x="272" y="10"/>
                      <a:pt x="266" y="0"/>
                      <a:pt x="26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5" name="Freeform 33"/>
              <p:cNvSpPr/>
              <p:nvPr/>
            </p:nvSpPr>
            <p:spPr bwMode="auto">
              <a:xfrm>
                <a:off x="3232150" y="-3951288"/>
                <a:ext cx="1017588" cy="928687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2147483646 w 271"/>
                  <a:gd name="T7" fmla="*/ 2147483646 h 248"/>
                  <a:gd name="T8" fmla="*/ 2147483646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5" y="0"/>
                    </a:moveTo>
                    <a:cubicBezTo>
                      <a:pt x="5" y="0"/>
                      <a:pt x="13" y="7"/>
                      <a:pt x="45" y="20"/>
                    </a:cubicBezTo>
                    <a:cubicBezTo>
                      <a:pt x="166" y="69"/>
                      <a:pt x="186" y="136"/>
                      <a:pt x="198" y="160"/>
                    </a:cubicBezTo>
                    <a:cubicBezTo>
                      <a:pt x="219" y="194"/>
                      <a:pt x="271" y="188"/>
                      <a:pt x="271" y="188"/>
                    </a:cubicBezTo>
                    <a:cubicBezTo>
                      <a:pt x="271" y="247"/>
                      <a:pt x="271" y="247"/>
                      <a:pt x="271" y="247"/>
                    </a:cubicBezTo>
                    <a:cubicBezTo>
                      <a:pt x="248" y="248"/>
                      <a:pt x="210" y="245"/>
                      <a:pt x="189" y="238"/>
                    </a:cubicBezTo>
                    <a:cubicBezTo>
                      <a:pt x="167" y="231"/>
                      <a:pt x="148" y="222"/>
                      <a:pt x="137" y="215"/>
                    </a:cubicBezTo>
                    <a:cubicBezTo>
                      <a:pt x="105" y="195"/>
                      <a:pt x="96" y="176"/>
                      <a:pt x="85" y="154"/>
                    </a:cubicBezTo>
                    <a:cubicBezTo>
                      <a:pt x="74" y="133"/>
                      <a:pt x="61" y="113"/>
                      <a:pt x="72" y="103"/>
                    </a:cubicBezTo>
                    <a:cubicBezTo>
                      <a:pt x="83" y="93"/>
                      <a:pt x="131" y="179"/>
                      <a:pt x="136" y="138"/>
                    </a:cubicBezTo>
                    <a:cubicBezTo>
                      <a:pt x="138" y="111"/>
                      <a:pt x="78" y="61"/>
                      <a:pt x="47" y="44"/>
                    </a:cubicBezTo>
                    <a:cubicBezTo>
                      <a:pt x="17" y="28"/>
                      <a:pt x="13" y="28"/>
                      <a:pt x="7" y="19"/>
                    </a:cubicBezTo>
                    <a:cubicBezTo>
                      <a:pt x="0" y="1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6" name="Oval 34"/>
              <p:cNvSpPr>
                <a:spLocks noChangeArrowheads="1"/>
              </p:cNvSpPr>
              <p:nvPr/>
            </p:nvSpPr>
            <p:spPr bwMode="auto">
              <a:xfrm>
                <a:off x="2928938" y="-3221038"/>
                <a:ext cx="550863" cy="1762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37" name="Freeform 35"/>
              <p:cNvSpPr/>
              <p:nvPr/>
            </p:nvSpPr>
            <p:spPr bwMode="auto">
              <a:xfrm>
                <a:off x="2925763" y="-2781300"/>
                <a:ext cx="558800" cy="193675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4"/>
                    </a:moveTo>
                    <a:cubicBezTo>
                      <a:pt x="34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4" y="52"/>
                      <a:pt x="75" y="52"/>
                    </a:cubicBezTo>
                    <a:cubicBezTo>
                      <a:pt x="116" y="52"/>
                      <a:pt x="149" y="41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8" name="Freeform 36"/>
              <p:cNvSpPr/>
              <p:nvPr/>
            </p:nvSpPr>
            <p:spPr bwMode="auto">
              <a:xfrm>
                <a:off x="2925763" y="-2628900"/>
                <a:ext cx="558800" cy="195262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3"/>
                    </a:moveTo>
                    <a:cubicBezTo>
                      <a:pt x="34" y="23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4" y="52"/>
                      <a:pt x="75" y="52"/>
                    </a:cubicBezTo>
                    <a:cubicBezTo>
                      <a:pt x="116" y="52"/>
                      <a:pt x="149" y="41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3"/>
                      <a:pt x="75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9" name="Freeform 37"/>
              <p:cNvSpPr/>
              <p:nvPr/>
            </p:nvSpPr>
            <p:spPr bwMode="auto">
              <a:xfrm>
                <a:off x="2925763" y="-2935288"/>
                <a:ext cx="558800" cy="195262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4"/>
                    </a:moveTo>
                    <a:cubicBezTo>
                      <a:pt x="34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2"/>
                      <a:pt x="34" y="52"/>
                      <a:pt x="75" y="52"/>
                    </a:cubicBezTo>
                    <a:cubicBezTo>
                      <a:pt x="116" y="52"/>
                      <a:pt x="149" y="42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0" name="Freeform 38"/>
              <p:cNvSpPr/>
              <p:nvPr/>
            </p:nvSpPr>
            <p:spPr bwMode="auto">
              <a:xfrm>
                <a:off x="2925763" y="-3086100"/>
                <a:ext cx="558800" cy="195262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3"/>
                    </a:moveTo>
                    <a:cubicBezTo>
                      <a:pt x="34" y="23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4" y="52"/>
                      <a:pt x="75" y="52"/>
                    </a:cubicBezTo>
                    <a:cubicBezTo>
                      <a:pt x="116" y="52"/>
                      <a:pt x="149" y="41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3"/>
                      <a:pt x="75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1" name="Freeform 39"/>
              <p:cNvSpPr/>
              <p:nvPr/>
            </p:nvSpPr>
            <p:spPr bwMode="auto">
              <a:xfrm>
                <a:off x="2936875" y="-2481263"/>
                <a:ext cx="554038" cy="198437"/>
              </a:xfrm>
              <a:custGeom>
                <a:avLst/>
                <a:gdLst>
                  <a:gd name="T0" fmla="*/ 2147483646 w 148"/>
                  <a:gd name="T1" fmla="*/ 2147483646 h 53"/>
                  <a:gd name="T2" fmla="*/ 0 w 148"/>
                  <a:gd name="T3" fmla="*/ 0 h 53"/>
                  <a:gd name="T4" fmla="*/ 0 w 148"/>
                  <a:gd name="T5" fmla="*/ 2147483646 h 53"/>
                  <a:gd name="T6" fmla="*/ 2147483646 w 148"/>
                  <a:gd name="T7" fmla="*/ 2147483646 h 53"/>
                  <a:gd name="T8" fmla="*/ 2147483646 w 148"/>
                  <a:gd name="T9" fmla="*/ 2147483646 h 53"/>
                  <a:gd name="T10" fmla="*/ 2147483646 w 148"/>
                  <a:gd name="T11" fmla="*/ 0 h 53"/>
                  <a:gd name="T12" fmla="*/ 2147483646 w 148"/>
                  <a:gd name="T13" fmla="*/ 2147483646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3">
                    <a:moveTo>
                      <a:pt x="74" y="24"/>
                    </a:moveTo>
                    <a:cubicBezTo>
                      <a:pt x="33" y="24"/>
                      <a:pt x="0" y="14"/>
                      <a:pt x="0" y="0"/>
                    </a:cubicBezTo>
                    <a:cubicBezTo>
                      <a:pt x="0" y="6"/>
                      <a:pt x="0" y="23"/>
                      <a:pt x="0" y="29"/>
                    </a:cubicBezTo>
                    <a:cubicBezTo>
                      <a:pt x="0" y="42"/>
                      <a:pt x="33" y="53"/>
                      <a:pt x="74" y="53"/>
                    </a:cubicBezTo>
                    <a:cubicBezTo>
                      <a:pt x="115" y="53"/>
                      <a:pt x="148" y="42"/>
                      <a:pt x="148" y="29"/>
                    </a:cubicBezTo>
                    <a:cubicBezTo>
                      <a:pt x="148" y="23"/>
                      <a:pt x="148" y="6"/>
                      <a:pt x="148" y="0"/>
                    </a:cubicBezTo>
                    <a:cubicBezTo>
                      <a:pt x="148" y="14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2" name="Freeform 40"/>
              <p:cNvSpPr/>
              <p:nvPr/>
            </p:nvSpPr>
            <p:spPr bwMode="auto">
              <a:xfrm>
                <a:off x="2936875" y="-2328863"/>
                <a:ext cx="554038" cy="195262"/>
              </a:xfrm>
              <a:custGeom>
                <a:avLst/>
                <a:gdLst>
                  <a:gd name="T0" fmla="*/ 2147483646 w 148"/>
                  <a:gd name="T1" fmla="*/ 2147483646 h 52"/>
                  <a:gd name="T2" fmla="*/ 0 w 148"/>
                  <a:gd name="T3" fmla="*/ 0 h 52"/>
                  <a:gd name="T4" fmla="*/ 0 w 148"/>
                  <a:gd name="T5" fmla="*/ 2147483646 h 52"/>
                  <a:gd name="T6" fmla="*/ 2147483646 w 148"/>
                  <a:gd name="T7" fmla="*/ 2147483646 h 52"/>
                  <a:gd name="T8" fmla="*/ 2147483646 w 148"/>
                  <a:gd name="T9" fmla="*/ 2147483646 h 52"/>
                  <a:gd name="T10" fmla="*/ 2147483646 w 148"/>
                  <a:gd name="T11" fmla="*/ 0 h 52"/>
                  <a:gd name="T12" fmla="*/ 2147483646 w 148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2">
                    <a:moveTo>
                      <a:pt x="74" y="24"/>
                    </a:moveTo>
                    <a:cubicBezTo>
                      <a:pt x="33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2"/>
                      <a:pt x="33" y="52"/>
                      <a:pt x="74" y="52"/>
                    </a:cubicBezTo>
                    <a:cubicBezTo>
                      <a:pt x="115" y="52"/>
                      <a:pt x="148" y="42"/>
                      <a:pt x="148" y="28"/>
                    </a:cubicBezTo>
                    <a:cubicBezTo>
                      <a:pt x="148" y="23"/>
                      <a:pt x="148" y="5"/>
                      <a:pt x="148" y="0"/>
                    </a:cubicBezTo>
                    <a:cubicBezTo>
                      <a:pt x="148" y="13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3" name="Oval 41"/>
              <p:cNvSpPr>
                <a:spLocks noChangeArrowheads="1"/>
              </p:cNvSpPr>
              <p:nvPr/>
            </p:nvSpPr>
            <p:spPr bwMode="auto">
              <a:xfrm>
                <a:off x="2317750" y="-2921000"/>
                <a:ext cx="550863" cy="1762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44" name="Freeform 42"/>
              <p:cNvSpPr/>
              <p:nvPr/>
            </p:nvSpPr>
            <p:spPr bwMode="auto">
              <a:xfrm>
                <a:off x="2314575" y="-2481263"/>
                <a:ext cx="558800" cy="193675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4"/>
                    </a:moveTo>
                    <a:cubicBezTo>
                      <a:pt x="34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4" y="52"/>
                      <a:pt x="75" y="52"/>
                    </a:cubicBezTo>
                    <a:cubicBezTo>
                      <a:pt x="116" y="52"/>
                      <a:pt x="149" y="41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5" name="Freeform 43"/>
              <p:cNvSpPr/>
              <p:nvPr/>
            </p:nvSpPr>
            <p:spPr bwMode="auto">
              <a:xfrm>
                <a:off x="2314575" y="-2332038"/>
                <a:ext cx="558800" cy="198437"/>
              </a:xfrm>
              <a:custGeom>
                <a:avLst/>
                <a:gdLst>
                  <a:gd name="T0" fmla="*/ 2147483646 w 149"/>
                  <a:gd name="T1" fmla="*/ 2147483646 h 53"/>
                  <a:gd name="T2" fmla="*/ 0 w 149"/>
                  <a:gd name="T3" fmla="*/ 0 h 53"/>
                  <a:gd name="T4" fmla="*/ 0 w 149"/>
                  <a:gd name="T5" fmla="*/ 2147483646 h 53"/>
                  <a:gd name="T6" fmla="*/ 2147483646 w 149"/>
                  <a:gd name="T7" fmla="*/ 2147483646 h 53"/>
                  <a:gd name="T8" fmla="*/ 2147483646 w 149"/>
                  <a:gd name="T9" fmla="*/ 2147483646 h 53"/>
                  <a:gd name="T10" fmla="*/ 2147483646 w 149"/>
                  <a:gd name="T11" fmla="*/ 0 h 53"/>
                  <a:gd name="T12" fmla="*/ 2147483646 w 149"/>
                  <a:gd name="T13" fmla="*/ 2147483646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3">
                    <a:moveTo>
                      <a:pt x="75" y="24"/>
                    </a:moveTo>
                    <a:cubicBezTo>
                      <a:pt x="34" y="24"/>
                      <a:pt x="0" y="14"/>
                      <a:pt x="0" y="0"/>
                    </a:cubicBezTo>
                    <a:cubicBezTo>
                      <a:pt x="0" y="6"/>
                      <a:pt x="0" y="23"/>
                      <a:pt x="0" y="29"/>
                    </a:cubicBezTo>
                    <a:cubicBezTo>
                      <a:pt x="0" y="42"/>
                      <a:pt x="34" y="53"/>
                      <a:pt x="75" y="53"/>
                    </a:cubicBezTo>
                    <a:cubicBezTo>
                      <a:pt x="116" y="53"/>
                      <a:pt x="149" y="42"/>
                      <a:pt x="149" y="29"/>
                    </a:cubicBezTo>
                    <a:cubicBezTo>
                      <a:pt x="149" y="23"/>
                      <a:pt x="149" y="6"/>
                      <a:pt x="149" y="0"/>
                    </a:cubicBezTo>
                    <a:cubicBezTo>
                      <a:pt x="149" y="14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6" name="Freeform 44"/>
              <p:cNvSpPr/>
              <p:nvPr/>
            </p:nvSpPr>
            <p:spPr bwMode="auto">
              <a:xfrm>
                <a:off x="2314575" y="-2635250"/>
                <a:ext cx="558800" cy="195262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4"/>
                    </a:moveTo>
                    <a:cubicBezTo>
                      <a:pt x="34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2"/>
                      <a:pt x="34" y="52"/>
                      <a:pt x="75" y="52"/>
                    </a:cubicBezTo>
                    <a:cubicBezTo>
                      <a:pt x="116" y="52"/>
                      <a:pt x="149" y="42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7" name="Freeform 45"/>
              <p:cNvSpPr/>
              <p:nvPr/>
            </p:nvSpPr>
            <p:spPr bwMode="auto">
              <a:xfrm>
                <a:off x="2314575" y="-2789238"/>
                <a:ext cx="558800" cy="198437"/>
              </a:xfrm>
              <a:custGeom>
                <a:avLst/>
                <a:gdLst>
                  <a:gd name="T0" fmla="*/ 2147483646 w 149"/>
                  <a:gd name="T1" fmla="*/ 2147483646 h 53"/>
                  <a:gd name="T2" fmla="*/ 0 w 149"/>
                  <a:gd name="T3" fmla="*/ 0 h 53"/>
                  <a:gd name="T4" fmla="*/ 0 w 149"/>
                  <a:gd name="T5" fmla="*/ 2147483646 h 53"/>
                  <a:gd name="T6" fmla="*/ 2147483646 w 149"/>
                  <a:gd name="T7" fmla="*/ 2147483646 h 53"/>
                  <a:gd name="T8" fmla="*/ 2147483646 w 149"/>
                  <a:gd name="T9" fmla="*/ 2147483646 h 53"/>
                  <a:gd name="T10" fmla="*/ 2147483646 w 149"/>
                  <a:gd name="T11" fmla="*/ 0 h 53"/>
                  <a:gd name="T12" fmla="*/ 2147483646 w 149"/>
                  <a:gd name="T13" fmla="*/ 2147483646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3">
                    <a:moveTo>
                      <a:pt x="75" y="24"/>
                    </a:moveTo>
                    <a:cubicBezTo>
                      <a:pt x="34" y="24"/>
                      <a:pt x="0" y="14"/>
                      <a:pt x="0" y="0"/>
                    </a:cubicBezTo>
                    <a:cubicBezTo>
                      <a:pt x="0" y="6"/>
                      <a:pt x="0" y="23"/>
                      <a:pt x="0" y="29"/>
                    </a:cubicBezTo>
                    <a:cubicBezTo>
                      <a:pt x="0" y="42"/>
                      <a:pt x="34" y="53"/>
                      <a:pt x="75" y="53"/>
                    </a:cubicBezTo>
                    <a:cubicBezTo>
                      <a:pt x="116" y="53"/>
                      <a:pt x="149" y="42"/>
                      <a:pt x="149" y="29"/>
                    </a:cubicBezTo>
                    <a:cubicBezTo>
                      <a:pt x="149" y="23"/>
                      <a:pt x="149" y="6"/>
                      <a:pt x="149" y="0"/>
                    </a:cubicBezTo>
                    <a:cubicBezTo>
                      <a:pt x="149" y="14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8" name="Oval 46"/>
              <p:cNvSpPr>
                <a:spLocks noChangeArrowheads="1"/>
              </p:cNvSpPr>
              <p:nvPr/>
            </p:nvSpPr>
            <p:spPr bwMode="auto">
              <a:xfrm>
                <a:off x="3540125" y="-2755900"/>
                <a:ext cx="547688" cy="1762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49" name="Freeform 47"/>
              <p:cNvSpPr/>
              <p:nvPr/>
            </p:nvSpPr>
            <p:spPr bwMode="auto">
              <a:xfrm>
                <a:off x="3536950" y="-2320925"/>
                <a:ext cx="554038" cy="198437"/>
              </a:xfrm>
              <a:custGeom>
                <a:avLst/>
                <a:gdLst>
                  <a:gd name="T0" fmla="*/ 2147483646 w 148"/>
                  <a:gd name="T1" fmla="*/ 2147483646 h 53"/>
                  <a:gd name="T2" fmla="*/ 0 w 148"/>
                  <a:gd name="T3" fmla="*/ 0 h 53"/>
                  <a:gd name="T4" fmla="*/ 0 w 148"/>
                  <a:gd name="T5" fmla="*/ 2147483646 h 53"/>
                  <a:gd name="T6" fmla="*/ 2147483646 w 148"/>
                  <a:gd name="T7" fmla="*/ 2147483646 h 53"/>
                  <a:gd name="T8" fmla="*/ 2147483646 w 148"/>
                  <a:gd name="T9" fmla="*/ 2147483646 h 53"/>
                  <a:gd name="T10" fmla="*/ 2147483646 w 148"/>
                  <a:gd name="T11" fmla="*/ 0 h 53"/>
                  <a:gd name="T12" fmla="*/ 2147483646 w 148"/>
                  <a:gd name="T13" fmla="*/ 2147483646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3">
                    <a:moveTo>
                      <a:pt x="74" y="24"/>
                    </a:moveTo>
                    <a:cubicBezTo>
                      <a:pt x="33" y="24"/>
                      <a:pt x="0" y="14"/>
                      <a:pt x="0" y="0"/>
                    </a:cubicBezTo>
                    <a:cubicBezTo>
                      <a:pt x="0" y="6"/>
                      <a:pt x="0" y="23"/>
                      <a:pt x="0" y="29"/>
                    </a:cubicBezTo>
                    <a:cubicBezTo>
                      <a:pt x="0" y="42"/>
                      <a:pt x="33" y="53"/>
                      <a:pt x="74" y="53"/>
                    </a:cubicBezTo>
                    <a:cubicBezTo>
                      <a:pt x="115" y="53"/>
                      <a:pt x="148" y="42"/>
                      <a:pt x="148" y="29"/>
                    </a:cubicBezTo>
                    <a:cubicBezTo>
                      <a:pt x="148" y="23"/>
                      <a:pt x="148" y="6"/>
                      <a:pt x="148" y="0"/>
                    </a:cubicBezTo>
                    <a:cubicBezTo>
                      <a:pt x="148" y="14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50" name="Freeform 48"/>
              <p:cNvSpPr/>
              <p:nvPr/>
            </p:nvSpPr>
            <p:spPr bwMode="auto">
              <a:xfrm>
                <a:off x="3536950" y="-2470150"/>
                <a:ext cx="554038" cy="195262"/>
              </a:xfrm>
              <a:custGeom>
                <a:avLst/>
                <a:gdLst>
                  <a:gd name="T0" fmla="*/ 2147483646 w 148"/>
                  <a:gd name="T1" fmla="*/ 2147483646 h 52"/>
                  <a:gd name="T2" fmla="*/ 0 w 148"/>
                  <a:gd name="T3" fmla="*/ 0 h 52"/>
                  <a:gd name="T4" fmla="*/ 0 w 148"/>
                  <a:gd name="T5" fmla="*/ 2147483646 h 52"/>
                  <a:gd name="T6" fmla="*/ 2147483646 w 148"/>
                  <a:gd name="T7" fmla="*/ 2147483646 h 52"/>
                  <a:gd name="T8" fmla="*/ 2147483646 w 148"/>
                  <a:gd name="T9" fmla="*/ 2147483646 h 52"/>
                  <a:gd name="T10" fmla="*/ 2147483646 w 148"/>
                  <a:gd name="T11" fmla="*/ 0 h 52"/>
                  <a:gd name="T12" fmla="*/ 2147483646 w 148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2">
                    <a:moveTo>
                      <a:pt x="74" y="24"/>
                    </a:moveTo>
                    <a:cubicBezTo>
                      <a:pt x="33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3" y="52"/>
                      <a:pt x="74" y="52"/>
                    </a:cubicBezTo>
                    <a:cubicBezTo>
                      <a:pt x="115" y="52"/>
                      <a:pt x="148" y="41"/>
                      <a:pt x="148" y="28"/>
                    </a:cubicBezTo>
                    <a:cubicBezTo>
                      <a:pt x="148" y="23"/>
                      <a:pt x="148" y="5"/>
                      <a:pt x="148" y="0"/>
                    </a:cubicBezTo>
                    <a:cubicBezTo>
                      <a:pt x="148" y="13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51" name="Freeform 49"/>
              <p:cNvSpPr/>
              <p:nvPr/>
            </p:nvSpPr>
            <p:spPr bwMode="auto">
              <a:xfrm>
                <a:off x="3536950" y="-2624138"/>
                <a:ext cx="554038" cy="195262"/>
              </a:xfrm>
              <a:custGeom>
                <a:avLst/>
                <a:gdLst>
                  <a:gd name="T0" fmla="*/ 2147483646 w 148"/>
                  <a:gd name="T1" fmla="*/ 2147483646 h 52"/>
                  <a:gd name="T2" fmla="*/ 0 w 148"/>
                  <a:gd name="T3" fmla="*/ 0 h 52"/>
                  <a:gd name="T4" fmla="*/ 0 w 148"/>
                  <a:gd name="T5" fmla="*/ 2147483646 h 52"/>
                  <a:gd name="T6" fmla="*/ 2147483646 w 148"/>
                  <a:gd name="T7" fmla="*/ 2147483646 h 52"/>
                  <a:gd name="T8" fmla="*/ 2147483646 w 148"/>
                  <a:gd name="T9" fmla="*/ 2147483646 h 52"/>
                  <a:gd name="T10" fmla="*/ 2147483646 w 148"/>
                  <a:gd name="T11" fmla="*/ 0 h 52"/>
                  <a:gd name="T12" fmla="*/ 2147483646 w 148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2">
                    <a:moveTo>
                      <a:pt x="74" y="24"/>
                    </a:moveTo>
                    <a:cubicBezTo>
                      <a:pt x="33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2"/>
                      <a:pt x="33" y="52"/>
                      <a:pt x="74" y="52"/>
                    </a:cubicBezTo>
                    <a:cubicBezTo>
                      <a:pt x="115" y="52"/>
                      <a:pt x="148" y="42"/>
                      <a:pt x="148" y="28"/>
                    </a:cubicBezTo>
                    <a:cubicBezTo>
                      <a:pt x="148" y="23"/>
                      <a:pt x="148" y="5"/>
                      <a:pt x="148" y="0"/>
                    </a:cubicBezTo>
                    <a:cubicBezTo>
                      <a:pt x="148" y="13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1"/>
          <p:cNvGrpSpPr>
            <a:grpSpLocks noChangeAspect="1"/>
          </p:cNvGrpSpPr>
          <p:nvPr/>
        </p:nvGrpSpPr>
        <p:grpSpPr bwMode="auto">
          <a:xfrm>
            <a:off x="3886200" y="1674813"/>
            <a:ext cx="1198563" cy="1081087"/>
            <a:chOff x="5829151" y="1118736"/>
            <a:chExt cx="1596718" cy="1583801"/>
          </a:xfrm>
        </p:grpSpPr>
        <p:sp>
          <p:nvSpPr>
            <p:cNvPr id="10" name="Freeform 483"/>
            <p:cNvSpPr/>
            <p:nvPr/>
          </p:nvSpPr>
          <p:spPr>
            <a:xfrm rot="18171439">
              <a:off x="6781332" y="1888047"/>
              <a:ext cx="525608" cy="526600"/>
            </a:xfrm>
            <a:custGeom>
              <a:avLst/>
              <a:gdLst>
                <a:gd name="connsiteX0" fmla="*/ 257919 w 428057"/>
                <a:gd name="connsiteY0" fmla="*/ 39169 h 467520"/>
                <a:gd name="connsiteX1" fmla="*/ 165676 w 428057"/>
                <a:gd name="connsiteY1" fmla="*/ 19116 h 467520"/>
                <a:gd name="connsiteX2" fmla="*/ 5255 w 428057"/>
                <a:gd name="connsiteY2" fmla="*/ 263758 h 467520"/>
                <a:gd name="connsiteX3" fmla="*/ 378234 w 428057"/>
                <a:gd name="connsiteY3" fmla="*/ 464284 h 467520"/>
                <a:gd name="connsiteX4" fmla="*/ 398287 w 428057"/>
                <a:gd name="connsiteY4" fmla="*/ 376053 h 467520"/>
                <a:gd name="connsiteX5" fmla="*/ 137603 w 428057"/>
                <a:gd name="connsiteY5" fmla="*/ 223653 h 467520"/>
                <a:gd name="connsiteX6" fmla="*/ 257919 w 428057"/>
                <a:gd name="connsiteY6" fmla="*/ 39169 h 46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057" h="467520">
                  <a:moveTo>
                    <a:pt x="257919" y="39169"/>
                  </a:moveTo>
                  <a:cubicBezTo>
                    <a:pt x="262598" y="5079"/>
                    <a:pt x="207787" y="-18316"/>
                    <a:pt x="165676" y="19116"/>
                  </a:cubicBezTo>
                  <a:cubicBezTo>
                    <a:pt x="123565" y="56548"/>
                    <a:pt x="-30171" y="189563"/>
                    <a:pt x="5255" y="263758"/>
                  </a:cubicBezTo>
                  <a:cubicBezTo>
                    <a:pt x="40681" y="337953"/>
                    <a:pt x="312729" y="445568"/>
                    <a:pt x="378234" y="464284"/>
                  </a:cubicBezTo>
                  <a:cubicBezTo>
                    <a:pt x="443739" y="483000"/>
                    <a:pt x="438392" y="416158"/>
                    <a:pt x="398287" y="376053"/>
                  </a:cubicBezTo>
                  <a:cubicBezTo>
                    <a:pt x="358182" y="335948"/>
                    <a:pt x="159661" y="273116"/>
                    <a:pt x="137603" y="223653"/>
                  </a:cubicBezTo>
                  <a:cubicBezTo>
                    <a:pt x="115545" y="174190"/>
                    <a:pt x="253240" y="73259"/>
                    <a:pt x="257919" y="39169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2B7EA3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9137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1" name="Freeform 484"/>
            <p:cNvSpPr/>
            <p:nvPr/>
          </p:nvSpPr>
          <p:spPr>
            <a:xfrm rot="20653390">
              <a:off x="6398048" y="1828074"/>
              <a:ext cx="547747" cy="874463"/>
            </a:xfrm>
            <a:custGeom>
              <a:avLst/>
              <a:gdLst>
                <a:gd name="connsiteX0" fmla="*/ 7618 w 786386"/>
                <a:gd name="connsiteY0" fmla="*/ 390345 h 548280"/>
                <a:gd name="connsiteX1" fmla="*/ 172049 w 786386"/>
                <a:gd name="connsiteY1" fmla="*/ 53461 h 548280"/>
                <a:gd name="connsiteX2" fmla="*/ 372576 w 786386"/>
                <a:gd name="connsiteY2" fmla="*/ 21377 h 548280"/>
                <a:gd name="connsiteX3" fmla="*/ 657323 w 786386"/>
                <a:gd name="connsiteY3" fmla="*/ 41430 h 548280"/>
                <a:gd name="connsiteX4" fmla="*/ 753576 w 786386"/>
                <a:gd name="connsiteY4" fmla="*/ 490608 h 548280"/>
                <a:gd name="connsiteX5" fmla="*/ 103870 w 786386"/>
                <a:gd name="connsiteY5" fmla="*/ 530714 h 548280"/>
                <a:gd name="connsiteX6" fmla="*/ 7618 w 786386"/>
                <a:gd name="connsiteY6" fmla="*/ 390345 h 548280"/>
                <a:gd name="connsiteX0-1" fmla="*/ 2692 w 781460"/>
                <a:gd name="connsiteY0-2" fmla="*/ 390345 h 538548"/>
                <a:gd name="connsiteX1-3" fmla="*/ 167123 w 781460"/>
                <a:gd name="connsiteY1-4" fmla="*/ 53461 h 538548"/>
                <a:gd name="connsiteX2-5" fmla="*/ 367650 w 781460"/>
                <a:gd name="connsiteY2-6" fmla="*/ 21377 h 538548"/>
                <a:gd name="connsiteX3-7" fmla="*/ 652397 w 781460"/>
                <a:gd name="connsiteY3-8" fmla="*/ 41430 h 538548"/>
                <a:gd name="connsiteX4-9" fmla="*/ 748650 w 781460"/>
                <a:gd name="connsiteY4-10" fmla="*/ 490608 h 538548"/>
                <a:gd name="connsiteX5-11" fmla="*/ 119989 w 781460"/>
                <a:gd name="connsiteY5-12" fmla="*/ 510846 h 538548"/>
                <a:gd name="connsiteX6-13" fmla="*/ 2692 w 781460"/>
                <a:gd name="connsiteY6-14" fmla="*/ 390345 h 538548"/>
                <a:gd name="connsiteX0-15" fmla="*/ 2974 w 793572"/>
                <a:gd name="connsiteY0-16" fmla="*/ 392620 h 562807"/>
                <a:gd name="connsiteX1-17" fmla="*/ 167405 w 793572"/>
                <a:gd name="connsiteY1-18" fmla="*/ 55736 h 562807"/>
                <a:gd name="connsiteX2-19" fmla="*/ 367932 w 793572"/>
                <a:gd name="connsiteY2-20" fmla="*/ 23652 h 562807"/>
                <a:gd name="connsiteX3-21" fmla="*/ 652679 w 793572"/>
                <a:gd name="connsiteY3-22" fmla="*/ 43705 h 562807"/>
                <a:gd name="connsiteX4-23" fmla="*/ 762518 w 793572"/>
                <a:gd name="connsiteY4-24" fmla="*/ 524611 h 562807"/>
                <a:gd name="connsiteX5-25" fmla="*/ 120271 w 793572"/>
                <a:gd name="connsiteY5-26" fmla="*/ 513121 h 562807"/>
                <a:gd name="connsiteX6-27" fmla="*/ 2974 w 793572"/>
                <a:gd name="connsiteY6-28" fmla="*/ 392620 h 56280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793572" h="562807">
                  <a:moveTo>
                    <a:pt x="2974" y="392620"/>
                  </a:moveTo>
                  <a:cubicBezTo>
                    <a:pt x="10830" y="316389"/>
                    <a:pt x="106579" y="117231"/>
                    <a:pt x="167405" y="55736"/>
                  </a:cubicBezTo>
                  <a:cubicBezTo>
                    <a:pt x="228231" y="-5759"/>
                    <a:pt x="287053" y="25657"/>
                    <a:pt x="367932" y="23652"/>
                  </a:cubicBezTo>
                  <a:cubicBezTo>
                    <a:pt x="448811" y="21647"/>
                    <a:pt x="586915" y="-39788"/>
                    <a:pt x="652679" y="43705"/>
                  </a:cubicBezTo>
                  <a:cubicBezTo>
                    <a:pt x="718443" y="127198"/>
                    <a:pt x="854760" y="443064"/>
                    <a:pt x="762518" y="524611"/>
                  </a:cubicBezTo>
                  <a:cubicBezTo>
                    <a:pt x="670276" y="606158"/>
                    <a:pt x="246862" y="535120"/>
                    <a:pt x="120271" y="513121"/>
                  </a:cubicBezTo>
                  <a:cubicBezTo>
                    <a:pt x="-6320" y="491123"/>
                    <a:pt x="-4882" y="468851"/>
                    <a:pt x="2974" y="392620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2B7EA3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9137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Freeform 485"/>
            <p:cNvSpPr/>
            <p:nvPr/>
          </p:nvSpPr>
          <p:spPr>
            <a:xfrm rot="7177662" flipH="1">
              <a:off x="5869839" y="1461788"/>
              <a:ext cx="595379" cy="676754"/>
            </a:xfrm>
            <a:custGeom>
              <a:avLst/>
              <a:gdLst>
                <a:gd name="connsiteX0" fmla="*/ 257919 w 428057"/>
                <a:gd name="connsiteY0" fmla="*/ 39169 h 467520"/>
                <a:gd name="connsiteX1" fmla="*/ 165676 w 428057"/>
                <a:gd name="connsiteY1" fmla="*/ 19116 h 467520"/>
                <a:gd name="connsiteX2" fmla="*/ 5255 w 428057"/>
                <a:gd name="connsiteY2" fmla="*/ 263758 h 467520"/>
                <a:gd name="connsiteX3" fmla="*/ 378234 w 428057"/>
                <a:gd name="connsiteY3" fmla="*/ 464284 h 467520"/>
                <a:gd name="connsiteX4" fmla="*/ 398287 w 428057"/>
                <a:gd name="connsiteY4" fmla="*/ 376053 h 467520"/>
                <a:gd name="connsiteX5" fmla="*/ 137603 w 428057"/>
                <a:gd name="connsiteY5" fmla="*/ 223653 h 467520"/>
                <a:gd name="connsiteX6" fmla="*/ 257919 w 428057"/>
                <a:gd name="connsiteY6" fmla="*/ 39169 h 46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057" h="467520">
                  <a:moveTo>
                    <a:pt x="257919" y="39169"/>
                  </a:moveTo>
                  <a:cubicBezTo>
                    <a:pt x="262598" y="5079"/>
                    <a:pt x="207787" y="-18316"/>
                    <a:pt x="165676" y="19116"/>
                  </a:cubicBezTo>
                  <a:cubicBezTo>
                    <a:pt x="123565" y="56548"/>
                    <a:pt x="-30171" y="189563"/>
                    <a:pt x="5255" y="263758"/>
                  </a:cubicBezTo>
                  <a:cubicBezTo>
                    <a:pt x="40681" y="337953"/>
                    <a:pt x="312729" y="445568"/>
                    <a:pt x="378234" y="464284"/>
                  </a:cubicBezTo>
                  <a:cubicBezTo>
                    <a:pt x="443739" y="483000"/>
                    <a:pt x="438392" y="416158"/>
                    <a:pt x="398287" y="376053"/>
                  </a:cubicBezTo>
                  <a:cubicBezTo>
                    <a:pt x="358182" y="335948"/>
                    <a:pt x="159661" y="273116"/>
                    <a:pt x="137603" y="223653"/>
                  </a:cubicBezTo>
                  <a:cubicBezTo>
                    <a:pt x="115545" y="174190"/>
                    <a:pt x="253240" y="73259"/>
                    <a:pt x="257919" y="39169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2B7EA3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9137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18479" name="Group 486"/>
            <p:cNvGrpSpPr/>
            <p:nvPr/>
          </p:nvGrpSpPr>
          <p:grpSpPr bwMode="auto">
            <a:xfrm>
              <a:off x="6435839" y="1118736"/>
              <a:ext cx="691292" cy="829011"/>
              <a:chOff x="6643400" y="1118736"/>
              <a:chExt cx="691291" cy="829010"/>
            </a:xfrm>
          </p:grpSpPr>
          <p:sp>
            <p:nvSpPr>
              <p:cNvPr id="18" name="Oval 50"/>
              <p:cNvSpPr/>
              <p:nvPr/>
            </p:nvSpPr>
            <p:spPr>
              <a:xfrm>
                <a:off x="6643677" y="1118736"/>
                <a:ext cx="670408" cy="827948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9" name="Freeform 51"/>
              <p:cNvSpPr/>
              <p:nvPr/>
            </p:nvSpPr>
            <p:spPr>
              <a:xfrm rot="11700000">
                <a:off x="6876311" y="1828073"/>
                <a:ext cx="222059" cy="62795"/>
              </a:xfrm>
              <a:custGeom>
                <a:avLst/>
                <a:gdLst>
                  <a:gd name="connsiteX0" fmla="*/ 1805 w 173807"/>
                  <a:gd name="connsiteY0" fmla="*/ 87202 h 109697"/>
                  <a:gd name="connsiteX1" fmla="*/ 132434 w 173807"/>
                  <a:gd name="connsiteY1" fmla="*/ 116 h 109697"/>
                  <a:gd name="connsiteX2" fmla="*/ 170534 w 173807"/>
                  <a:gd name="connsiteY2" fmla="*/ 108974 h 109697"/>
                  <a:gd name="connsiteX3" fmla="*/ 61677 w 173807"/>
                  <a:gd name="connsiteY3" fmla="*/ 49102 h 109697"/>
                  <a:gd name="connsiteX4" fmla="*/ 1805 w 173807"/>
                  <a:gd name="connsiteY4" fmla="*/ 87202 h 109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807" h="109697">
                    <a:moveTo>
                      <a:pt x="1805" y="87202"/>
                    </a:moveTo>
                    <a:cubicBezTo>
                      <a:pt x="13598" y="79038"/>
                      <a:pt x="104312" y="-3513"/>
                      <a:pt x="132434" y="116"/>
                    </a:cubicBezTo>
                    <a:cubicBezTo>
                      <a:pt x="160556" y="3745"/>
                      <a:pt x="182327" y="100810"/>
                      <a:pt x="170534" y="108974"/>
                    </a:cubicBezTo>
                    <a:cubicBezTo>
                      <a:pt x="158741" y="117138"/>
                      <a:pt x="84356" y="53638"/>
                      <a:pt x="61677" y="49102"/>
                    </a:cubicBezTo>
                    <a:cubicBezTo>
                      <a:pt x="38998" y="44566"/>
                      <a:pt x="-9988" y="95366"/>
                      <a:pt x="1805" y="872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" name="Oval 52"/>
              <p:cNvSpPr/>
              <p:nvPr/>
            </p:nvSpPr>
            <p:spPr>
              <a:xfrm flipV="1">
                <a:off x="7159701" y="1609457"/>
                <a:ext cx="67675" cy="5116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1" name="Oval 53"/>
              <p:cNvSpPr/>
              <p:nvPr/>
            </p:nvSpPr>
            <p:spPr>
              <a:xfrm flipV="1">
                <a:off x="7001087" y="1593178"/>
                <a:ext cx="76135" cy="5581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2" name="Oval 54"/>
              <p:cNvSpPr/>
              <p:nvPr/>
            </p:nvSpPr>
            <p:spPr>
              <a:xfrm rot="20591440">
                <a:off x="6912263" y="1537361"/>
                <a:ext cx="175533" cy="14651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3" name="Oval 55"/>
              <p:cNvSpPr/>
              <p:nvPr/>
            </p:nvSpPr>
            <p:spPr>
              <a:xfrm rot="1942495">
                <a:off x="7127978" y="1525732"/>
                <a:ext cx="156499" cy="167450"/>
              </a:xfrm>
              <a:prstGeom prst="ellipse">
                <a:avLst/>
              </a:prstGeom>
              <a:noFill/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4" name="Arc 56"/>
              <p:cNvSpPr/>
              <p:nvPr/>
            </p:nvSpPr>
            <p:spPr>
              <a:xfrm>
                <a:off x="6821325" y="1304792"/>
                <a:ext cx="319342" cy="193032"/>
              </a:xfrm>
              <a:prstGeom prst="arc">
                <a:avLst>
                  <a:gd name="adj1" fmla="val 13507533"/>
                  <a:gd name="adj2" fmla="val 20342173"/>
                </a:avLst>
              </a:prstGeom>
              <a:noFill/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5" name="Arc 57"/>
              <p:cNvSpPr/>
              <p:nvPr/>
            </p:nvSpPr>
            <p:spPr>
              <a:xfrm rot="21172900">
                <a:off x="7140667" y="1316419"/>
                <a:ext cx="194566" cy="148845"/>
              </a:xfrm>
              <a:prstGeom prst="arc">
                <a:avLst>
                  <a:gd name="adj1" fmla="val 13469714"/>
                  <a:gd name="adj2" fmla="val 0"/>
                </a:avLst>
              </a:prstGeom>
              <a:noFill/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8480" name="Group 564"/>
            <p:cNvGrpSpPr/>
            <p:nvPr/>
          </p:nvGrpSpPr>
          <p:grpSpPr bwMode="auto">
            <a:xfrm>
              <a:off x="7075966" y="1722696"/>
              <a:ext cx="349903" cy="450100"/>
              <a:chOff x="2895601" y="490505"/>
              <a:chExt cx="4343400" cy="5587169"/>
            </a:xfrm>
          </p:grpSpPr>
          <p:sp>
            <p:nvSpPr>
              <p:cNvPr id="15" name="Flowchart: Data 12"/>
              <p:cNvSpPr/>
              <p:nvPr/>
            </p:nvSpPr>
            <p:spPr>
              <a:xfrm>
                <a:off x="2907408" y="874762"/>
                <a:ext cx="4331593" cy="4474751"/>
              </a:xfrm>
              <a:custGeom>
                <a:avLst/>
                <a:gdLst>
                  <a:gd name="connsiteX0" fmla="*/ 0 w 10000"/>
                  <a:gd name="connsiteY0" fmla="*/ 10000 h 10000"/>
                  <a:gd name="connsiteX1" fmla="*/ 2000 w 10000"/>
                  <a:gd name="connsiteY1" fmla="*/ 0 h 10000"/>
                  <a:gd name="connsiteX2" fmla="*/ 10000 w 10000"/>
                  <a:gd name="connsiteY2" fmla="*/ 0 h 10000"/>
                  <a:gd name="connsiteX3" fmla="*/ 8000 w 10000"/>
                  <a:gd name="connsiteY3" fmla="*/ 10000 h 10000"/>
                  <a:gd name="connsiteX4" fmla="*/ 0 w 10000"/>
                  <a:gd name="connsiteY4" fmla="*/ 10000 h 10000"/>
                  <a:gd name="connsiteX0-1" fmla="*/ 0 w 10000"/>
                  <a:gd name="connsiteY0-2" fmla="*/ 10157 h 10157"/>
                  <a:gd name="connsiteX1-3" fmla="*/ 2841 w 10000"/>
                  <a:gd name="connsiteY1-4" fmla="*/ 0 h 10157"/>
                  <a:gd name="connsiteX2-5" fmla="*/ 10000 w 10000"/>
                  <a:gd name="connsiteY2-6" fmla="*/ 157 h 10157"/>
                  <a:gd name="connsiteX3-7" fmla="*/ 8000 w 10000"/>
                  <a:gd name="connsiteY3-8" fmla="*/ 10157 h 10157"/>
                  <a:gd name="connsiteX4-9" fmla="*/ 0 w 10000"/>
                  <a:gd name="connsiteY4-10" fmla="*/ 10157 h 10157"/>
                  <a:gd name="connsiteX0-11" fmla="*/ 0 w 11681"/>
                  <a:gd name="connsiteY0-12" fmla="*/ 10157 h 10157"/>
                  <a:gd name="connsiteX1-13" fmla="*/ 2841 w 11681"/>
                  <a:gd name="connsiteY1-14" fmla="*/ 0 h 10157"/>
                  <a:gd name="connsiteX2-15" fmla="*/ 11681 w 11681"/>
                  <a:gd name="connsiteY2-16" fmla="*/ 0 h 10157"/>
                  <a:gd name="connsiteX3-17" fmla="*/ 8000 w 11681"/>
                  <a:gd name="connsiteY3-18" fmla="*/ 10157 h 10157"/>
                  <a:gd name="connsiteX4-19" fmla="*/ 0 w 11681"/>
                  <a:gd name="connsiteY4-20" fmla="*/ 10157 h 10157"/>
                  <a:gd name="connsiteX0-21" fmla="*/ 0 w 11681"/>
                  <a:gd name="connsiteY0-22" fmla="*/ 10157 h 10157"/>
                  <a:gd name="connsiteX1-23" fmla="*/ 4942 w 11681"/>
                  <a:gd name="connsiteY1-24" fmla="*/ 0 h 10157"/>
                  <a:gd name="connsiteX2-25" fmla="*/ 11681 w 11681"/>
                  <a:gd name="connsiteY2-26" fmla="*/ 0 h 10157"/>
                  <a:gd name="connsiteX3-27" fmla="*/ 8000 w 11681"/>
                  <a:gd name="connsiteY3-28" fmla="*/ 10157 h 10157"/>
                  <a:gd name="connsiteX4-29" fmla="*/ 0 w 11681"/>
                  <a:gd name="connsiteY4-30" fmla="*/ 10157 h 10157"/>
                  <a:gd name="connsiteX0-31" fmla="*/ 0 w 13572"/>
                  <a:gd name="connsiteY0-32" fmla="*/ 10157 h 10157"/>
                  <a:gd name="connsiteX1-33" fmla="*/ 4942 w 13572"/>
                  <a:gd name="connsiteY1-34" fmla="*/ 0 h 10157"/>
                  <a:gd name="connsiteX2-35" fmla="*/ 13572 w 13572"/>
                  <a:gd name="connsiteY2-36" fmla="*/ 0 h 10157"/>
                  <a:gd name="connsiteX3-37" fmla="*/ 8000 w 13572"/>
                  <a:gd name="connsiteY3-38" fmla="*/ 10157 h 10157"/>
                  <a:gd name="connsiteX4-39" fmla="*/ 0 w 13572"/>
                  <a:gd name="connsiteY4-40" fmla="*/ 10157 h 10157"/>
                  <a:gd name="connsiteX0-41" fmla="*/ 0 w 12521"/>
                  <a:gd name="connsiteY0-42" fmla="*/ 10314 h 10314"/>
                  <a:gd name="connsiteX1-43" fmla="*/ 4942 w 12521"/>
                  <a:gd name="connsiteY1-44" fmla="*/ 157 h 10314"/>
                  <a:gd name="connsiteX2-45" fmla="*/ 12521 w 12521"/>
                  <a:gd name="connsiteY2-46" fmla="*/ 0 h 10314"/>
                  <a:gd name="connsiteX3-47" fmla="*/ 8000 w 12521"/>
                  <a:gd name="connsiteY3-48" fmla="*/ 10314 h 10314"/>
                  <a:gd name="connsiteX4-49" fmla="*/ 0 w 12521"/>
                  <a:gd name="connsiteY4-50" fmla="*/ 10314 h 10314"/>
                  <a:gd name="connsiteX0-51" fmla="*/ 0 w 13151"/>
                  <a:gd name="connsiteY0-52" fmla="*/ 10157 h 10157"/>
                  <a:gd name="connsiteX1-53" fmla="*/ 4942 w 13151"/>
                  <a:gd name="connsiteY1-54" fmla="*/ 0 h 10157"/>
                  <a:gd name="connsiteX2-55" fmla="*/ 13151 w 13151"/>
                  <a:gd name="connsiteY2-56" fmla="*/ 157 h 10157"/>
                  <a:gd name="connsiteX3-57" fmla="*/ 8000 w 13151"/>
                  <a:gd name="connsiteY3-58" fmla="*/ 10157 h 10157"/>
                  <a:gd name="connsiteX4-59" fmla="*/ 0 w 13151"/>
                  <a:gd name="connsiteY4-60" fmla="*/ 10157 h 10157"/>
                  <a:gd name="connsiteX0-61" fmla="*/ 0 w 12310"/>
                  <a:gd name="connsiteY0-62" fmla="*/ 10157 h 10157"/>
                  <a:gd name="connsiteX1-63" fmla="*/ 4942 w 12310"/>
                  <a:gd name="connsiteY1-64" fmla="*/ 0 h 10157"/>
                  <a:gd name="connsiteX2-65" fmla="*/ 12310 w 12310"/>
                  <a:gd name="connsiteY2-66" fmla="*/ 314 h 10157"/>
                  <a:gd name="connsiteX3-67" fmla="*/ 8000 w 12310"/>
                  <a:gd name="connsiteY3-68" fmla="*/ 10157 h 10157"/>
                  <a:gd name="connsiteX4-69" fmla="*/ 0 w 12310"/>
                  <a:gd name="connsiteY4-70" fmla="*/ 10157 h 10157"/>
                  <a:gd name="connsiteX0-71" fmla="*/ 0 w 12940"/>
                  <a:gd name="connsiteY0-72" fmla="*/ 10157 h 10157"/>
                  <a:gd name="connsiteX1-73" fmla="*/ 4942 w 12940"/>
                  <a:gd name="connsiteY1-74" fmla="*/ 0 h 10157"/>
                  <a:gd name="connsiteX2-75" fmla="*/ 12940 w 12940"/>
                  <a:gd name="connsiteY2-76" fmla="*/ 314 h 10157"/>
                  <a:gd name="connsiteX3-77" fmla="*/ 8000 w 12940"/>
                  <a:gd name="connsiteY3-78" fmla="*/ 10157 h 10157"/>
                  <a:gd name="connsiteX4-79" fmla="*/ 0 w 12940"/>
                  <a:gd name="connsiteY4-80" fmla="*/ 10157 h 10157"/>
                  <a:gd name="connsiteX0-81" fmla="*/ 0 w 13152"/>
                  <a:gd name="connsiteY0-82" fmla="*/ 10213 h 10213"/>
                  <a:gd name="connsiteX1-83" fmla="*/ 4942 w 13152"/>
                  <a:gd name="connsiteY1-84" fmla="*/ 56 h 10213"/>
                  <a:gd name="connsiteX2-85" fmla="*/ 13152 w 13152"/>
                  <a:gd name="connsiteY2-86" fmla="*/ 0 h 10213"/>
                  <a:gd name="connsiteX3-87" fmla="*/ 8000 w 13152"/>
                  <a:gd name="connsiteY3-88" fmla="*/ 10213 h 10213"/>
                  <a:gd name="connsiteX4-89" fmla="*/ 0 w 13152"/>
                  <a:gd name="connsiteY4-90" fmla="*/ 10213 h 10213"/>
                  <a:gd name="connsiteX0-91" fmla="*/ 0 w 13176"/>
                  <a:gd name="connsiteY0-92" fmla="*/ 10157 h 10157"/>
                  <a:gd name="connsiteX1-93" fmla="*/ 4942 w 13176"/>
                  <a:gd name="connsiteY1-94" fmla="*/ 0 h 10157"/>
                  <a:gd name="connsiteX2-95" fmla="*/ 13176 w 13176"/>
                  <a:gd name="connsiteY2-96" fmla="*/ 14 h 10157"/>
                  <a:gd name="connsiteX3-97" fmla="*/ 8000 w 13176"/>
                  <a:gd name="connsiteY3-98" fmla="*/ 10157 h 10157"/>
                  <a:gd name="connsiteX4-99" fmla="*/ 0 w 13176"/>
                  <a:gd name="connsiteY4-100" fmla="*/ 10157 h 1015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3176" h="10157">
                    <a:moveTo>
                      <a:pt x="0" y="10157"/>
                    </a:moveTo>
                    <a:lnTo>
                      <a:pt x="4942" y="0"/>
                    </a:lnTo>
                    <a:lnTo>
                      <a:pt x="13176" y="14"/>
                    </a:lnTo>
                    <a:lnTo>
                      <a:pt x="8000" y="10157"/>
                    </a:lnTo>
                    <a:lnTo>
                      <a:pt x="0" y="10157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6" name="Freeform 48"/>
              <p:cNvSpPr/>
              <p:nvPr/>
            </p:nvSpPr>
            <p:spPr>
              <a:xfrm rot="4053129">
                <a:off x="5184959" y="-19186"/>
                <a:ext cx="1299109" cy="2336422"/>
              </a:xfrm>
              <a:custGeom>
                <a:avLst/>
                <a:gdLst>
                  <a:gd name="connsiteX0" fmla="*/ 106586 w 131404"/>
                  <a:gd name="connsiteY0" fmla="*/ 0 h 275720"/>
                  <a:gd name="connsiteX1" fmla="*/ 129025 w 131404"/>
                  <a:gd name="connsiteY1" fmla="*/ 56098 h 275720"/>
                  <a:gd name="connsiteX2" fmla="*/ 56098 w 131404"/>
                  <a:gd name="connsiteY2" fmla="*/ 246832 h 275720"/>
                  <a:gd name="connsiteX3" fmla="*/ 0 w 131404"/>
                  <a:gd name="connsiteY3" fmla="*/ 274881 h 275720"/>
                  <a:gd name="connsiteX0-1" fmla="*/ 106586 w 133956"/>
                  <a:gd name="connsiteY0-2" fmla="*/ 0 h 276063"/>
                  <a:gd name="connsiteX1-3" fmla="*/ 131829 w 133956"/>
                  <a:gd name="connsiteY1-4" fmla="*/ 46708 h 276063"/>
                  <a:gd name="connsiteX2-5" fmla="*/ 56098 w 133956"/>
                  <a:gd name="connsiteY2-6" fmla="*/ 246832 h 276063"/>
                  <a:gd name="connsiteX3-7" fmla="*/ 0 w 133956"/>
                  <a:gd name="connsiteY3-8" fmla="*/ 274881 h 276063"/>
                  <a:gd name="connsiteX0-9" fmla="*/ 106586 w 134652"/>
                  <a:gd name="connsiteY0-10" fmla="*/ 0 h 276063"/>
                  <a:gd name="connsiteX1-11" fmla="*/ 131829 w 134652"/>
                  <a:gd name="connsiteY1-12" fmla="*/ 46708 h 276063"/>
                  <a:gd name="connsiteX2-13" fmla="*/ 56098 w 134652"/>
                  <a:gd name="connsiteY2-14" fmla="*/ 246832 h 276063"/>
                  <a:gd name="connsiteX3-15" fmla="*/ 0 w 134652"/>
                  <a:gd name="connsiteY3-16" fmla="*/ 274881 h 276063"/>
                  <a:gd name="connsiteX0-17" fmla="*/ 106586 w 134652"/>
                  <a:gd name="connsiteY0-18" fmla="*/ 0 h 275877"/>
                  <a:gd name="connsiteX1-19" fmla="*/ 131829 w 134652"/>
                  <a:gd name="connsiteY1-20" fmla="*/ 46708 h 275877"/>
                  <a:gd name="connsiteX2-21" fmla="*/ 56098 w 134652"/>
                  <a:gd name="connsiteY2-22" fmla="*/ 246832 h 275877"/>
                  <a:gd name="connsiteX3-23" fmla="*/ 0 w 134652"/>
                  <a:gd name="connsiteY3-24" fmla="*/ 274881 h 27587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</a:cxnLst>
                <a:rect l="l" t="t" r="r" b="b"/>
                <a:pathLst>
                  <a:path w="134652" h="275877">
                    <a:moveTo>
                      <a:pt x="106586" y="0"/>
                    </a:moveTo>
                    <a:cubicBezTo>
                      <a:pt x="122013" y="7479"/>
                      <a:pt x="142144" y="10735"/>
                      <a:pt x="131829" y="46708"/>
                    </a:cubicBezTo>
                    <a:cubicBezTo>
                      <a:pt x="121514" y="82681"/>
                      <a:pt x="75243" y="209624"/>
                      <a:pt x="56098" y="246832"/>
                    </a:cubicBezTo>
                    <a:cubicBezTo>
                      <a:pt x="36953" y="284040"/>
                      <a:pt x="0" y="274881"/>
                      <a:pt x="0" y="274881"/>
                    </a:cubicBezTo>
                  </a:path>
                </a:pathLst>
              </a:custGeom>
              <a:noFill/>
              <a:ln w="635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7" name="Freeform 49"/>
              <p:cNvSpPr/>
              <p:nvPr/>
            </p:nvSpPr>
            <p:spPr>
              <a:xfrm rot="4053129">
                <a:off x="3664958" y="4229828"/>
                <a:ext cx="1241371" cy="2441447"/>
              </a:xfrm>
              <a:custGeom>
                <a:avLst/>
                <a:gdLst>
                  <a:gd name="connsiteX0" fmla="*/ 106586 w 131404"/>
                  <a:gd name="connsiteY0" fmla="*/ 0 h 275720"/>
                  <a:gd name="connsiteX1" fmla="*/ 129025 w 131404"/>
                  <a:gd name="connsiteY1" fmla="*/ 56098 h 275720"/>
                  <a:gd name="connsiteX2" fmla="*/ 56098 w 131404"/>
                  <a:gd name="connsiteY2" fmla="*/ 246832 h 275720"/>
                  <a:gd name="connsiteX3" fmla="*/ 0 w 131404"/>
                  <a:gd name="connsiteY3" fmla="*/ 274881 h 275720"/>
                  <a:gd name="connsiteX0-1" fmla="*/ 106586 w 133956"/>
                  <a:gd name="connsiteY0-2" fmla="*/ 0 h 276063"/>
                  <a:gd name="connsiteX1-3" fmla="*/ 131829 w 133956"/>
                  <a:gd name="connsiteY1-4" fmla="*/ 46708 h 276063"/>
                  <a:gd name="connsiteX2-5" fmla="*/ 56098 w 133956"/>
                  <a:gd name="connsiteY2-6" fmla="*/ 246832 h 276063"/>
                  <a:gd name="connsiteX3-7" fmla="*/ 0 w 133956"/>
                  <a:gd name="connsiteY3-8" fmla="*/ 274881 h 276063"/>
                  <a:gd name="connsiteX0-9" fmla="*/ 106586 w 134652"/>
                  <a:gd name="connsiteY0-10" fmla="*/ 0 h 276063"/>
                  <a:gd name="connsiteX1-11" fmla="*/ 131829 w 134652"/>
                  <a:gd name="connsiteY1-12" fmla="*/ 46708 h 276063"/>
                  <a:gd name="connsiteX2-13" fmla="*/ 56098 w 134652"/>
                  <a:gd name="connsiteY2-14" fmla="*/ 246832 h 276063"/>
                  <a:gd name="connsiteX3-15" fmla="*/ 0 w 134652"/>
                  <a:gd name="connsiteY3-16" fmla="*/ 274881 h 276063"/>
                  <a:gd name="connsiteX0-17" fmla="*/ 106586 w 134652"/>
                  <a:gd name="connsiteY0-18" fmla="*/ 0 h 275877"/>
                  <a:gd name="connsiteX1-19" fmla="*/ 131829 w 134652"/>
                  <a:gd name="connsiteY1-20" fmla="*/ 46708 h 275877"/>
                  <a:gd name="connsiteX2-21" fmla="*/ 56098 w 134652"/>
                  <a:gd name="connsiteY2-22" fmla="*/ 246832 h 275877"/>
                  <a:gd name="connsiteX3-23" fmla="*/ 0 w 134652"/>
                  <a:gd name="connsiteY3-24" fmla="*/ 274881 h 275877"/>
                  <a:gd name="connsiteX0-25" fmla="*/ 104757 w 133713"/>
                  <a:gd name="connsiteY0-26" fmla="*/ 0 h 288142"/>
                  <a:gd name="connsiteX1-27" fmla="*/ 131829 w 133713"/>
                  <a:gd name="connsiteY1-28" fmla="*/ 58973 h 288142"/>
                  <a:gd name="connsiteX2-29" fmla="*/ 56098 w 133713"/>
                  <a:gd name="connsiteY2-30" fmla="*/ 259097 h 288142"/>
                  <a:gd name="connsiteX3-31" fmla="*/ 0 w 133713"/>
                  <a:gd name="connsiteY3-32" fmla="*/ 287146 h 288142"/>
                  <a:gd name="connsiteX0-33" fmla="*/ 104757 w 133649"/>
                  <a:gd name="connsiteY0-34" fmla="*/ 0 h 288142"/>
                  <a:gd name="connsiteX1-35" fmla="*/ 131829 w 133649"/>
                  <a:gd name="connsiteY1-36" fmla="*/ 58973 h 288142"/>
                  <a:gd name="connsiteX2-37" fmla="*/ 56098 w 133649"/>
                  <a:gd name="connsiteY2-38" fmla="*/ 259097 h 288142"/>
                  <a:gd name="connsiteX3-39" fmla="*/ 0 w 133649"/>
                  <a:gd name="connsiteY3-40" fmla="*/ 287146 h 288142"/>
                  <a:gd name="connsiteX0-41" fmla="*/ 104757 w 130312"/>
                  <a:gd name="connsiteY0-42" fmla="*/ 0 h 287856"/>
                  <a:gd name="connsiteX1-43" fmla="*/ 128227 w 130312"/>
                  <a:gd name="connsiteY1-44" fmla="*/ 72271 h 287856"/>
                  <a:gd name="connsiteX2-45" fmla="*/ 56098 w 130312"/>
                  <a:gd name="connsiteY2-46" fmla="*/ 259097 h 287856"/>
                  <a:gd name="connsiteX3-47" fmla="*/ 0 w 130312"/>
                  <a:gd name="connsiteY3-48" fmla="*/ 287146 h 287856"/>
                  <a:gd name="connsiteX0-49" fmla="*/ 104757 w 130269"/>
                  <a:gd name="connsiteY0-50" fmla="*/ 0 h 287856"/>
                  <a:gd name="connsiteX1-51" fmla="*/ 128227 w 130269"/>
                  <a:gd name="connsiteY1-52" fmla="*/ 72271 h 287856"/>
                  <a:gd name="connsiteX2-53" fmla="*/ 56098 w 130269"/>
                  <a:gd name="connsiteY2-54" fmla="*/ 259097 h 287856"/>
                  <a:gd name="connsiteX3-55" fmla="*/ 0 w 130269"/>
                  <a:gd name="connsiteY3-56" fmla="*/ 287146 h 287856"/>
                  <a:gd name="connsiteX0-57" fmla="*/ 104757 w 130950"/>
                  <a:gd name="connsiteY0-58" fmla="*/ 0 h 288163"/>
                  <a:gd name="connsiteX1-59" fmla="*/ 128967 w 130950"/>
                  <a:gd name="connsiteY1-60" fmla="*/ 63344 h 288163"/>
                  <a:gd name="connsiteX2-61" fmla="*/ 56098 w 130950"/>
                  <a:gd name="connsiteY2-62" fmla="*/ 259097 h 288163"/>
                  <a:gd name="connsiteX3-63" fmla="*/ 0 w 130950"/>
                  <a:gd name="connsiteY3-64" fmla="*/ 287146 h 288163"/>
                  <a:gd name="connsiteX0-65" fmla="*/ 104757 w 131979"/>
                  <a:gd name="connsiteY0-66" fmla="*/ 0 h 288163"/>
                  <a:gd name="connsiteX1-67" fmla="*/ 128967 w 131979"/>
                  <a:gd name="connsiteY1-68" fmla="*/ 63344 h 288163"/>
                  <a:gd name="connsiteX2-69" fmla="*/ 56098 w 131979"/>
                  <a:gd name="connsiteY2-70" fmla="*/ 259097 h 288163"/>
                  <a:gd name="connsiteX3-71" fmla="*/ 0 w 131979"/>
                  <a:gd name="connsiteY3-72" fmla="*/ 287146 h 288163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</a:cxnLst>
                <a:rect l="l" t="t" r="r" b="b"/>
                <a:pathLst>
                  <a:path w="131979" h="288163">
                    <a:moveTo>
                      <a:pt x="104757" y="0"/>
                    </a:moveTo>
                    <a:cubicBezTo>
                      <a:pt x="119163" y="11995"/>
                      <a:pt x="139762" y="33538"/>
                      <a:pt x="128967" y="63344"/>
                    </a:cubicBezTo>
                    <a:cubicBezTo>
                      <a:pt x="118172" y="93150"/>
                      <a:pt x="77593" y="221797"/>
                      <a:pt x="56098" y="259097"/>
                    </a:cubicBezTo>
                    <a:cubicBezTo>
                      <a:pt x="34604" y="296397"/>
                      <a:pt x="0" y="287146"/>
                      <a:pt x="0" y="287146"/>
                    </a:cubicBezTo>
                  </a:path>
                </a:pathLst>
              </a:custGeom>
              <a:solidFill>
                <a:sysClr val="window" lastClr="FFFFFF"/>
              </a:solidFill>
              <a:ln w="28575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</p:grpSp>
      <p:sp>
        <p:nvSpPr>
          <p:cNvPr id="7" name="Rectangle 3"/>
          <p:cNvSpPr/>
          <p:nvPr/>
        </p:nvSpPr>
        <p:spPr bwMode="auto">
          <a:xfrm>
            <a:off x="107950" y="2787650"/>
            <a:ext cx="4465638" cy="963613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40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Rectangle 4"/>
          <p:cNvSpPr/>
          <p:nvPr/>
        </p:nvSpPr>
        <p:spPr bwMode="auto">
          <a:xfrm>
            <a:off x="4575175" y="2787650"/>
            <a:ext cx="4465638" cy="963613"/>
          </a:xfrm>
          <a:prstGeom prst="rect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40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Left Brace 60"/>
          <p:cNvSpPr/>
          <p:nvPr/>
        </p:nvSpPr>
        <p:spPr>
          <a:xfrm rot="16200000">
            <a:off x="2176462" y="1792288"/>
            <a:ext cx="328613" cy="4465638"/>
          </a:xfrm>
          <a:prstGeom prst="leftBrace">
            <a:avLst/>
          </a:prstGeom>
          <a:ln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0" name="Left Brace 61"/>
          <p:cNvSpPr/>
          <p:nvPr/>
        </p:nvSpPr>
        <p:spPr>
          <a:xfrm rot="16200000">
            <a:off x="6654800" y="1792288"/>
            <a:ext cx="328613" cy="4465637"/>
          </a:xfrm>
          <a:prstGeom prst="leftBrace">
            <a:avLst/>
          </a:prstGeom>
          <a:ln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547813" y="4179888"/>
            <a:ext cx="1368425" cy="554037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ctr">
              <a:defRPr sz="40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solidFill>
                  <a:prstClr val="white"/>
                </a:solidFill>
              </a:rPr>
              <a:t>添加文字</a:t>
            </a: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172200" y="4189413"/>
            <a:ext cx="1352550" cy="573087"/>
          </a:xfrm>
          <a:prstGeom prst="rect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</a:rPr>
              <a:t>添加文字</a:t>
            </a: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 bwMode="auto">
          <a:xfrm>
            <a:off x="4508500" y="555625"/>
            <a:ext cx="3592513" cy="1311275"/>
            <a:chOff x="4508590" y="555526"/>
            <a:chExt cx="3591802" cy="1311002"/>
          </a:xfrm>
        </p:grpSpPr>
        <p:sp>
          <p:nvSpPr>
            <p:cNvPr id="26" name="Oval Callout 58"/>
            <p:cNvSpPr/>
            <p:nvPr/>
          </p:nvSpPr>
          <p:spPr bwMode="auto">
            <a:xfrm>
              <a:off x="4653024" y="580921"/>
              <a:ext cx="3447368" cy="1285607"/>
            </a:xfrm>
            <a:prstGeom prst="wedgeEllipseCallout">
              <a:avLst>
                <a:gd name="adj1" fmla="val -24148"/>
                <a:gd name="adj2" fmla="val 58819"/>
              </a:avLst>
            </a:pr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prstClr val="white"/>
                  </a:solidFill>
                </a:rPr>
                <a:t>Yay, we’re done!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7" name="Oval Callout 59"/>
            <p:cNvSpPr/>
            <p:nvPr/>
          </p:nvSpPr>
          <p:spPr bwMode="auto">
            <a:xfrm>
              <a:off x="4508590" y="555526"/>
              <a:ext cx="3447368" cy="1207836"/>
            </a:xfrm>
            <a:prstGeom prst="wedgeEllipseCallout">
              <a:avLst/>
            </a:prstGeom>
            <a:ln>
              <a:solidFill>
                <a:srgbClr val="FBB040"/>
              </a:solidFill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182812" tIns="146249" rIns="182812" bIns="146249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90000"/>
                </a:lnSpc>
                <a:defRPr/>
              </a:pPr>
              <a:endParaRPr lang="en-US" altLang="zh-CN" sz="3600" smtClean="0">
                <a:solidFill>
                  <a:srgbClr val="EEECE1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18475" name="TextBox 33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22589" y="841140"/>
              <a:ext cx="2870738" cy="615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78" tIns="46639" rIns="93278" bIns="46639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8" name="Freeform 51"/>
          <p:cNvSpPr>
            <a:spLocks noEditPoints="1"/>
          </p:cNvSpPr>
          <p:nvPr/>
        </p:nvSpPr>
        <p:spPr bwMode="auto">
          <a:xfrm rot="10800000" flipH="1" flipV="1">
            <a:off x="396875" y="3163888"/>
            <a:ext cx="231775" cy="209550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9" name="Freeform 51"/>
          <p:cNvSpPr>
            <a:spLocks noEditPoints="1"/>
          </p:cNvSpPr>
          <p:nvPr/>
        </p:nvSpPr>
        <p:spPr bwMode="auto">
          <a:xfrm rot="10800000" flipH="1" flipV="1">
            <a:off x="4838700" y="3163888"/>
            <a:ext cx="230188" cy="209550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18444" name="组合 60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63" name="矩形 62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8469" name="组合 64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471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8472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69" name="组合 68"/>
          <p:cNvGrpSpPr/>
          <p:nvPr/>
        </p:nvGrpSpPr>
        <p:grpSpPr bwMode="auto">
          <a:xfrm>
            <a:off x="3594100" y="2897188"/>
            <a:ext cx="747713" cy="744537"/>
            <a:chOff x="515938" y="-2552700"/>
            <a:chExt cx="2576513" cy="2571750"/>
          </a:xfrm>
        </p:grpSpPr>
        <p:sp>
          <p:nvSpPr>
            <p:cNvPr id="70" name="Freeform 6"/>
            <p:cNvSpPr/>
            <p:nvPr/>
          </p:nvSpPr>
          <p:spPr bwMode="auto">
            <a:xfrm>
              <a:off x="515938" y="-2552700"/>
              <a:ext cx="2576513" cy="2571750"/>
            </a:xfrm>
            <a:custGeom>
              <a:avLst/>
              <a:gdLst>
                <a:gd name="T0" fmla="*/ 0 w 687"/>
                <a:gd name="T1" fmla="*/ 624 h 686"/>
                <a:gd name="T2" fmla="*/ 62 w 687"/>
                <a:gd name="T3" fmla="*/ 686 h 686"/>
                <a:gd name="T4" fmla="*/ 624 w 687"/>
                <a:gd name="T5" fmla="*/ 686 h 686"/>
                <a:gd name="T6" fmla="*/ 687 w 687"/>
                <a:gd name="T7" fmla="*/ 624 h 686"/>
                <a:gd name="T8" fmla="*/ 687 w 687"/>
                <a:gd name="T9" fmla="*/ 62 h 686"/>
                <a:gd name="T10" fmla="*/ 624 w 687"/>
                <a:gd name="T11" fmla="*/ 0 h 686"/>
                <a:gd name="T12" fmla="*/ 62 w 687"/>
                <a:gd name="T13" fmla="*/ 0 h 686"/>
                <a:gd name="T14" fmla="*/ 0 w 687"/>
                <a:gd name="T15" fmla="*/ 62 h 686"/>
                <a:gd name="T16" fmla="*/ 0 w 687"/>
                <a:gd name="T17" fmla="*/ 62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6">
                  <a:moveTo>
                    <a:pt x="0" y="624"/>
                  </a:moveTo>
                  <a:cubicBezTo>
                    <a:pt x="0" y="659"/>
                    <a:pt x="28" y="686"/>
                    <a:pt x="62" y="686"/>
                  </a:cubicBezTo>
                  <a:cubicBezTo>
                    <a:pt x="624" y="686"/>
                    <a:pt x="624" y="686"/>
                    <a:pt x="624" y="686"/>
                  </a:cubicBezTo>
                  <a:cubicBezTo>
                    <a:pt x="659" y="686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62" name="Freeform 7"/>
            <p:cNvSpPr/>
            <p:nvPr/>
          </p:nvSpPr>
          <p:spPr bwMode="auto">
            <a:xfrm>
              <a:off x="650876" y="-1949450"/>
              <a:ext cx="2441575" cy="1968500"/>
            </a:xfrm>
            <a:custGeom>
              <a:avLst/>
              <a:gdLst>
                <a:gd name="T0" fmla="*/ 2147483646 w 651"/>
                <a:gd name="T1" fmla="*/ 2147483646 h 525"/>
                <a:gd name="T2" fmla="*/ 2147483646 w 651"/>
                <a:gd name="T3" fmla="*/ 2147483646 h 525"/>
                <a:gd name="T4" fmla="*/ 2147483646 w 651"/>
                <a:gd name="T5" fmla="*/ 0 h 525"/>
                <a:gd name="T6" fmla="*/ 2147483646 w 651"/>
                <a:gd name="T7" fmla="*/ 2147483646 h 525"/>
                <a:gd name="T8" fmla="*/ 2147483646 w 651"/>
                <a:gd name="T9" fmla="*/ 2147483646 h 525"/>
                <a:gd name="T10" fmla="*/ 0 w 651"/>
                <a:gd name="T11" fmla="*/ 2147483646 h 525"/>
                <a:gd name="T12" fmla="*/ 2147483646 w 651"/>
                <a:gd name="T13" fmla="*/ 2147483646 h 525"/>
                <a:gd name="T14" fmla="*/ 2147483646 w 651"/>
                <a:gd name="T15" fmla="*/ 2147483646 h 525"/>
                <a:gd name="T16" fmla="*/ 2147483646 w 651"/>
                <a:gd name="T17" fmla="*/ 2147483646 h 525"/>
                <a:gd name="T18" fmla="*/ 2147483646 w 651"/>
                <a:gd name="T19" fmla="*/ 2147483646 h 525"/>
                <a:gd name="T20" fmla="*/ 2147483646 w 651"/>
                <a:gd name="T21" fmla="*/ 2147483646 h 5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51" h="525">
                  <a:moveTo>
                    <a:pt x="608" y="222"/>
                  </a:moveTo>
                  <a:cubicBezTo>
                    <a:pt x="593" y="236"/>
                    <a:pt x="593" y="236"/>
                    <a:pt x="593" y="236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235" y="23"/>
                    <a:pt x="235" y="20"/>
                  </a:cubicBezTo>
                  <a:cubicBezTo>
                    <a:pt x="236" y="16"/>
                    <a:pt x="169" y="17"/>
                    <a:pt x="169" y="17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384" y="525"/>
                    <a:pt x="384" y="525"/>
                    <a:pt x="384" y="525"/>
                  </a:cubicBezTo>
                  <a:cubicBezTo>
                    <a:pt x="588" y="525"/>
                    <a:pt x="588" y="525"/>
                    <a:pt x="588" y="525"/>
                  </a:cubicBezTo>
                  <a:cubicBezTo>
                    <a:pt x="623" y="525"/>
                    <a:pt x="651" y="498"/>
                    <a:pt x="651" y="463"/>
                  </a:cubicBezTo>
                  <a:cubicBezTo>
                    <a:pt x="651" y="264"/>
                    <a:pt x="651" y="264"/>
                    <a:pt x="651" y="264"/>
                  </a:cubicBezTo>
                  <a:lnTo>
                    <a:pt x="608" y="222"/>
                  </a:lnTo>
                  <a:close/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3" name="Freeform 8"/>
            <p:cNvSpPr/>
            <p:nvPr/>
          </p:nvSpPr>
          <p:spPr bwMode="auto">
            <a:xfrm>
              <a:off x="1427163" y="-1552575"/>
              <a:ext cx="641350" cy="687388"/>
            </a:xfrm>
            <a:custGeom>
              <a:avLst/>
              <a:gdLst>
                <a:gd name="T0" fmla="*/ 2147483646 w 171"/>
                <a:gd name="T1" fmla="*/ 2147483646 h 183"/>
                <a:gd name="T2" fmla="*/ 2147483646 w 171"/>
                <a:gd name="T3" fmla="*/ 2147483646 h 183"/>
                <a:gd name="T4" fmla="*/ 2147483646 w 171"/>
                <a:gd name="T5" fmla="*/ 2147483646 h 183"/>
                <a:gd name="T6" fmla="*/ 2147483646 w 171"/>
                <a:gd name="T7" fmla="*/ 2147483646 h 183"/>
                <a:gd name="T8" fmla="*/ 2147483646 w 171"/>
                <a:gd name="T9" fmla="*/ 2147483646 h 183"/>
                <a:gd name="T10" fmla="*/ 2147483646 w 171"/>
                <a:gd name="T11" fmla="*/ 2147483646 h 183"/>
                <a:gd name="T12" fmla="*/ 2147483646 w 171"/>
                <a:gd name="T13" fmla="*/ 2147483646 h 183"/>
                <a:gd name="T14" fmla="*/ 2147483646 w 171"/>
                <a:gd name="T15" fmla="*/ 2147483646 h 183"/>
                <a:gd name="T16" fmla="*/ 2147483646 w 171"/>
                <a:gd name="T17" fmla="*/ 2147483646 h 183"/>
                <a:gd name="T18" fmla="*/ 2147483646 w 171"/>
                <a:gd name="T19" fmla="*/ 2147483646 h 183"/>
                <a:gd name="T20" fmla="*/ 2147483646 w 171"/>
                <a:gd name="T21" fmla="*/ 2147483646 h 183"/>
                <a:gd name="T22" fmla="*/ 2147483646 w 171"/>
                <a:gd name="T23" fmla="*/ 2147483646 h 183"/>
                <a:gd name="T24" fmla="*/ 2147483646 w 171"/>
                <a:gd name="T25" fmla="*/ 2147483646 h 183"/>
                <a:gd name="T26" fmla="*/ 2147483646 w 171"/>
                <a:gd name="T27" fmla="*/ 2147483646 h 183"/>
                <a:gd name="T28" fmla="*/ 2147483646 w 171"/>
                <a:gd name="T29" fmla="*/ 2147483646 h 183"/>
                <a:gd name="T30" fmla="*/ 2147483646 w 171"/>
                <a:gd name="T31" fmla="*/ 2147483646 h 183"/>
                <a:gd name="T32" fmla="*/ 2147483646 w 171"/>
                <a:gd name="T33" fmla="*/ 2147483646 h 18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71" h="183">
                  <a:moveTo>
                    <a:pt x="165" y="62"/>
                  </a:moveTo>
                  <a:cubicBezTo>
                    <a:pt x="93" y="4"/>
                    <a:pt x="93" y="4"/>
                    <a:pt x="93" y="4"/>
                  </a:cubicBezTo>
                  <a:cubicBezTo>
                    <a:pt x="89" y="0"/>
                    <a:pt x="82" y="0"/>
                    <a:pt x="77" y="4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2" y="65"/>
                    <a:pt x="0" y="73"/>
                    <a:pt x="1" y="79"/>
                  </a:cubicBezTo>
                  <a:cubicBezTo>
                    <a:pt x="29" y="172"/>
                    <a:pt x="29" y="172"/>
                    <a:pt x="29" y="172"/>
                  </a:cubicBezTo>
                  <a:cubicBezTo>
                    <a:pt x="30" y="178"/>
                    <a:pt x="36" y="183"/>
                    <a:pt x="42" y="183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4" y="110"/>
                    <a:pt x="64" y="110"/>
                    <a:pt x="64" y="110"/>
                  </a:cubicBezTo>
                  <a:cubicBezTo>
                    <a:pt x="64" y="105"/>
                    <a:pt x="66" y="101"/>
                    <a:pt x="68" y="101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5" y="101"/>
                    <a:pt x="107" y="105"/>
                    <a:pt x="107" y="110"/>
                  </a:cubicBezTo>
                  <a:cubicBezTo>
                    <a:pt x="107" y="183"/>
                    <a:pt x="107" y="183"/>
                    <a:pt x="107" y="183"/>
                  </a:cubicBezTo>
                  <a:cubicBezTo>
                    <a:pt x="129" y="183"/>
                    <a:pt x="129" y="183"/>
                    <a:pt x="129" y="183"/>
                  </a:cubicBezTo>
                  <a:cubicBezTo>
                    <a:pt x="135" y="183"/>
                    <a:pt x="141" y="178"/>
                    <a:pt x="142" y="172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171" y="73"/>
                    <a:pt x="169" y="65"/>
                    <a:pt x="165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4" name="Freeform 9"/>
            <p:cNvSpPr/>
            <p:nvPr/>
          </p:nvSpPr>
          <p:spPr bwMode="auto">
            <a:xfrm>
              <a:off x="1355726" y="-1671638"/>
              <a:ext cx="784225" cy="338138"/>
            </a:xfrm>
            <a:custGeom>
              <a:avLst/>
              <a:gdLst>
                <a:gd name="T0" fmla="*/ 2147483646 w 209"/>
                <a:gd name="T1" fmla="*/ 2147483646 h 90"/>
                <a:gd name="T2" fmla="*/ 2147483646 w 209"/>
                <a:gd name="T3" fmla="*/ 2147483646 h 90"/>
                <a:gd name="T4" fmla="*/ 2147483646 w 209"/>
                <a:gd name="T5" fmla="*/ 2147483646 h 90"/>
                <a:gd name="T6" fmla="*/ 2147483646 w 209"/>
                <a:gd name="T7" fmla="*/ 2147483646 h 90"/>
                <a:gd name="T8" fmla="*/ 2147483646 w 209"/>
                <a:gd name="T9" fmla="*/ 2147483646 h 90"/>
                <a:gd name="T10" fmla="*/ 2147483646 w 209"/>
                <a:gd name="T11" fmla="*/ 2147483646 h 90"/>
                <a:gd name="T12" fmla="*/ 2147483646 w 209"/>
                <a:gd name="T13" fmla="*/ 2147483646 h 90"/>
                <a:gd name="T14" fmla="*/ 2147483646 w 209"/>
                <a:gd name="T15" fmla="*/ 2147483646 h 90"/>
                <a:gd name="T16" fmla="*/ 2147483646 w 209"/>
                <a:gd name="T17" fmla="*/ 2147483646 h 90"/>
                <a:gd name="T18" fmla="*/ 2147483646 w 209"/>
                <a:gd name="T19" fmla="*/ 2147483646 h 90"/>
                <a:gd name="T20" fmla="*/ 2147483646 w 209"/>
                <a:gd name="T21" fmla="*/ 2147483646 h 90"/>
                <a:gd name="T22" fmla="*/ 2147483646 w 209"/>
                <a:gd name="T23" fmla="*/ 2147483646 h 90"/>
                <a:gd name="T24" fmla="*/ 2147483646 w 209"/>
                <a:gd name="T25" fmla="*/ 2147483646 h 90"/>
                <a:gd name="T26" fmla="*/ 2147483646 w 209"/>
                <a:gd name="T27" fmla="*/ 2147483646 h 90"/>
                <a:gd name="T28" fmla="*/ 2147483646 w 209"/>
                <a:gd name="T29" fmla="*/ 2147483646 h 90"/>
                <a:gd name="T30" fmla="*/ 2147483646 w 209"/>
                <a:gd name="T31" fmla="*/ 2147483646 h 90"/>
                <a:gd name="T32" fmla="*/ 2147483646 w 209"/>
                <a:gd name="T33" fmla="*/ 2147483646 h 90"/>
                <a:gd name="T34" fmla="*/ 2147483646 w 209"/>
                <a:gd name="T35" fmla="*/ 2147483646 h 90"/>
                <a:gd name="T36" fmla="*/ 2147483646 w 209"/>
                <a:gd name="T37" fmla="*/ 2147483646 h 90"/>
                <a:gd name="T38" fmla="*/ 2147483646 w 209"/>
                <a:gd name="T39" fmla="*/ 2147483646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9" h="90">
                  <a:moveTo>
                    <a:pt x="205" y="74"/>
                  </a:moveTo>
                  <a:cubicBezTo>
                    <a:pt x="173" y="48"/>
                    <a:pt x="173" y="48"/>
                    <a:pt x="173" y="48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19"/>
                    <a:pt x="168" y="14"/>
                    <a:pt x="163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3" y="14"/>
                    <a:pt x="149" y="19"/>
                    <a:pt x="149" y="26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1" y="0"/>
                    <a:pt x="98" y="0"/>
                    <a:pt x="91" y="6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0" y="77"/>
                    <a:pt x="0" y="82"/>
                    <a:pt x="2" y="85"/>
                  </a:cubicBezTo>
                  <a:cubicBezTo>
                    <a:pt x="4" y="89"/>
                    <a:pt x="9" y="90"/>
                    <a:pt x="12" y="87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102" y="17"/>
                    <a:pt x="107" y="17"/>
                    <a:pt x="110" y="19"/>
                  </a:cubicBezTo>
                  <a:cubicBezTo>
                    <a:pt x="149" y="49"/>
                    <a:pt x="149" y="49"/>
                    <a:pt x="149" y="49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97" y="87"/>
                    <a:pt x="197" y="87"/>
                    <a:pt x="197" y="87"/>
                  </a:cubicBezTo>
                  <a:cubicBezTo>
                    <a:pt x="200" y="90"/>
                    <a:pt x="205" y="89"/>
                    <a:pt x="207" y="85"/>
                  </a:cubicBezTo>
                  <a:cubicBezTo>
                    <a:pt x="209" y="82"/>
                    <a:pt x="209" y="77"/>
                    <a:pt x="205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5" name="Freeform 10"/>
            <p:cNvSpPr/>
            <p:nvPr/>
          </p:nvSpPr>
          <p:spPr bwMode="auto">
            <a:xfrm>
              <a:off x="647701" y="-1968500"/>
              <a:ext cx="1376363" cy="555625"/>
            </a:xfrm>
            <a:custGeom>
              <a:avLst/>
              <a:gdLst>
                <a:gd name="T0" fmla="*/ 2147483646 w 367"/>
                <a:gd name="T1" fmla="*/ 2147483646 h 148"/>
                <a:gd name="T2" fmla="*/ 2147483646 w 367"/>
                <a:gd name="T3" fmla="*/ 0 h 148"/>
                <a:gd name="T4" fmla="*/ 2147483646 w 367"/>
                <a:gd name="T5" fmla="*/ 0 h 148"/>
                <a:gd name="T6" fmla="*/ 2147483646 w 367"/>
                <a:gd name="T7" fmla="*/ 2147483646 h 148"/>
                <a:gd name="T8" fmla="*/ 2147483646 w 367"/>
                <a:gd name="T9" fmla="*/ 2147483646 h 148"/>
                <a:gd name="T10" fmla="*/ 0 w 367"/>
                <a:gd name="T11" fmla="*/ 2147483646 h 148"/>
                <a:gd name="T12" fmla="*/ 0 w 367"/>
                <a:gd name="T13" fmla="*/ 2147483646 h 148"/>
                <a:gd name="T14" fmla="*/ 2147483646 w 367"/>
                <a:gd name="T15" fmla="*/ 2147483646 h 148"/>
                <a:gd name="T16" fmla="*/ 2147483646 w 367"/>
                <a:gd name="T17" fmla="*/ 2147483646 h 148"/>
                <a:gd name="T18" fmla="*/ 2147483646 w 367"/>
                <a:gd name="T19" fmla="*/ 2147483646 h 148"/>
                <a:gd name="T20" fmla="*/ 2147483646 w 367"/>
                <a:gd name="T21" fmla="*/ 2147483646 h 148"/>
                <a:gd name="T22" fmla="*/ 2147483646 w 367"/>
                <a:gd name="T23" fmla="*/ 2147483646 h 148"/>
                <a:gd name="T24" fmla="*/ 2147483646 w 367"/>
                <a:gd name="T25" fmla="*/ 2147483646 h 148"/>
                <a:gd name="T26" fmla="*/ 2147483646 w 367"/>
                <a:gd name="T27" fmla="*/ 2147483646 h 148"/>
                <a:gd name="T28" fmla="*/ 2147483646 w 367"/>
                <a:gd name="T29" fmla="*/ 2147483646 h 148"/>
                <a:gd name="T30" fmla="*/ 2147483646 w 367"/>
                <a:gd name="T31" fmla="*/ 2147483646 h 1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67" h="148">
                  <a:moveTo>
                    <a:pt x="352" y="1"/>
                  </a:moveTo>
                  <a:cubicBezTo>
                    <a:pt x="350" y="1"/>
                    <a:pt x="346" y="0"/>
                    <a:pt x="340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85" y="0"/>
                    <a:pt x="182" y="0"/>
                    <a:pt x="179" y="1"/>
                  </a:cubicBezTo>
                  <a:cubicBezTo>
                    <a:pt x="125" y="2"/>
                    <a:pt x="95" y="69"/>
                    <a:pt x="53" y="81"/>
                  </a:cubicBezTo>
                  <a:cubicBezTo>
                    <a:pt x="23" y="89"/>
                    <a:pt x="17" y="82"/>
                    <a:pt x="0" y="78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10" y="147"/>
                    <a:pt x="10" y="147"/>
                    <a:pt x="25" y="147"/>
                  </a:cubicBezTo>
                  <a:cubicBezTo>
                    <a:pt x="55" y="147"/>
                    <a:pt x="112" y="148"/>
                    <a:pt x="129" y="146"/>
                  </a:cubicBezTo>
                  <a:cubicBezTo>
                    <a:pt x="145" y="144"/>
                    <a:pt x="204" y="94"/>
                    <a:pt x="214" y="86"/>
                  </a:cubicBezTo>
                  <a:cubicBezTo>
                    <a:pt x="231" y="70"/>
                    <a:pt x="253" y="59"/>
                    <a:pt x="245" y="44"/>
                  </a:cubicBezTo>
                  <a:cubicBezTo>
                    <a:pt x="236" y="30"/>
                    <a:pt x="155" y="87"/>
                    <a:pt x="149" y="78"/>
                  </a:cubicBezTo>
                  <a:cubicBezTo>
                    <a:pt x="142" y="68"/>
                    <a:pt x="183" y="49"/>
                    <a:pt x="204" y="41"/>
                  </a:cubicBezTo>
                  <a:cubicBezTo>
                    <a:pt x="224" y="34"/>
                    <a:pt x="267" y="29"/>
                    <a:pt x="295" y="26"/>
                  </a:cubicBezTo>
                  <a:cubicBezTo>
                    <a:pt x="324" y="24"/>
                    <a:pt x="363" y="23"/>
                    <a:pt x="365" y="10"/>
                  </a:cubicBezTo>
                  <a:cubicBezTo>
                    <a:pt x="367" y="4"/>
                    <a:pt x="362" y="2"/>
                    <a:pt x="35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6" name="Freeform 11"/>
            <p:cNvSpPr/>
            <p:nvPr/>
          </p:nvSpPr>
          <p:spPr bwMode="auto">
            <a:xfrm>
              <a:off x="1562101" y="-1139825"/>
              <a:ext cx="1376363" cy="552450"/>
            </a:xfrm>
            <a:custGeom>
              <a:avLst/>
              <a:gdLst>
                <a:gd name="T0" fmla="*/ 2147483646 w 367"/>
                <a:gd name="T1" fmla="*/ 2147483646 h 147"/>
                <a:gd name="T2" fmla="*/ 2147483646 w 367"/>
                <a:gd name="T3" fmla="*/ 2147483646 h 147"/>
                <a:gd name="T4" fmla="*/ 2147483646 w 367"/>
                <a:gd name="T5" fmla="*/ 2147483646 h 147"/>
                <a:gd name="T6" fmla="*/ 2147483646 w 367"/>
                <a:gd name="T7" fmla="*/ 2147483646 h 147"/>
                <a:gd name="T8" fmla="*/ 2147483646 w 367"/>
                <a:gd name="T9" fmla="*/ 2147483646 h 147"/>
                <a:gd name="T10" fmla="*/ 2147483646 w 367"/>
                <a:gd name="T11" fmla="*/ 2147483646 h 147"/>
                <a:gd name="T12" fmla="*/ 2147483646 w 367"/>
                <a:gd name="T13" fmla="*/ 2147483646 h 147"/>
                <a:gd name="T14" fmla="*/ 2147483646 w 367"/>
                <a:gd name="T15" fmla="*/ 2147483646 h 147"/>
                <a:gd name="T16" fmla="*/ 2147483646 w 367"/>
                <a:gd name="T17" fmla="*/ 2147483646 h 147"/>
                <a:gd name="T18" fmla="*/ 2147483646 w 367"/>
                <a:gd name="T19" fmla="*/ 2147483646 h 147"/>
                <a:gd name="T20" fmla="*/ 2147483646 w 367"/>
                <a:gd name="T21" fmla="*/ 2147483646 h 147"/>
                <a:gd name="T22" fmla="*/ 2147483646 w 367"/>
                <a:gd name="T23" fmla="*/ 2147483646 h 147"/>
                <a:gd name="T24" fmla="*/ 2147483646 w 367"/>
                <a:gd name="T25" fmla="*/ 2147483646 h 147"/>
                <a:gd name="T26" fmla="*/ 2147483646 w 367"/>
                <a:gd name="T27" fmla="*/ 2147483646 h 147"/>
                <a:gd name="T28" fmla="*/ 2147483646 w 367"/>
                <a:gd name="T29" fmla="*/ 2147483646 h 147"/>
                <a:gd name="T30" fmla="*/ 2147483646 w 367"/>
                <a:gd name="T31" fmla="*/ 2147483646 h 1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67" h="147">
                  <a:moveTo>
                    <a:pt x="15" y="147"/>
                  </a:moveTo>
                  <a:cubicBezTo>
                    <a:pt x="17" y="147"/>
                    <a:pt x="21" y="147"/>
                    <a:pt x="27" y="147"/>
                  </a:cubicBezTo>
                  <a:cubicBezTo>
                    <a:pt x="179" y="147"/>
                    <a:pt x="179" y="147"/>
                    <a:pt x="179" y="147"/>
                  </a:cubicBezTo>
                  <a:cubicBezTo>
                    <a:pt x="182" y="147"/>
                    <a:pt x="185" y="147"/>
                    <a:pt x="188" y="147"/>
                  </a:cubicBezTo>
                  <a:cubicBezTo>
                    <a:pt x="242" y="145"/>
                    <a:pt x="272" y="78"/>
                    <a:pt x="314" y="67"/>
                  </a:cubicBezTo>
                  <a:cubicBezTo>
                    <a:pt x="344" y="59"/>
                    <a:pt x="350" y="65"/>
                    <a:pt x="367" y="7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57" y="1"/>
                    <a:pt x="357" y="1"/>
                    <a:pt x="342" y="1"/>
                  </a:cubicBezTo>
                  <a:cubicBezTo>
                    <a:pt x="312" y="1"/>
                    <a:pt x="255" y="0"/>
                    <a:pt x="238" y="1"/>
                  </a:cubicBezTo>
                  <a:cubicBezTo>
                    <a:pt x="222" y="3"/>
                    <a:pt x="163" y="53"/>
                    <a:pt x="153" y="61"/>
                  </a:cubicBezTo>
                  <a:cubicBezTo>
                    <a:pt x="136" y="77"/>
                    <a:pt x="114" y="88"/>
                    <a:pt x="122" y="103"/>
                  </a:cubicBezTo>
                  <a:cubicBezTo>
                    <a:pt x="131" y="118"/>
                    <a:pt x="212" y="60"/>
                    <a:pt x="218" y="69"/>
                  </a:cubicBezTo>
                  <a:cubicBezTo>
                    <a:pt x="225" y="79"/>
                    <a:pt x="184" y="98"/>
                    <a:pt x="163" y="106"/>
                  </a:cubicBezTo>
                  <a:cubicBezTo>
                    <a:pt x="143" y="114"/>
                    <a:pt x="100" y="119"/>
                    <a:pt x="72" y="121"/>
                  </a:cubicBezTo>
                  <a:cubicBezTo>
                    <a:pt x="43" y="124"/>
                    <a:pt x="4" y="124"/>
                    <a:pt x="2" y="137"/>
                  </a:cubicBezTo>
                  <a:cubicBezTo>
                    <a:pt x="0" y="143"/>
                    <a:pt x="5" y="146"/>
                    <a:pt x="15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0" name="组合 79"/>
          <p:cNvGrpSpPr/>
          <p:nvPr/>
        </p:nvGrpSpPr>
        <p:grpSpPr bwMode="auto">
          <a:xfrm>
            <a:off x="8034338" y="2897188"/>
            <a:ext cx="746125" cy="744537"/>
            <a:chOff x="7588251" y="-2552700"/>
            <a:chExt cx="2576513" cy="2571750"/>
          </a:xfrm>
        </p:grpSpPr>
        <p:sp>
          <p:nvSpPr>
            <p:cNvPr id="81" name="Freeform 12"/>
            <p:cNvSpPr/>
            <p:nvPr/>
          </p:nvSpPr>
          <p:spPr bwMode="auto">
            <a:xfrm>
              <a:off x="7588251" y="-2552700"/>
              <a:ext cx="2576513" cy="2571750"/>
            </a:xfrm>
            <a:custGeom>
              <a:avLst/>
              <a:gdLst>
                <a:gd name="T0" fmla="*/ 0 w 687"/>
                <a:gd name="T1" fmla="*/ 624 h 686"/>
                <a:gd name="T2" fmla="*/ 63 w 687"/>
                <a:gd name="T3" fmla="*/ 686 h 686"/>
                <a:gd name="T4" fmla="*/ 625 w 687"/>
                <a:gd name="T5" fmla="*/ 686 h 686"/>
                <a:gd name="T6" fmla="*/ 687 w 687"/>
                <a:gd name="T7" fmla="*/ 624 h 686"/>
                <a:gd name="T8" fmla="*/ 687 w 687"/>
                <a:gd name="T9" fmla="*/ 62 h 686"/>
                <a:gd name="T10" fmla="*/ 625 w 687"/>
                <a:gd name="T11" fmla="*/ 0 h 686"/>
                <a:gd name="T12" fmla="*/ 63 w 687"/>
                <a:gd name="T13" fmla="*/ 0 h 686"/>
                <a:gd name="T14" fmla="*/ 0 w 687"/>
                <a:gd name="T15" fmla="*/ 62 h 686"/>
                <a:gd name="T16" fmla="*/ 0 w 687"/>
                <a:gd name="T17" fmla="*/ 62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6">
                  <a:moveTo>
                    <a:pt x="0" y="624"/>
                  </a:moveTo>
                  <a:cubicBezTo>
                    <a:pt x="0" y="659"/>
                    <a:pt x="28" y="686"/>
                    <a:pt x="63" y="686"/>
                  </a:cubicBezTo>
                  <a:cubicBezTo>
                    <a:pt x="625" y="686"/>
                    <a:pt x="625" y="686"/>
                    <a:pt x="625" y="686"/>
                  </a:cubicBezTo>
                  <a:cubicBezTo>
                    <a:pt x="659" y="686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48" name="Freeform 13"/>
            <p:cNvSpPr/>
            <p:nvPr/>
          </p:nvSpPr>
          <p:spPr bwMode="auto">
            <a:xfrm>
              <a:off x="7967663" y="-1968500"/>
              <a:ext cx="2197100" cy="1987550"/>
            </a:xfrm>
            <a:custGeom>
              <a:avLst/>
              <a:gdLst>
                <a:gd name="T0" fmla="*/ 2147483646 w 586"/>
                <a:gd name="T1" fmla="*/ 2147483646 h 530"/>
                <a:gd name="T2" fmla="*/ 2147483646 w 586"/>
                <a:gd name="T3" fmla="*/ 2147483646 h 530"/>
                <a:gd name="T4" fmla="*/ 2147483646 w 586"/>
                <a:gd name="T5" fmla="*/ 2147483646 h 530"/>
                <a:gd name="T6" fmla="*/ 2147483646 w 586"/>
                <a:gd name="T7" fmla="*/ 2147483646 h 530"/>
                <a:gd name="T8" fmla="*/ 2147483646 w 586"/>
                <a:gd name="T9" fmla="*/ 2147483646 h 530"/>
                <a:gd name="T10" fmla="*/ 2147483646 w 586"/>
                <a:gd name="T11" fmla="*/ 0 h 530"/>
                <a:gd name="T12" fmla="*/ 2147483646 w 586"/>
                <a:gd name="T13" fmla="*/ 2147483646 h 530"/>
                <a:gd name="T14" fmla="*/ 2147483646 w 586"/>
                <a:gd name="T15" fmla="*/ 2147483646 h 530"/>
                <a:gd name="T16" fmla="*/ 0 w 586"/>
                <a:gd name="T17" fmla="*/ 2147483646 h 530"/>
                <a:gd name="T18" fmla="*/ 2147483646 w 586"/>
                <a:gd name="T19" fmla="*/ 2147483646 h 530"/>
                <a:gd name="T20" fmla="*/ 2147483646 w 586"/>
                <a:gd name="T21" fmla="*/ 2147483646 h 530"/>
                <a:gd name="T22" fmla="*/ 2147483646 w 586"/>
                <a:gd name="T23" fmla="*/ 2147483646 h 530"/>
                <a:gd name="T24" fmla="*/ 2147483646 w 586"/>
                <a:gd name="T25" fmla="*/ 2147483646 h 530"/>
                <a:gd name="T26" fmla="*/ 2147483646 w 586"/>
                <a:gd name="T27" fmla="*/ 2147483646 h 5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86" h="530">
                  <a:moveTo>
                    <a:pt x="514" y="116"/>
                  </a:moveTo>
                  <a:cubicBezTo>
                    <a:pt x="369" y="105"/>
                    <a:pt x="369" y="105"/>
                    <a:pt x="369" y="105"/>
                  </a:cubicBezTo>
                  <a:cubicBezTo>
                    <a:pt x="346" y="128"/>
                    <a:pt x="346" y="128"/>
                    <a:pt x="346" y="128"/>
                  </a:cubicBezTo>
                  <a:cubicBezTo>
                    <a:pt x="380" y="162"/>
                    <a:pt x="380" y="162"/>
                    <a:pt x="380" y="162"/>
                  </a:cubicBezTo>
                  <a:cubicBezTo>
                    <a:pt x="362" y="165"/>
                    <a:pt x="362" y="165"/>
                    <a:pt x="362" y="16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161" y="223"/>
                    <a:pt x="161" y="223"/>
                    <a:pt x="161" y="223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146" y="530"/>
                    <a:pt x="146" y="530"/>
                    <a:pt x="146" y="530"/>
                  </a:cubicBezTo>
                  <a:cubicBezTo>
                    <a:pt x="524" y="530"/>
                    <a:pt x="524" y="530"/>
                    <a:pt x="524" y="530"/>
                  </a:cubicBezTo>
                  <a:cubicBezTo>
                    <a:pt x="558" y="530"/>
                    <a:pt x="586" y="503"/>
                    <a:pt x="586" y="468"/>
                  </a:cubicBezTo>
                  <a:cubicBezTo>
                    <a:pt x="586" y="188"/>
                    <a:pt x="586" y="188"/>
                    <a:pt x="586" y="188"/>
                  </a:cubicBezTo>
                  <a:lnTo>
                    <a:pt x="514" y="116"/>
                  </a:ln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49" name="Freeform 14"/>
            <p:cNvSpPr/>
            <p:nvPr/>
          </p:nvSpPr>
          <p:spPr bwMode="auto">
            <a:xfrm>
              <a:off x="7956551" y="-2076450"/>
              <a:ext cx="1038225" cy="1552575"/>
            </a:xfrm>
            <a:custGeom>
              <a:avLst/>
              <a:gdLst>
                <a:gd name="T0" fmla="*/ 2147483646 w 277"/>
                <a:gd name="T1" fmla="*/ 2147483646 h 414"/>
                <a:gd name="T2" fmla="*/ 2147483646 w 277"/>
                <a:gd name="T3" fmla="*/ 2147483646 h 414"/>
                <a:gd name="T4" fmla="*/ 2147483646 w 277"/>
                <a:gd name="T5" fmla="*/ 0 h 414"/>
                <a:gd name="T6" fmla="*/ 2147483646 w 277"/>
                <a:gd name="T7" fmla="*/ 2147483646 h 414"/>
                <a:gd name="T8" fmla="*/ 2147483646 w 277"/>
                <a:gd name="T9" fmla="*/ 2147483646 h 414"/>
                <a:gd name="T10" fmla="*/ 0 w 277"/>
                <a:gd name="T11" fmla="*/ 2147483646 h 414"/>
                <a:gd name="T12" fmla="*/ 0 w 277"/>
                <a:gd name="T13" fmla="*/ 2147483646 h 414"/>
                <a:gd name="T14" fmla="*/ 2147483646 w 277"/>
                <a:gd name="T15" fmla="*/ 2147483646 h 414"/>
                <a:gd name="T16" fmla="*/ 2147483646 w 277"/>
                <a:gd name="T17" fmla="*/ 2147483646 h 414"/>
                <a:gd name="T18" fmla="*/ 2147483646 w 277"/>
                <a:gd name="T19" fmla="*/ 2147483646 h 414"/>
                <a:gd name="T20" fmla="*/ 2147483646 w 277"/>
                <a:gd name="T21" fmla="*/ 2147483646 h 414"/>
                <a:gd name="T22" fmla="*/ 2147483646 w 277"/>
                <a:gd name="T23" fmla="*/ 2147483646 h 414"/>
                <a:gd name="T24" fmla="*/ 2147483646 w 277"/>
                <a:gd name="T25" fmla="*/ 2147483646 h 4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77" h="414">
                  <a:moveTo>
                    <a:pt x="191" y="166"/>
                  </a:moveTo>
                  <a:cubicBezTo>
                    <a:pt x="215" y="149"/>
                    <a:pt x="230" y="122"/>
                    <a:pt x="230" y="91"/>
                  </a:cubicBezTo>
                  <a:cubicBezTo>
                    <a:pt x="230" y="41"/>
                    <a:pt x="189" y="0"/>
                    <a:pt x="138" y="0"/>
                  </a:cubicBezTo>
                  <a:cubicBezTo>
                    <a:pt x="88" y="0"/>
                    <a:pt x="47" y="41"/>
                    <a:pt x="47" y="91"/>
                  </a:cubicBezTo>
                  <a:cubicBezTo>
                    <a:pt x="47" y="122"/>
                    <a:pt x="62" y="149"/>
                    <a:pt x="85" y="166"/>
                  </a:cubicBezTo>
                  <a:cubicBezTo>
                    <a:pt x="38" y="167"/>
                    <a:pt x="0" y="205"/>
                    <a:pt x="0" y="252"/>
                  </a:cubicBezTo>
                  <a:cubicBezTo>
                    <a:pt x="0" y="414"/>
                    <a:pt x="0" y="414"/>
                    <a:pt x="0" y="414"/>
                  </a:cubicBezTo>
                  <a:cubicBezTo>
                    <a:pt x="131" y="414"/>
                    <a:pt x="131" y="414"/>
                    <a:pt x="131" y="414"/>
                  </a:cubicBezTo>
                  <a:cubicBezTo>
                    <a:pt x="131" y="414"/>
                    <a:pt x="132" y="305"/>
                    <a:pt x="132" y="303"/>
                  </a:cubicBezTo>
                  <a:cubicBezTo>
                    <a:pt x="132" y="281"/>
                    <a:pt x="182" y="271"/>
                    <a:pt x="228" y="271"/>
                  </a:cubicBezTo>
                  <a:cubicBezTo>
                    <a:pt x="245" y="271"/>
                    <a:pt x="262" y="273"/>
                    <a:pt x="277" y="275"/>
                  </a:cubicBezTo>
                  <a:cubicBezTo>
                    <a:pt x="277" y="252"/>
                    <a:pt x="277" y="252"/>
                    <a:pt x="277" y="252"/>
                  </a:cubicBezTo>
                  <a:cubicBezTo>
                    <a:pt x="277" y="205"/>
                    <a:pt x="239" y="167"/>
                    <a:pt x="191" y="1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0" name="Oval 15"/>
            <p:cNvSpPr>
              <a:spLocks noChangeArrowheads="1"/>
            </p:cNvSpPr>
            <p:nvPr/>
          </p:nvSpPr>
          <p:spPr bwMode="auto">
            <a:xfrm>
              <a:off x="8529638" y="-992188"/>
              <a:ext cx="671513" cy="2206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8451" name="Freeform 16"/>
            <p:cNvSpPr/>
            <p:nvPr/>
          </p:nvSpPr>
          <p:spPr bwMode="auto">
            <a:xfrm>
              <a:off x="8521701" y="-493713"/>
              <a:ext cx="682625" cy="242888"/>
            </a:xfrm>
            <a:custGeom>
              <a:avLst/>
              <a:gdLst>
                <a:gd name="T0" fmla="*/ 2147483646 w 182"/>
                <a:gd name="T1" fmla="*/ 2147483646 h 65"/>
                <a:gd name="T2" fmla="*/ 0 w 182"/>
                <a:gd name="T3" fmla="*/ 0 h 65"/>
                <a:gd name="T4" fmla="*/ 0 w 182"/>
                <a:gd name="T5" fmla="*/ 2147483646 h 65"/>
                <a:gd name="T6" fmla="*/ 2147483646 w 182"/>
                <a:gd name="T7" fmla="*/ 2147483646 h 65"/>
                <a:gd name="T8" fmla="*/ 2147483646 w 182"/>
                <a:gd name="T9" fmla="*/ 2147483646 h 65"/>
                <a:gd name="T10" fmla="*/ 2147483646 w 182"/>
                <a:gd name="T11" fmla="*/ 0 h 65"/>
                <a:gd name="T12" fmla="*/ 2147483646 w 182"/>
                <a:gd name="T13" fmla="*/ 2147483646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5">
                  <a:moveTo>
                    <a:pt x="91" y="30"/>
                  </a:moveTo>
                  <a:cubicBezTo>
                    <a:pt x="41" y="30"/>
                    <a:pt x="0" y="16"/>
                    <a:pt x="0" y="0"/>
                  </a:cubicBezTo>
                  <a:cubicBezTo>
                    <a:pt x="0" y="6"/>
                    <a:pt x="0" y="28"/>
                    <a:pt x="0" y="35"/>
                  </a:cubicBezTo>
                  <a:cubicBezTo>
                    <a:pt x="0" y="52"/>
                    <a:pt x="41" y="65"/>
                    <a:pt x="91" y="65"/>
                  </a:cubicBezTo>
                  <a:cubicBezTo>
                    <a:pt x="141" y="65"/>
                    <a:pt x="182" y="52"/>
                    <a:pt x="182" y="35"/>
                  </a:cubicBezTo>
                  <a:cubicBezTo>
                    <a:pt x="182" y="28"/>
                    <a:pt x="182" y="6"/>
                    <a:pt x="182" y="0"/>
                  </a:cubicBezTo>
                  <a:cubicBezTo>
                    <a:pt x="182" y="16"/>
                    <a:pt x="141" y="30"/>
                    <a:pt x="9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2" name="Freeform 17"/>
            <p:cNvSpPr/>
            <p:nvPr/>
          </p:nvSpPr>
          <p:spPr bwMode="auto">
            <a:xfrm>
              <a:off x="8521701" y="-669925"/>
              <a:ext cx="682625" cy="247650"/>
            </a:xfrm>
            <a:custGeom>
              <a:avLst/>
              <a:gdLst>
                <a:gd name="T0" fmla="*/ 2147483646 w 182"/>
                <a:gd name="T1" fmla="*/ 2147483646 h 66"/>
                <a:gd name="T2" fmla="*/ 0 w 182"/>
                <a:gd name="T3" fmla="*/ 0 h 66"/>
                <a:gd name="T4" fmla="*/ 0 w 182"/>
                <a:gd name="T5" fmla="*/ 2147483646 h 66"/>
                <a:gd name="T6" fmla="*/ 2147483646 w 182"/>
                <a:gd name="T7" fmla="*/ 2147483646 h 66"/>
                <a:gd name="T8" fmla="*/ 2147483646 w 182"/>
                <a:gd name="T9" fmla="*/ 2147483646 h 66"/>
                <a:gd name="T10" fmla="*/ 2147483646 w 182"/>
                <a:gd name="T11" fmla="*/ 0 h 66"/>
                <a:gd name="T12" fmla="*/ 2147483646 w 182"/>
                <a:gd name="T13" fmla="*/ 2147483646 h 6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6">
                  <a:moveTo>
                    <a:pt x="91" y="31"/>
                  </a:moveTo>
                  <a:cubicBezTo>
                    <a:pt x="41" y="31"/>
                    <a:pt x="0" y="17"/>
                    <a:pt x="0" y="0"/>
                  </a:cubicBezTo>
                  <a:cubicBezTo>
                    <a:pt x="0" y="7"/>
                    <a:pt x="0" y="29"/>
                    <a:pt x="0" y="36"/>
                  </a:cubicBezTo>
                  <a:cubicBezTo>
                    <a:pt x="0" y="53"/>
                    <a:pt x="41" y="66"/>
                    <a:pt x="91" y="66"/>
                  </a:cubicBezTo>
                  <a:cubicBezTo>
                    <a:pt x="141" y="66"/>
                    <a:pt x="182" y="53"/>
                    <a:pt x="182" y="36"/>
                  </a:cubicBezTo>
                  <a:cubicBezTo>
                    <a:pt x="182" y="29"/>
                    <a:pt x="182" y="7"/>
                    <a:pt x="182" y="0"/>
                  </a:cubicBezTo>
                  <a:cubicBezTo>
                    <a:pt x="182" y="17"/>
                    <a:pt x="141" y="31"/>
                    <a:pt x="91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3" name="Freeform 18"/>
            <p:cNvSpPr/>
            <p:nvPr/>
          </p:nvSpPr>
          <p:spPr bwMode="auto">
            <a:xfrm>
              <a:off x="8521701" y="-842963"/>
              <a:ext cx="682625" cy="247650"/>
            </a:xfrm>
            <a:custGeom>
              <a:avLst/>
              <a:gdLst>
                <a:gd name="T0" fmla="*/ 2147483646 w 182"/>
                <a:gd name="T1" fmla="*/ 2147483646 h 66"/>
                <a:gd name="T2" fmla="*/ 0 w 182"/>
                <a:gd name="T3" fmla="*/ 0 h 66"/>
                <a:gd name="T4" fmla="*/ 0 w 182"/>
                <a:gd name="T5" fmla="*/ 2147483646 h 66"/>
                <a:gd name="T6" fmla="*/ 2147483646 w 182"/>
                <a:gd name="T7" fmla="*/ 2147483646 h 66"/>
                <a:gd name="T8" fmla="*/ 2147483646 w 182"/>
                <a:gd name="T9" fmla="*/ 2147483646 h 66"/>
                <a:gd name="T10" fmla="*/ 2147483646 w 182"/>
                <a:gd name="T11" fmla="*/ 0 h 66"/>
                <a:gd name="T12" fmla="*/ 2147483646 w 182"/>
                <a:gd name="T13" fmla="*/ 2147483646 h 6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6">
                  <a:moveTo>
                    <a:pt x="91" y="31"/>
                  </a:moveTo>
                  <a:cubicBezTo>
                    <a:pt x="41" y="31"/>
                    <a:pt x="0" y="17"/>
                    <a:pt x="0" y="0"/>
                  </a:cubicBezTo>
                  <a:cubicBezTo>
                    <a:pt x="0" y="7"/>
                    <a:pt x="0" y="29"/>
                    <a:pt x="0" y="36"/>
                  </a:cubicBezTo>
                  <a:cubicBezTo>
                    <a:pt x="0" y="53"/>
                    <a:pt x="41" y="66"/>
                    <a:pt x="91" y="66"/>
                  </a:cubicBezTo>
                  <a:cubicBezTo>
                    <a:pt x="141" y="66"/>
                    <a:pt x="182" y="53"/>
                    <a:pt x="182" y="36"/>
                  </a:cubicBezTo>
                  <a:cubicBezTo>
                    <a:pt x="182" y="29"/>
                    <a:pt x="182" y="7"/>
                    <a:pt x="182" y="0"/>
                  </a:cubicBezTo>
                  <a:cubicBezTo>
                    <a:pt x="182" y="17"/>
                    <a:pt x="141" y="31"/>
                    <a:pt x="91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4" name="Oval 19"/>
            <p:cNvSpPr>
              <a:spLocks noChangeArrowheads="1"/>
            </p:cNvSpPr>
            <p:nvPr/>
          </p:nvSpPr>
          <p:spPr bwMode="auto">
            <a:xfrm>
              <a:off x="9250363" y="-1611313"/>
              <a:ext cx="669925" cy="2174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8455" name="Freeform 20"/>
            <p:cNvSpPr/>
            <p:nvPr/>
          </p:nvSpPr>
          <p:spPr bwMode="auto">
            <a:xfrm>
              <a:off x="9245601" y="-1112838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29"/>
                  </a:moveTo>
                  <a:cubicBezTo>
                    <a:pt x="41" y="29"/>
                    <a:pt x="0" y="16"/>
                    <a:pt x="0" y="0"/>
                  </a:cubicBezTo>
                  <a:cubicBezTo>
                    <a:pt x="0" y="6"/>
                    <a:pt x="0" y="28"/>
                    <a:pt x="0" y="34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4"/>
                  </a:cubicBezTo>
                  <a:cubicBezTo>
                    <a:pt x="182" y="28"/>
                    <a:pt x="182" y="6"/>
                    <a:pt x="182" y="0"/>
                  </a:cubicBezTo>
                  <a:cubicBezTo>
                    <a:pt x="182" y="16"/>
                    <a:pt x="141" y="29"/>
                    <a:pt x="91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6" name="Freeform 21"/>
            <p:cNvSpPr/>
            <p:nvPr/>
          </p:nvSpPr>
          <p:spPr bwMode="auto">
            <a:xfrm>
              <a:off x="9245601" y="-939800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29"/>
                  </a:moveTo>
                  <a:cubicBezTo>
                    <a:pt x="41" y="29"/>
                    <a:pt x="0" y="16"/>
                    <a:pt x="0" y="0"/>
                  </a:cubicBezTo>
                  <a:cubicBezTo>
                    <a:pt x="0" y="7"/>
                    <a:pt x="0" y="28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8"/>
                    <a:pt x="182" y="7"/>
                    <a:pt x="182" y="0"/>
                  </a:cubicBezTo>
                  <a:cubicBezTo>
                    <a:pt x="182" y="16"/>
                    <a:pt x="141" y="29"/>
                    <a:pt x="91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7" name="Freeform 22"/>
            <p:cNvSpPr/>
            <p:nvPr/>
          </p:nvSpPr>
          <p:spPr bwMode="auto">
            <a:xfrm>
              <a:off x="9245601" y="-768350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30"/>
                  </a:moveTo>
                  <a:cubicBezTo>
                    <a:pt x="41" y="30"/>
                    <a:pt x="0" y="17"/>
                    <a:pt x="0" y="0"/>
                  </a:cubicBezTo>
                  <a:cubicBezTo>
                    <a:pt x="0" y="7"/>
                    <a:pt x="0" y="29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9"/>
                    <a:pt x="182" y="7"/>
                    <a:pt x="182" y="0"/>
                  </a:cubicBezTo>
                  <a:cubicBezTo>
                    <a:pt x="182" y="17"/>
                    <a:pt x="141" y="30"/>
                    <a:pt x="9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8" name="Freeform 23"/>
            <p:cNvSpPr/>
            <p:nvPr/>
          </p:nvSpPr>
          <p:spPr bwMode="auto">
            <a:xfrm>
              <a:off x="9245601" y="-592138"/>
              <a:ext cx="682625" cy="241300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29"/>
                  </a:moveTo>
                  <a:cubicBezTo>
                    <a:pt x="41" y="29"/>
                    <a:pt x="0" y="16"/>
                    <a:pt x="0" y="0"/>
                  </a:cubicBezTo>
                  <a:cubicBezTo>
                    <a:pt x="0" y="6"/>
                    <a:pt x="0" y="28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8"/>
                    <a:pt x="182" y="6"/>
                    <a:pt x="182" y="0"/>
                  </a:cubicBezTo>
                  <a:cubicBezTo>
                    <a:pt x="182" y="16"/>
                    <a:pt x="141" y="29"/>
                    <a:pt x="91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9" name="Freeform 24"/>
            <p:cNvSpPr/>
            <p:nvPr/>
          </p:nvSpPr>
          <p:spPr bwMode="auto">
            <a:xfrm>
              <a:off x="9245601" y="-1289050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30"/>
                  </a:moveTo>
                  <a:cubicBezTo>
                    <a:pt x="41" y="30"/>
                    <a:pt x="0" y="16"/>
                    <a:pt x="0" y="0"/>
                  </a:cubicBezTo>
                  <a:cubicBezTo>
                    <a:pt x="0" y="7"/>
                    <a:pt x="0" y="28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8"/>
                    <a:pt x="182" y="7"/>
                    <a:pt x="182" y="0"/>
                  </a:cubicBezTo>
                  <a:cubicBezTo>
                    <a:pt x="182" y="16"/>
                    <a:pt x="141" y="30"/>
                    <a:pt x="9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0" name="Freeform 25"/>
            <p:cNvSpPr/>
            <p:nvPr/>
          </p:nvSpPr>
          <p:spPr bwMode="auto">
            <a:xfrm>
              <a:off x="9245601" y="-1462088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29"/>
                  </a:moveTo>
                  <a:cubicBezTo>
                    <a:pt x="41" y="29"/>
                    <a:pt x="0" y="16"/>
                    <a:pt x="0" y="0"/>
                  </a:cubicBezTo>
                  <a:cubicBezTo>
                    <a:pt x="0" y="6"/>
                    <a:pt x="0" y="28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8"/>
                    <a:pt x="182" y="6"/>
                    <a:pt x="182" y="0"/>
                  </a:cubicBezTo>
                  <a:cubicBezTo>
                    <a:pt x="182" y="16"/>
                    <a:pt x="141" y="29"/>
                    <a:pt x="91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3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7" dur="3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3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3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9" dur="3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3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29" grpId="0" animBg="1"/>
      <p:bldP spid="30" grpId="0" animBg="1"/>
      <p:bldP spid="31" grpId="0" animBg="1"/>
      <p:bldP spid="3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"/>
          <p:cNvGrpSpPr/>
          <p:nvPr/>
        </p:nvGrpSpPr>
        <p:grpSpPr bwMode="auto">
          <a:xfrm>
            <a:off x="4627563" y="1160463"/>
            <a:ext cx="3354387" cy="3367087"/>
            <a:chOff x="7760651" y="1618702"/>
            <a:chExt cx="4146096" cy="4162773"/>
          </a:xfrm>
        </p:grpSpPr>
        <p:sp>
          <p:nvSpPr>
            <p:cNvPr id="8" name="BG"/>
            <p:cNvSpPr/>
            <p:nvPr/>
          </p:nvSpPr>
          <p:spPr bwMode="auto">
            <a:xfrm>
              <a:off x="7760651" y="1618702"/>
              <a:ext cx="4114701" cy="4115669"/>
            </a:xfrm>
            <a:prstGeom prst="ellipse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6630" rIns="0" bIns="46630" anchor="ctr"/>
            <a:lstStyle>
              <a:defPPr>
                <a:defRPr lang="en-US"/>
              </a:defPPr>
              <a:lvl1pPr marL="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09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815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8905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63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172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445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4535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126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1545">
                <a:defRPr/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" name="Ring 6-segment"/>
            <p:cNvSpPr>
              <a:spLocks noChangeAspect="1"/>
            </p:cNvSpPr>
            <p:nvPr/>
          </p:nvSpPr>
          <p:spPr bwMode="auto">
            <a:xfrm>
              <a:off x="7792046" y="1679543"/>
              <a:ext cx="4114701" cy="4101932"/>
            </a:xfrm>
            <a:custGeom>
              <a:avLst/>
              <a:gdLst>
                <a:gd name="connsiteX0" fmla="*/ 3955593 w 4572000"/>
                <a:gd name="connsiteY0" fmla="*/ 3401393 h 4558148"/>
                <a:gd name="connsiteX1" fmla="*/ 4192979 w 4572000"/>
                <a:gd name="connsiteY1" fmla="*/ 3538447 h 4558148"/>
                <a:gd name="connsiteX2" fmla="*/ 4181587 w 4572000"/>
                <a:gd name="connsiteY2" fmla="*/ 3557199 h 4558148"/>
                <a:gd name="connsiteX3" fmla="*/ 2519730 w 4572000"/>
                <a:gd name="connsiteY3" fmla="*/ 4553272 h 4558148"/>
                <a:gd name="connsiteX4" fmla="*/ 2423160 w 4572000"/>
                <a:gd name="connsiteY4" fmla="*/ 4558148 h 4558148"/>
                <a:gd name="connsiteX5" fmla="*/ 2423160 w 4572000"/>
                <a:gd name="connsiteY5" fmla="*/ 4283828 h 4558148"/>
                <a:gd name="connsiteX6" fmla="*/ 2491683 w 4572000"/>
                <a:gd name="connsiteY6" fmla="*/ 4280368 h 4558148"/>
                <a:gd name="connsiteX7" fmla="*/ 3954117 w 4572000"/>
                <a:gd name="connsiteY7" fmla="*/ 3403824 h 4558148"/>
                <a:gd name="connsiteX8" fmla="*/ 616407 w 4572000"/>
                <a:gd name="connsiteY8" fmla="*/ 3401393 h 4558148"/>
                <a:gd name="connsiteX9" fmla="*/ 617883 w 4572000"/>
                <a:gd name="connsiteY9" fmla="*/ 3403824 h 4558148"/>
                <a:gd name="connsiteX10" fmla="*/ 2080317 w 4572000"/>
                <a:gd name="connsiteY10" fmla="*/ 4280368 h 4558148"/>
                <a:gd name="connsiteX11" fmla="*/ 2148840 w 4572000"/>
                <a:gd name="connsiteY11" fmla="*/ 4283828 h 4558148"/>
                <a:gd name="connsiteX12" fmla="*/ 2148840 w 4572000"/>
                <a:gd name="connsiteY12" fmla="*/ 4558148 h 4558148"/>
                <a:gd name="connsiteX13" fmla="*/ 2052270 w 4572000"/>
                <a:gd name="connsiteY13" fmla="*/ 4553272 h 4558148"/>
                <a:gd name="connsiteX14" fmla="*/ 390413 w 4572000"/>
                <a:gd name="connsiteY14" fmla="*/ 3557199 h 4558148"/>
                <a:gd name="connsiteX15" fmla="*/ 379021 w 4572000"/>
                <a:gd name="connsiteY15" fmla="*/ 3538447 h 4558148"/>
                <a:gd name="connsiteX16" fmla="*/ 4329069 w 4572000"/>
                <a:gd name="connsiteY16" fmla="*/ 1257887 h 4558148"/>
                <a:gd name="connsiteX17" fmla="*/ 4392355 w 4572000"/>
                <a:gd name="connsiteY17" fmla="*/ 1389260 h 4558148"/>
                <a:gd name="connsiteX18" fmla="*/ 4572000 w 4572000"/>
                <a:gd name="connsiteY18" fmla="*/ 2279074 h 4558148"/>
                <a:gd name="connsiteX19" fmla="*/ 4392355 w 4572000"/>
                <a:gd name="connsiteY19" fmla="*/ 3168889 h 4558148"/>
                <a:gd name="connsiteX20" fmla="*/ 4329069 w 4572000"/>
                <a:gd name="connsiteY20" fmla="*/ 3300262 h 4558148"/>
                <a:gd name="connsiteX21" fmla="*/ 4091064 w 4572000"/>
                <a:gd name="connsiteY21" fmla="*/ 3162849 h 4558148"/>
                <a:gd name="connsiteX22" fmla="*/ 4139592 w 4572000"/>
                <a:gd name="connsiteY22" fmla="*/ 3062111 h 4558148"/>
                <a:gd name="connsiteX23" fmla="*/ 4297680 w 4572000"/>
                <a:gd name="connsiteY23" fmla="*/ 2279074 h 4558148"/>
                <a:gd name="connsiteX24" fmla="*/ 4139592 w 4572000"/>
                <a:gd name="connsiteY24" fmla="*/ 1496038 h 4558148"/>
                <a:gd name="connsiteX25" fmla="*/ 4091064 w 4572000"/>
                <a:gd name="connsiteY25" fmla="*/ 1395299 h 4558148"/>
                <a:gd name="connsiteX26" fmla="*/ 242931 w 4572000"/>
                <a:gd name="connsiteY26" fmla="*/ 1257887 h 4558148"/>
                <a:gd name="connsiteX27" fmla="*/ 480936 w 4572000"/>
                <a:gd name="connsiteY27" fmla="*/ 1395299 h 4558148"/>
                <a:gd name="connsiteX28" fmla="*/ 432408 w 4572000"/>
                <a:gd name="connsiteY28" fmla="*/ 1496038 h 4558148"/>
                <a:gd name="connsiteX29" fmla="*/ 274320 w 4572000"/>
                <a:gd name="connsiteY29" fmla="*/ 2279074 h 4558148"/>
                <a:gd name="connsiteX30" fmla="*/ 432408 w 4572000"/>
                <a:gd name="connsiteY30" fmla="*/ 3062111 h 4558148"/>
                <a:gd name="connsiteX31" fmla="*/ 480936 w 4572000"/>
                <a:gd name="connsiteY31" fmla="*/ 3162849 h 4558148"/>
                <a:gd name="connsiteX32" fmla="*/ 242931 w 4572000"/>
                <a:gd name="connsiteY32" fmla="*/ 3300262 h 4558148"/>
                <a:gd name="connsiteX33" fmla="*/ 179645 w 4572000"/>
                <a:gd name="connsiteY33" fmla="*/ 3168889 h 4558148"/>
                <a:gd name="connsiteX34" fmla="*/ 0 w 4572000"/>
                <a:gd name="connsiteY34" fmla="*/ 2279074 h 4558148"/>
                <a:gd name="connsiteX35" fmla="*/ 179645 w 4572000"/>
                <a:gd name="connsiteY35" fmla="*/ 1389260 h 4558148"/>
                <a:gd name="connsiteX36" fmla="*/ 2423160 w 4572000"/>
                <a:gd name="connsiteY36" fmla="*/ 0 h 4558148"/>
                <a:gd name="connsiteX37" fmla="*/ 2519730 w 4572000"/>
                <a:gd name="connsiteY37" fmla="*/ 4877 h 4558148"/>
                <a:gd name="connsiteX38" fmla="*/ 4181587 w 4572000"/>
                <a:gd name="connsiteY38" fmla="*/ 1000950 h 4558148"/>
                <a:gd name="connsiteX39" fmla="*/ 4192979 w 4572000"/>
                <a:gd name="connsiteY39" fmla="*/ 1019701 h 4558148"/>
                <a:gd name="connsiteX40" fmla="*/ 3955593 w 4572000"/>
                <a:gd name="connsiteY40" fmla="*/ 1156756 h 4558148"/>
                <a:gd name="connsiteX41" fmla="*/ 3954117 w 4572000"/>
                <a:gd name="connsiteY41" fmla="*/ 1154325 h 4558148"/>
                <a:gd name="connsiteX42" fmla="*/ 2491683 w 4572000"/>
                <a:gd name="connsiteY42" fmla="*/ 277780 h 4558148"/>
                <a:gd name="connsiteX43" fmla="*/ 2423160 w 4572000"/>
                <a:gd name="connsiteY43" fmla="*/ 274320 h 4558148"/>
                <a:gd name="connsiteX44" fmla="*/ 2148840 w 4572000"/>
                <a:gd name="connsiteY44" fmla="*/ 0 h 4558148"/>
                <a:gd name="connsiteX45" fmla="*/ 2148840 w 4572000"/>
                <a:gd name="connsiteY45" fmla="*/ 274320 h 4558148"/>
                <a:gd name="connsiteX46" fmla="*/ 2080317 w 4572000"/>
                <a:gd name="connsiteY46" fmla="*/ 277780 h 4558148"/>
                <a:gd name="connsiteX47" fmla="*/ 617883 w 4572000"/>
                <a:gd name="connsiteY47" fmla="*/ 1154325 h 4558148"/>
                <a:gd name="connsiteX48" fmla="*/ 616407 w 4572000"/>
                <a:gd name="connsiteY48" fmla="*/ 1156756 h 4558148"/>
                <a:gd name="connsiteX49" fmla="*/ 379021 w 4572000"/>
                <a:gd name="connsiteY49" fmla="*/ 1019701 h 4558148"/>
                <a:gd name="connsiteX50" fmla="*/ 390413 w 4572000"/>
                <a:gd name="connsiteY50" fmla="*/ 1000950 h 4558148"/>
                <a:gd name="connsiteX51" fmla="*/ 2052270 w 4572000"/>
                <a:gd name="connsiteY51" fmla="*/ 4877 h 455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572000" h="4558148">
                  <a:moveTo>
                    <a:pt x="3955593" y="3401393"/>
                  </a:moveTo>
                  <a:lnTo>
                    <a:pt x="4192979" y="3538447"/>
                  </a:lnTo>
                  <a:lnTo>
                    <a:pt x="4181587" y="3557199"/>
                  </a:lnTo>
                  <a:cubicBezTo>
                    <a:pt x="3811858" y="4104470"/>
                    <a:pt x="3211368" y="4483032"/>
                    <a:pt x="2519730" y="4553272"/>
                  </a:cubicBezTo>
                  <a:lnTo>
                    <a:pt x="2423160" y="4558148"/>
                  </a:lnTo>
                  <a:lnTo>
                    <a:pt x="2423160" y="4283828"/>
                  </a:lnTo>
                  <a:lnTo>
                    <a:pt x="2491683" y="4280368"/>
                  </a:lnTo>
                  <a:cubicBezTo>
                    <a:pt x="3100324" y="4218557"/>
                    <a:pt x="3628755" y="3885423"/>
                    <a:pt x="3954117" y="3403824"/>
                  </a:cubicBezTo>
                  <a:close/>
                  <a:moveTo>
                    <a:pt x="616407" y="3401393"/>
                  </a:moveTo>
                  <a:lnTo>
                    <a:pt x="617883" y="3403824"/>
                  </a:lnTo>
                  <a:cubicBezTo>
                    <a:pt x="943246" y="3885423"/>
                    <a:pt x="1471677" y="4218557"/>
                    <a:pt x="2080317" y="4280368"/>
                  </a:cubicBezTo>
                  <a:lnTo>
                    <a:pt x="2148840" y="4283828"/>
                  </a:lnTo>
                  <a:lnTo>
                    <a:pt x="2148840" y="4558148"/>
                  </a:lnTo>
                  <a:lnTo>
                    <a:pt x="2052270" y="4553272"/>
                  </a:lnTo>
                  <a:cubicBezTo>
                    <a:pt x="1360632" y="4483032"/>
                    <a:pt x="760143" y="4104470"/>
                    <a:pt x="390413" y="3557199"/>
                  </a:cubicBezTo>
                  <a:lnTo>
                    <a:pt x="379021" y="3538447"/>
                  </a:lnTo>
                  <a:close/>
                  <a:moveTo>
                    <a:pt x="4329069" y="1257887"/>
                  </a:moveTo>
                  <a:lnTo>
                    <a:pt x="4392355" y="1389260"/>
                  </a:lnTo>
                  <a:cubicBezTo>
                    <a:pt x="4508033" y="1662753"/>
                    <a:pt x="4572000" y="1963443"/>
                    <a:pt x="4572000" y="2279074"/>
                  </a:cubicBezTo>
                  <a:cubicBezTo>
                    <a:pt x="4572000" y="2594705"/>
                    <a:pt x="4508033" y="2895395"/>
                    <a:pt x="4392355" y="3168889"/>
                  </a:cubicBezTo>
                  <a:lnTo>
                    <a:pt x="4329069" y="3300262"/>
                  </a:lnTo>
                  <a:lnTo>
                    <a:pt x="4091064" y="3162849"/>
                  </a:lnTo>
                  <a:lnTo>
                    <a:pt x="4139592" y="3062111"/>
                  </a:lnTo>
                  <a:cubicBezTo>
                    <a:pt x="4241389" y="2821437"/>
                    <a:pt x="4297680" y="2556829"/>
                    <a:pt x="4297680" y="2279074"/>
                  </a:cubicBezTo>
                  <a:cubicBezTo>
                    <a:pt x="4297680" y="2001319"/>
                    <a:pt x="4241389" y="1736712"/>
                    <a:pt x="4139592" y="1496038"/>
                  </a:cubicBezTo>
                  <a:lnTo>
                    <a:pt x="4091064" y="1395299"/>
                  </a:lnTo>
                  <a:close/>
                  <a:moveTo>
                    <a:pt x="242931" y="1257887"/>
                  </a:moveTo>
                  <a:lnTo>
                    <a:pt x="480936" y="1395299"/>
                  </a:lnTo>
                  <a:lnTo>
                    <a:pt x="432408" y="1496038"/>
                  </a:lnTo>
                  <a:cubicBezTo>
                    <a:pt x="330611" y="1736712"/>
                    <a:pt x="274320" y="2001319"/>
                    <a:pt x="274320" y="2279074"/>
                  </a:cubicBezTo>
                  <a:cubicBezTo>
                    <a:pt x="274320" y="2556829"/>
                    <a:pt x="330611" y="2821437"/>
                    <a:pt x="432408" y="3062111"/>
                  </a:cubicBezTo>
                  <a:lnTo>
                    <a:pt x="480936" y="3162849"/>
                  </a:lnTo>
                  <a:lnTo>
                    <a:pt x="242931" y="3300262"/>
                  </a:lnTo>
                  <a:lnTo>
                    <a:pt x="179645" y="3168889"/>
                  </a:lnTo>
                  <a:cubicBezTo>
                    <a:pt x="63967" y="2895395"/>
                    <a:pt x="0" y="2594705"/>
                    <a:pt x="0" y="2279074"/>
                  </a:cubicBezTo>
                  <a:cubicBezTo>
                    <a:pt x="0" y="1963443"/>
                    <a:pt x="63967" y="1662753"/>
                    <a:pt x="179645" y="1389260"/>
                  </a:cubicBezTo>
                  <a:close/>
                  <a:moveTo>
                    <a:pt x="2423160" y="0"/>
                  </a:moveTo>
                  <a:lnTo>
                    <a:pt x="2519730" y="4877"/>
                  </a:lnTo>
                  <a:cubicBezTo>
                    <a:pt x="3211368" y="75116"/>
                    <a:pt x="3811858" y="453678"/>
                    <a:pt x="4181587" y="1000950"/>
                  </a:cubicBezTo>
                  <a:lnTo>
                    <a:pt x="4192979" y="1019701"/>
                  </a:lnTo>
                  <a:lnTo>
                    <a:pt x="3955593" y="1156756"/>
                  </a:lnTo>
                  <a:lnTo>
                    <a:pt x="3954117" y="1154325"/>
                  </a:lnTo>
                  <a:cubicBezTo>
                    <a:pt x="3628755" y="672726"/>
                    <a:pt x="3100324" y="339591"/>
                    <a:pt x="2491683" y="277780"/>
                  </a:cubicBezTo>
                  <a:lnTo>
                    <a:pt x="2423160" y="274320"/>
                  </a:lnTo>
                  <a:close/>
                  <a:moveTo>
                    <a:pt x="2148840" y="0"/>
                  </a:moveTo>
                  <a:lnTo>
                    <a:pt x="2148840" y="274320"/>
                  </a:lnTo>
                  <a:lnTo>
                    <a:pt x="2080317" y="277780"/>
                  </a:lnTo>
                  <a:cubicBezTo>
                    <a:pt x="1471677" y="339591"/>
                    <a:pt x="943246" y="672726"/>
                    <a:pt x="617883" y="1154325"/>
                  </a:cubicBezTo>
                  <a:lnTo>
                    <a:pt x="616407" y="1156756"/>
                  </a:lnTo>
                  <a:lnTo>
                    <a:pt x="379021" y="1019701"/>
                  </a:lnTo>
                  <a:lnTo>
                    <a:pt x="390413" y="1000950"/>
                  </a:lnTo>
                  <a:cubicBezTo>
                    <a:pt x="760143" y="453678"/>
                    <a:pt x="1360632" y="75116"/>
                    <a:pt x="2052270" y="4877"/>
                  </a:cubicBezTo>
                  <a:close/>
                </a:path>
              </a:pathLst>
            </a:cu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Freeform 40"/>
            <p:cNvSpPr/>
            <p:nvPr/>
          </p:nvSpPr>
          <p:spPr bwMode="auto">
            <a:xfrm>
              <a:off x="8190369" y="2333105"/>
              <a:ext cx="3274887" cy="2266856"/>
            </a:xfrm>
            <a:custGeom>
              <a:avLst/>
              <a:gdLst>
                <a:gd name="connsiteX0" fmla="*/ 2854889 w 3275249"/>
                <a:gd name="connsiteY0" fmla="*/ 968962 h 2266949"/>
                <a:gd name="connsiteX1" fmla="*/ 2901358 w 3275249"/>
                <a:gd name="connsiteY1" fmla="*/ 987323 h 2266949"/>
                <a:gd name="connsiteX2" fmla="*/ 3275249 w 3275249"/>
                <a:gd name="connsiteY2" fmla="*/ 1590203 h 2266949"/>
                <a:gd name="connsiteX3" fmla="*/ 2598326 w 3275249"/>
                <a:gd name="connsiteY3" fmla="*/ 2266949 h 2266949"/>
                <a:gd name="connsiteX4" fmla="*/ 2598313 w 3275249"/>
                <a:gd name="connsiteY4" fmla="*/ 2266948 h 2266949"/>
                <a:gd name="connsiteX5" fmla="*/ 1708342 w 3275249"/>
                <a:gd name="connsiteY5" fmla="*/ 2266948 h 2266949"/>
                <a:gd name="connsiteX6" fmla="*/ 1708342 w 3275249"/>
                <a:gd name="connsiteY6" fmla="*/ 1195068 h 2266949"/>
                <a:gd name="connsiteX7" fmla="*/ 361667 w 3275249"/>
                <a:gd name="connsiteY7" fmla="*/ 893352 h 2266949"/>
                <a:gd name="connsiteX8" fmla="*/ 427799 w 3275249"/>
                <a:gd name="connsiteY8" fmla="*/ 907070 h 2266949"/>
                <a:gd name="connsiteX9" fmla="*/ 1278487 w 3275249"/>
                <a:gd name="connsiteY9" fmla="*/ 1119313 h 2266949"/>
                <a:gd name="connsiteX10" fmla="*/ 1642484 w 3275249"/>
                <a:gd name="connsiteY10" fmla="*/ 1197222 h 2266949"/>
                <a:gd name="connsiteX11" fmla="*/ 1642484 w 3275249"/>
                <a:gd name="connsiteY11" fmla="*/ 2266948 h 2266949"/>
                <a:gd name="connsiteX12" fmla="*/ 742050 w 3275249"/>
                <a:gd name="connsiteY12" fmla="*/ 2266948 h 2266949"/>
                <a:gd name="connsiteX13" fmla="*/ 742036 w 3275249"/>
                <a:gd name="connsiteY13" fmla="*/ 2266949 h 2266949"/>
                <a:gd name="connsiteX14" fmla="*/ 0 w 3275249"/>
                <a:gd name="connsiteY14" fmla="*/ 1525107 h 2266949"/>
                <a:gd name="connsiteX15" fmla="*/ 308793 w 3275249"/>
                <a:gd name="connsiteY15" fmla="*/ 925614 h 2266949"/>
                <a:gd name="connsiteX16" fmla="*/ 2064797 w 3275249"/>
                <a:gd name="connsiteY16" fmla="*/ 0 h 2266949"/>
                <a:gd name="connsiteX17" fmla="*/ 2827549 w 3275249"/>
                <a:gd name="connsiteY17" fmla="*/ 762553 h 2266949"/>
                <a:gd name="connsiteX18" fmla="*/ 2821396 w 3275249"/>
                <a:gd name="connsiteY18" fmla="*/ 857312 h 2266949"/>
                <a:gd name="connsiteX19" fmla="*/ 2809187 w 3275249"/>
                <a:gd name="connsiteY19" fmla="*/ 914924 h 2266949"/>
                <a:gd name="connsiteX20" fmla="*/ 1683981 w 3275249"/>
                <a:gd name="connsiteY20" fmla="*/ 1133475 h 2266949"/>
                <a:gd name="connsiteX21" fmla="*/ 1679105 w 3275249"/>
                <a:gd name="connsiteY21" fmla="*/ 1133475 h 2266949"/>
                <a:gd name="connsiteX22" fmla="*/ 1691135 w 3275249"/>
                <a:gd name="connsiteY22" fmla="*/ 1104631 h 2266949"/>
                <a:gd name="connsiteX23" fmla="*/ 1677816 w 3275249"/>
                <a:gd name="connsiteY23" fmla="*/ 1132451 h 2266949"/>
                <a:gd name="connsiteX24" fmla="*/ 1677512 w 3275249"/>
                <a:gd name="connsiteY24" fmla="*/ 1133475 h 2266949"/>
                <a:gd name="connsiteX25" fmla="*/ 1668137 w 3275249"/>
                <a:gd name="connsiteY25" fmla="*/ 1133475 h 2266949"/>
                <a:gd name="connsiteX26" fmla="*/ 1667906 w 3275249"/>
                <a:gd name="connsiteY26" fmla="*/ 1132940 h 2266949"/>
                <a:gd name="connsiteX27" fmla="*/ 1666449 w 3275249"/>
                <a:gd name="connsiteY27" fmla="*/ 1129565 h 2266949"/>
                <a:gd name="connsiteX28" fmla="*/ 1667253 w 3275249"/>
                <a:gd name="connsiteY28" fmla="*/ 1133475 h 2266949"/>
                <a:gd name="connsiteX29" fmla="*/ 1653504 w 3275249"/>
                <a:gd name="connsiteY29" fmla="*/ 1133475 h 2266949"/>
                <a:gd name="connsiteX30" fmla="*/ 1556386 w 3275249"/>
                <a:gd name="connsiteY30" fmla="*/ 1112108 h 2266949"/>
                <a:gd name="connsiteX31" fmla="*/ 492773 w 3275249"/>
                <a:gd name="connsiteY31" fmla="*/ 861338 h 2266949"/>
                <a:gd name="connsiteX32" fmla="*/ 394193 w 3275249"/>
                <a:gd name="connsiteY32" fmla="*/ 840232 h 2266949"/>
                <a:gd name="connsiteX33" fmla="*/ 403001 w 3275249"/>
                <a:gd name="connsiteY33" fmla="*/ 752882 h 2266949"/>
                <a:gd name="connsiteX34" fmla="*/ 937990 w 3275249"/>
                <a:gd name="connsiteY34" fmla="*/ 316968 h 2266949"/>
                <a:gd name="connsiteX35" fmla="*/ 1349124 w 3275249"/>
                <a:gd name="connsiteY35" fmla="*/ 507157 h 2266949"/>
                <a:gd name="connsiteX36" fmla="*/ 2064797 w 3275249"/>
                <a:gd name="connsiteY36" fmla="*/ 0 h 226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275249" h="2266949">
                  <a:moveTo>
                    <a:pt x="2854889" y="968962"/>
                  </a:moveTo>
                  <a:lnTo>
                    <a:pt x="2901358" y="987323"/>
                  </a:lnTo>
                  <a:cubicBezTo>
                    <a:pt x="3123373" y="1096499"/>
                    <a:pt x="3275249" y="1325619"/>
                    <a:pt x="3275249" y="1590203"/>
                  </a:cubicBezTo>
                  <a:cubicBezTo>
                    <a:pt x="3275249" y="1963960"/>
                    <a:pt x="2972180" y="2266949"/>
                    <a:pt x="2598326" y="2266949"/>
                  </a:cubicBezTo>
                  <a:lnTo>
                    <a:pt x="2598313" y="2266948"/>
                  </a:lnTo>
                  <a:lnTo>
                    <a:pt x="1708342" y="2266948"/>
                  </a:lnTo>
                  <a:lnTo>
                    <a:pt x="1708342" y="1195068"/>
                  </a:lnTo>
                  <a:close/>
                  <a:moveTo>
                    <a:pt x="361667" y="893352"/>
                  </a:moveTo>
                  <a:lnTo>
                    <a:pt x="427799" y="907070"/>
                  </a:lnTo>
                  <a:cubicBezTo>
                    <a:pt x="711819" y="971949"/>
                    <a:pt x="994696" y="1051500"/>
                    <a:pt x="1278487" y="1119313"/>
                  </a:cubicBezTo>
                  <a:lnTo>
                    <a:pt x="1642484" y="1197222"/>
                  </a:lnTo>
                  <a:lnTo>
                    <a:pt x="1642484" y="2266948"/>
                  </a:lnTo>
                  <a:lnTo>
                    <a:pt x="742050" y="2266948"/>
                  </a:lnTo>
                  <a:cubicBezTo>
                    <a:pt x="742046" y="2266949"/>
                    <a:pt x="742042" y="2266949"/>
                    <a:pt x="742036" y="2266949"/>
                  </a:cubicBezTo>
                  <a:cubicBezTo>
                    <a:pt x="332221" y="2266949"/>
                    <a:pt x="0" y="1934815"/>
                    <a:pt x="0" y="1525107"/>
                  </a:cubicBezTo>
                  <a:cubicBezTo>
                    <a:pt x="0" y="1277554"/>
                    <a:pt x="121286" y="1058323"/>
                    <a:pt x="308793" y="925614"/>
                  </a:cubicBezTo>
                  <a:close/>
                  <a:moveTo>
                    <a:pt x="2064797" y="0"/>
                  </a:moveTo>
                  <a:cubicBezTo>
                    <a:pt x="2486053" y="0"/>
                    <a:pt x="2827549" y="341407"/>
                    <a:pt x="2827549" y="762553"/>
                  </a:cubicBezTo>
                  <a:cubicBezTo>
                    <a:pt x="2827549" y="794668"/>
                    <a:pt x="2825563" y="826319"/>
                    <a:pt x="2821396" y="857312"/>
                  </a:cubicBezTo>
                  <a:lnTo>
                    <a:pt x="2809187" y="914924"/>
                  </a:lnTo>
                  <a:lnTo>
                    <a:pt x="1683981" y="1133475"/>
                  </a:lnTo>
                  <a:lnTo>
                    <a:pt x="1679105" y="1133475"/>
                  </a:lnTo>
                  <a:lnTo>
                    <a:pt x="1691135" y="1104631"/>
                  </a:lnTo>
                  <a:lnTo>
                    <a:pt x="1677816" y="1132451"/>
                  </a:lnTo>
                  <a:lnTo>
                    <a:pt x="1677512" y="1133475"/>
                  </a:lnTo>
                  <a:lnTo>
                    <a:pt x="1668137" y="1133475"/>
                  </a:lnTo>
                  <a:lnTo>
                    <a:pt x="1667906" y="1132940"/>
                  </a:lnTo>
                  <a:cubicBezTo>
                    <a:pt x="1667906" y="1130409"/>
                    <a:pt x="1667907" y="1127878"/>
                    <a:pt x="1666449" y="1129565"/>
                  </a:cubicBezTo>
                  <a:lnTo>
                    <a:pt x="1667253" y="1133475"/>
                  </a:lnTo>
                  <a:lnTo>
                    <a:pt x="1653504" y="1133475"/>
                  </a:lnTo>
                  <a:lnTo>
                    <a:pt x="1556386" y="1112108"/>
                  </a:lnTo>
                  <a:cubicBezTo>
                    <a:pt x="1297515" y="1052724"/>
                    <a:pt x="812189" y="932295"/>
                    <a:pt x="492773" y="861338"/>
                  </a:cubicBezTo>
                  <a:lnTo>
                    <a:pt x="394193" y="840232"/>
                  </a:lnTo>
                  <a:lnTo>
                    <a:pt x="403001" y="752882"/>
                  </a:lnTo>
                  <a:cubicBezTo>
                    <a:pt x="453921" y="504106"/>
                    <a:pt x="674096" y="316968"/>
                    <a:pt x="937990" y="316968"/>
                  </a:cubicBezTo>
                  <a:cubicBezTo>
                    <a:pt x="1102918" y="316968"/>
                    <a:pt x="1250770" y="390064"/>
                    <a:pt x="1349124" y="507157"/>
                  </a:cubicBezTo>
                  <a:cubicBezTo>
                    <a:pt x="1451583" y="211125"/>
                    <a:pt x="1733529" y="0"/>
                    <a:pt x="2064797" y="0"/>
                  </a:cubicBez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9515" name="Arrow (filled)"/>
            <p:cNvGrpSpPr/>
            <p:nvPr/>
          </p:nvGrpSpPr>
          <p:grpSpPr bwMode="auto">
            <a:xfrm>
              <a:off x="8964656" y="2821898"/>
              <a:ext cx="1665619" cy="1763752"/>
              <a:chOff x="1478643" y="3562349"/>
              <a:chExt cx="1665620" cy="1763751"/>
            </a:xfrm>
          </p:grpSpPr>
          <p:sp>
            <p:nvSpPr>
              <p:cNvPr id="19" name="Oval 42"/>
              <p:cNvSpPr/>
              <p:nvPr/>
            </p:nvSpPr>
            <p:spPr bwMode="auto">
              <a:xfrm>
                <a:off x="1603036" y="3734968"/>
                <a:ext cx="1416699" cy="141899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46630" rIns="0" bIns="46630" anchor="ctr"/>
              <a:lstStyle>
                <a:defPPr>
                  <a:defRPr lang="en-US"/>
                </a:defPPr>
                <a:lvl1pPr marL="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6609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32815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98905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6563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3172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98445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64535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73126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defRPr/>
                </a:pPr>
                <a:endParaRPr lang="en-US" sz="2000" dirty="0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20" name="Circle Arrows"/>
              <p:cNvSpPr>
                <a:spLocks noEditPoints="1"/>
              </p:cNvSpPr>
              <p:nvPr/>
            </p:nvSpPr>
            <p:spPr bwMode="auto">
              <a:xfrm>
                <a:off x="1479419" y="3562255"/>
                <a:ext cx="1663934" cy="1764419"/>
              </a:xfrm>
              <a:custGeom>
                <a:avLst/>
                <a:gdLst>
                  <a:gd name="T0" fmla="*/ 489 w 536"/>
                  <a:gd name="T1" fmla="*/ 397 h 567"/>
                  <a:gd name="T2" fmla="*/ 155 w 536"/>
                  <a:gd name="T3" fmla="*/ 504 h 567"/>
                  <a:gd name="T4" fmla="*/ 141 w 536"/>
                  <a:gd name="T5" fmla="*/ 530 h 567"/>
                  <a:gd name="T6" fmla="*/ 112 w 536"/>
                  <a:gd name="T7" fmla="*/ 461 h 567"/>
                  <a:gd name="T8" fmla="*/ 185 w 536"/>
                  <a:gd name="T9" fmla="*/ 445 h 567"/>
                  <a:gd name="T10" fmla="*/ 171 w 536"/>
                  <a:gd name="T11" fmla="*/ 472 h 567"/>
                  <a:gd name="T12" fmla="*/ 457 w 536"/>
                  <a:gd name="T13" fmla="*/ 381 h 567"/>
                  <a:gd name="T14" fmla="*/ 416 w 536"/>
                  <a:gd name="T15" fmla="*/ 131 h 567"/>
                  <a:gd name="T16" fmla="*/ 457 w 536"/>
                  <a:gd name="T17" fmla="*/ 122 h 567"/>
                  <a:gd name="T18" fmla="*/ 489 w 536"/>
                  <a:gd name="T19" fmla="*/ 397 h 567"/>
                  <a:gd name="T20" fmla="*/ 425 w 536"/>
                  <a:gd name="T21" fmla="*/ 105 h 567"/>
                  <a:gd name="T22" fmla="*/ 396 w 536"/>
                  <a:gd name="T23" fmla="*/ 36 h 567"/>
                  <a:gd name="T24" fmla="*/ 382 w 536"/>
                  <a:gd name="T25" fmla="*/ 63 h 567"/>
                  <a:gd name="T26" fmla="*/ 48 w 536"/>
                  <a:gd name="T27" fmla="*/ 170 h 567"/>
                  <a:gd name="T28" fmla="*/ 80 w 536"/>
                  <a:gd name="T29" fmla="*/ 445 h 567"/>
                  <a:gd name="T30" fmla="*/ 121 w 536"/>
                  <a:gd name="T31" fmla="*/ 436 h 567"/>
                  <a:gd name="T32" fmla="*/ 80 w 536"/>
                  <a:gd name="T33" fmla="*/ 186 h 567"/>
                  <a:gd name="T34" fmla="*/ 366 w 536"/>
                  <a:gd name="T35" fmla="*/ 95 h 567"/>
                  <a:gd name="T36" fmla="*/ 352 w 536"/>
                  <a:gd name="T37" fmla="*/ 122 h 567"/>
                  <a:gd name="T38" fmla="*/ 425 w 536"/>
                  <a:gd name="T39" fmla="*/ 105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36" h="567">
                    <a:moveTo>
                      <a:pt x="489" y="397"/>
                    </a:moveTo>
                    <a:cubicBezTo>
                      <a:pt x="426" y="519"/>
                      <a:pt x="276" y="567"/>
                      <a:pt x="155" y="504"/>
                    </a:cubicBezTo>
                    <a:cubicBezTo>
                      <a:pt x="141" y="530"/>
                      <a:pt x="141" y="530"/>
                      <a:pt x="141" y="530"/>
                    </a:cubicBezTo>
                    <a:cubicBezTo>
                      <a:pt x="112" y="461"/>
                      <a:pt x="112" y="461"/>
                      <a:pt x="112" y="461"/>
                    </a:cubicBezTo>
                    <a:cubicBezTo>
                      <a:pt x="185" y="445"/>
                      <a:pt x="185" y="445"/>
                      <a:pt x="185" y="445"/>
                    </a:cubicBezTo>
                    <a:cubicBezTo>
                      <a:pt x="171" y="472"/>
                      <a:pt x="171" y="472"/>
                      <a:pt x="171" y="472"/>
                    </a:cubicBezTo>
                    <a:cubicBezTo>
                      <a:pt x="275" y="525"/>
                      <a:pt x="403" y="485"/>
                      <a:pt x="457" y="381"/>
                    </a:cubicBezTo>
                    <a:cubicBezTo>
                      <a:pt x="501" y="295"/>
                      <a:pt x="481" y="194"/>
                      <a:pt x="416" y="131"/>
                    </a:cubicBezTo>
                    <a:cubicBezTo>
                      <a:pt x="457" y="122"/>
                      <a:pt x="457" y="122"/>
                      <a:pt x="457" y="122"/>
                    </a:cubicBezTo>
                    <a:cubicBezTo>
                      <a:pt x="520" y="196"/>
                      <a:pt x="536" y="305"/>
                      <a:pt x="489" y="397"/>
                    </a:cubicBezTo>
                    <a:close/>
                    <a:moveTo>
                      <a:pt x="425" y="105"/>
                    </a:moveTo>
                    <a:cubicBezTo>
                      <a:pt x="396" y="36"/>
                      <a:pt x="396" y="36"/>
                      <a:pt x="396" y="36"/>
                    </a:cubicBezTo>
                    <a:cubicBezTo>
                      <a:pt x="382" y="63"/>
                      <a:pt x="382" y="63"/>
                      <a:pt x="382" y="63"/>
                    </a:cubicBezTo>
                    <a:cubicBezTo>
                      <a:pt x="260" y="0"/>
                      <a:pt x="111" y="48"/>
                      <a:pt x="48" y="170"/>
                    </a:cubicBezTo>
                    <a:cubicBezTo>
                      <a:pt x="0" y="262"/>
                      <a:pt x="16" y="370"/>
                      <a:pt x="80" y="445"/>
                    </a:cubicBezTo>
                    <a:cubicBezTo>
                      <a:pt x="121" y="436"/>
                      <a:pt x="121" y="436"/>
                      <a:pt x="121" y="436"/>
                    </a:cubicBezTo>
                    <a:cubicBezTo>
                      <a:pt x="55" y="372"/>
                      <a:pt x="36" y="271"/>
                      <a:pt x="80" y="186"/>
                    </a:cubicBezTo>
                    <a:cubicBezTo>
                      <a:pt x="134" y="82"/>
                      <a:pt x="261" y="41"/>
                      <a:pt x="366" y="95"/>
                    </a:cubicBezTo>
                    <a:cubicBezTo>
                      <a:pt x="352" y="122"/>
                      <a:pt x="352" y="122"/>
                      <a:pt x="352" y="122"/>
                    </a:cubicBezTo>
                    <a:lnTo>
                      <a:pt x="425" y="105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lIns="91427" tIns="45713" rIns="91427" bIns="45713"/>
              <a:lstStyle>
                <a:defPPr>
                  <a:defRPr lang="en-US"/>
                </a:defPPr>
                <a:lvl1pPr marL="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09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81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890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63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72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44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3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126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19516" name="Group 44"/>
            <p:cNvGrpSpPr/>
            <p:nvPr/>
          </p:nvGrpSpPr>
          <p:grpSpPr bwMode="auto">
            <a:xfrm>
              <a:off x="8190414" y="2641267"/>
              <a:ext cx="3417948" cy="1678628"/>
              <a:chOff x="1448116" y="2794788"/>
              <a:chExt cx="3240263" cy="1591778"/>
            </a:xfrm>
          </p:grpSpPr>
          <p:sp>
            <p:nvSpPr>
              <p:cNvPr id="16" name="Rectangle 45"/>
              <p:cNvSpPr/>
              <p:nvPr/>
            </p:nvSpPr>
            <p:spPr>
              <a:xfrm>
                <a:off x="2858088" y="2794762"/>
                <a:ext cx="1095646" cy="292193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defPPr>
                  <a:defRPr lang="en-US"/>
                </a:defPPr>
                <a:lvl1pPr marL="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09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81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890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63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72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44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3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126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7" name="Rectangle 46"/>
              <p:cNvSpPr/>
              <p:nvPr/>
            </p:nvSpPr>
            <p:spPr>
              <a:xfrm>
                <a:off x="3471947" y="3943062"/>
                <a:ext cx="1216557" cy="292192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defPPr>
                  <a:defRPr lang="en-US"/>
                </a:defPPr>
                <a:lvl1pPr marL="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09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81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890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63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72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44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3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126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Rectangle 47"/>
              <p:cNvSpPr/>
              <p:nvPr/>
            </p:nvSpPr>
            <p:spPr>
              <a:xfrm>
                <a:off x="1448073" y="3943062"/>
                <a:ext cx="850102" cy="442942"/>
              </a:xfrm>
              <a:prstGeom prst="rect">
                <a:avLst/>
              </a:prstGeom>
            </p:spPr>
            <p:txBody>
              <a:bodyPr wrap="none"/>
              <a:lstStyle>
                <a:defPPr>
                  <a:defRPr lang="en-US"/>
                </a:defPPr>
                <a:lvl1pPr marL="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09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81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890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63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72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44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3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126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9517" name="Rectangle 50"/>
            <p:cNvSpPr>
              <a:spLocks noChangeArrowheads="1"/>
            </p:cNvSpPr>
            <p:nvPr/>
          </p:nvSpPr>
          <p:spPr bwMode="auto">
            <a:xfrm>
              <a:off x="9373670" y="3443994"/>
              <a:ext cx="847601" cy="566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30275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465455" indent="-285750" defTabSz="930275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932180" indent="-228600" defTabSz="930275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398905" indent="-228600" defTabSz="930275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1865630" indent="-228600" defTabSz="930275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322830" indent="-228600" defTabSz="93027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780030" indent="-228600" defTabSz="93027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237230" indent="-228600" defTabSz="93027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694430" indent="-228600" defTabSz="93027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400" b="1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添加标题</a:t>
              </a:r>
              <a:endParaRPr lang="en-US" altLang="zh-CN" sz="1400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sp>
        <p:nvSpPr>
          <p:cNvPr id="22" name="Pentagon 52"/>
          <p:cNvSpPr/>
          <p:nvPr/>
        </p:nvSpPr>
        <p:spPr bwMode="auto">
          <a:xfrm>
            <a:off x="1589088" y="2039938"/>
            <a:ext cx="2674937" cy="808037"/>
          </a:xfrm>
          <a:prstGeom prst="homePlate">
            <a:avLst>
              <a:gd name="adj" fmla="val 31603"/>
            </a:avLst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Pentagon 66"/>
          <p:cNvSpPr/>
          <p:nvPr/>
        </p:nvSpPr>
        <p:spPr bwMode="auto">
          <a:xfrm>
            <a:off x="1589088" y="1143000"/>
            <a:ext cx="2695575" cy="809625"/>
          </a:xfrm>
          <a:prstGeom prst="homePlate">
            <a:avLst>
              <a:gd name="adj" fmla="val 26347"/>
            </a:avLst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Pentagon 99"/>
          <p:cNvSpPr/>
          <p:nvPr/>
        </p:nvSpPr>
        <p:spPr bwMode="auto">
          <a:xfrm>
            <a:off x="1589088" y="2919413"/>
            <a:ext cx="2695575" cy="809625"/>
          </a:xfrm>
          <a:prstGeom prst="homePlate">
            <a:avLst>
              <a:gd name="adj" fmla="val 28099"/>
            </a:avLst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Pentagon 104"/>
          <p:cNvSpPr/>
          <p:nvPr/>
        </p:nvSpPr>
        <p:spPr bwMode="auto">
          <a:xfrm>
            <a:off x="1589088" y="3811588"/>
            <a:ext cx="2695575" cy="809625"/>
          </a:xfrm>
          <a:prstGeom prst="homePlate">
            <a:avLst>
              <a:gd name="adj" fmla="val 30727"/>
            </a:avLst>
          </a:prstGeom>
          <a:solidFill>
            <a:srgbClr val="2B7EA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463" name="组合 52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56" name="矩形 55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7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9508" name="组合 57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510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11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249" name="组合 3248"/>
          <p:cNvGrpSpPr/>
          <p:nvPr/>
        </p:nvGrpSpPr>
        <p:grpSpPr bwMode="auto">
          <a:xfrm>
            <a:off x="1273175" y="2035175"/>
            <a:ext cx="817563" cy="817563"/>
            <a:chOff x="-2828032" y="411510"/>
            <a:chExt cx="2122488" cy="2122488"/>
          </a:xfrm>
        </p:grpSpPr>
        <p:sp>
          <p:nvSpPr>
            <p:cNvPr id="3211" name="Freeform 187"/>
            <p:cNvSpPr/>
            <p:nvPr/>
          </p:nvSpPr>
          <p:spPr bwMode="auto">
            <a:xfrm>
              <a:off x="-2828032" y="411510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386 w 566"/>
                <a:gd name="T3" fmla="*/ 547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65 w 566"/>
                <a:gd name="T11" fmla="*/ 26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3"/>
                    <a:pt x="491" y="506"/>
                    <a:pt x="386" y="547"/>
                  </a:cubicBezTo>
                  <a:cubicBezTo>
                    <a:pt x="354" y="559"/>
                    <a:pt x="319" y="566"/>
                    <a:pt x="283" y="566"/>
                  </a:cubicBezTo>
                  <a:cubicBezTo>
                    <a:pt x="126" y="566"/>
                    <a:pt x="0" y="440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32" y="0"/>
                    <a:pt x="555" y="117"/>
                    <a:pt x="565" y="264"/>
                  </a:cubicBezTo>
                  <a:cubicBezTo>
                    <a:pt x="565" y="270"/>
                    <a:pt x="566" y="277"/>
                    <a:pt x="566" y="283"/>
                  </a:cubicBezTo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91" name="Freeform 188"/>
            <p:cNvSpPr/>
            <p:nvPr/>
          </p:nvSpPr>
          <p:spPr bwMode="auto">
            <a:xfrm>
              <a:off x="-1859657" y="786160"/>
              <a:ext cx="1154113" cy="1676400"/>
            </a:xfrm>
            <a:custGeom>
              <a:avLst/>
              <a:gdLst>
                <a:gd name="T0" fmla="*/ 2147483646 w 308"/>
                <a:gd name="T1" fmla="*/ 0 h 447"/>
                <a:gd name="T2" fmla="*/ 2147483646 w 308"/>
                <a:gd name="T3" fmla="*/ 2147483646 h 447"/>
                <a:gd name="T4" fmla="*/ 2147483646 w 308"/>
                <a:gd name="T5" fmla="*/ 2147483646 h 447"/>
                <a:gd name="T6" fmla="*/ 2147483646 w 308"/>
                <a:gd name="T7" fmla="*/ 2147483646 h 447"/>
                <a:gd name="T8" fmla="*/ 2147483646 w 308"/>
                <a:gd name="T9" fmla="*/ 2147483646 h 447"/>
                <a:gd name="T10" fmla="*/ 2147483646 w 308"/>
                <a:gd name="T11" fmla="*/ 2147483646 h 447"/>
                <a:gd name="T12" fmla="*/ 2147483646 w 308"/>
                <a:gd name="T13" fmla="*/ 2147483646 h 447"/>
                <a:gd name="T14" fmla="*/ 2147483646 w 308"/>
                <a:gd name="T15" fmla="*/ 2147483646 h 447"/>
                <a:gd name="T16" fmla="*/ 2147483646 w 308"/>
                <a:gd name="T17" fmla="*/ 2147483646 h 447"/>
                <a:gd name="T18" fmla="*/ 2147483646 w 308"/>
                <a:gd name="T19" fmla="*/ 2147483646 h 447"/>
                <a:gd name="T20" fmla="*/ 2147483646 w 308"/>
                <a:gd name="T21" fmla="*/ 2147483646 h 447"/>
                <a:gd name="T22" fmla="*/ 2147483646 w 308"/>
                <a:gd name="T23" fmla="*/ 2147483646 h 447"/>
                <a:gd name="T24" fmla="*/ 2147483646 w 308"/>
                <a:gd name="T25" fmla="*/ 2147483646 h 447"/>
                <a:gd name="T26" fmla="*/ 2147483646 w 308"/>
                <a:gd name="T27" fmla="*/ 2147483646 h 447"/>
                <a:gd name="T28" fmla="*/ 2147483646 w 308"/>
                <a:gd name="T29" fmla="*/ 2147483646 h 447"/>
                <a:gd name="T30" fmla="*/ 2147483646 w 308"/>
                <a:gd name="T31" fmla="*/ 2147483646 h 447"/>
                <a:gd name="T32" fmla="*/ 2147483646 w 308"/>
                <a:gd name="T33" fmla="*/ 2147483646 h 447"/>
                <a:gd name="T34" fmla="*/ 2147483646 w 308"/>
                <a:gd name="T35" fmla="*/ 2147483646 h 447"/>
                <a:gd name="T36" fmla="*/ 2147483646 w 308"/>
                <a:gd name="T37" fmla="*/ 2147483646 h 447"/>
                <a:gd name="T38" fmla="*/ 2147483646 w 308"/>
                <a:gd name="T39" fmla="*/ 2147483646 h 447"/>
                <a:gd name="T40" fmla="*/ 2147483646 w 308"/>
                <a:gd name="T41" fmla="*/ 2147483646 h 447"/>
                <a:gd name="T42" fmla="*/ 2147483646 w 308"/>
                <a:gd name="T43" fmla="*/ 2147483646 h 447"/>
                <a:gd name="T44" fmla="*/ 2147483646 w 308"/>
                <a:gd name="T45" fmla="*/ 2147483646 h 447"/>
                <a:gd name="T46" fmla="*/ 2147483646 w 308"/>
                <a:gd name="T47" fmla="*/ 2147483646 h 447"/>
                <a:gd name="T48" fmla="*/ 0 w 308"/>
                <a:gd name="T49" fmla="*/ 2147483646 h 447"/>
                <a:gd name="T50" fmla="*/ 2147483646 w 308"/>
                <a:gd name="T51" fmla="*/ 2147483646 h 447"/>
                <a:gd name="T52" fmla="*/ 2147483646 w 308"/>
                <a:gd name="T53" fmla="*/ 2147483646 h 447"/>
                <a:gd name="T54" fmla="*/ 2147483646 w 308"/>
                <a:gd name="T55" fmla="*/ 2147483646 h 447"/>
                <a:gd name="T56" fmla="*/ 2147483646 w 308"/>
                <a:gd name="T57" fmla="*/ 2147483646 h 447"/>
                <a:gd name="T58" fmla="*/ 2147483646 w 308"/>
                <a:gd name="T59" fmla="*/ 0 h 44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08" h="447">
                  <a:moveTo>
                    <a:pt x="18" y="0"/>
                  </a:moveTo>
                  <a:cubicBezTo>
                    <a:pt x="20" y="2"/>
                    <a:pt x="21" y="7"/>
                    <a:pt x="21" y="15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4" y="116"/>
                    <a:pt x="28" y="115"/>
                    <a:pt x="33" y="115"/>
                  </a:cubicBezTo>
                  <a:cubicBezTo>
                    <a:pt x="34" y="115"/>
                    <a:pt x="35" y="115"/>
                    <a:pt x="36" y="115"/>
                  </a:cubicBezTo>
                  <a:cubicBezTo>
                    <a:pt x="36" y="115"/>
                    <a:pt x="37" y="115"/>
                    <a:pt x="38" y="115"/>
                  </a:cubicBezTo>
                  <a:cubicBezTo>
                    <a:pt x="47" y="115"/>
                    <a:pt x="57" y="118"/>
                    <a:pt x="58" y="127"/>
                  </a:cubicBezTo>
                  <a:cubicBezTo>
                    <a:pt x="61" y="126"/>
                    <a:pt x="65" y="125"/>
                    <a:pt x="69" y="125"/>
                  </a:cubicBezTo>
                  <a:cubicBezTo>
                    <a:pt x="70" y="125"/>
                    <a:pt x="71" y="125"/>
                    <a:pt x="72" y="125"/>
                  </a:cubicBezTo>
                  <a:cubicBezTo>
                    <a:pt x="73" y="125"/>
                    <a:pt x="73" y="125"/>
                    <a:pt x="74" y="125"/>
                  </a:cubicBezTo>
                  <a:cubicBezTo>
                    <a:pt x="84" y="125"/>
                    <a:pt x="95" y="129"/>
                    <a:pt x="95" y="140"/>
                  </a:cubicBezTo>
                  <a:cubicBezTo>
                    <a:pt x="96" y="139"/>
                    <a:pt x="98" y="139"/>
                    <a:pt x="100" y="139"/>
                  </a:cubicBezTo>
                  <a:cubicBezTo>
                    <a:pt x="101" y="139"/>
                    <a:pt x="101" y="139"/>
                    <a:pt x="102" y="139"/>
                  </a:cubicBezTo>
                  <a:cubicBezTo>
                    <a:pt x="103" y="139"/>
                    <a:pt x="104" y="139"/>
                    <a:pt x="105" y="139"/>
                  </a:cubicBezTo>
                  <a:cubicBezTo>
                    <a:pt x="114" y="139"/>
                    <a:pt x="126" y="143"/>
                    <a:pt x="126" y="149"/>
                  </a:cubicBezTo>
                  <a:cubicBezTo>
                    <a:pt x="126" y="180"/>
                    <a:pt x="131" y="222"/>
                    <a:pt x="121" y="251"/>
                  </a:cubicBezTo>
                  <a:cubicBezTo>
                    <a:pt x="118" y="261"/>
                    <a:pt x="111" y="287"/>
                    <a:pt x="99" y="288"/>
                  </a:cubicBezTo>
                  <a:cubicBezTo>
                    <a:pt x="122" y="288"/>
                    <a:pt x="122" y="288"/>
                    <a:pt x="122" y="288"/>
                  </a:cubicBezTo>
                  <a:cubicBezTo>
                    <a:pt x="124" y="288"/>
                    <a:pt x="127" y="289"/>
                    <a:pt x="129" y="291"/>
                  </a:cubicBezTo>
                  <a:cubicBezTo>
                    <a:pt x="130" y="293"/>
                    <a:pt x="131" y="295"/>
                    <a:pt x="131" y="297"/>
                  </a:cubicBezTo>
                  <a:cubicBezTo>
                    <a:pt x="131" y="363"/>
                    <a:pt x="131" y="363"/>
                    <a:pt x="131" y="363"/>
                  </a:cubicBezTo>
                  <a:cubicBezTo>
                    <a:pt x="131" y="366"/>
                    <a:pt x="129" y="369"/>
                    <a:pt x="127" y="370"/>
                  </a:cubicBezTo>
                  <a:cubicBezTo>
                    <a:pt x="126" y="372"/>
                    <a:pt x="124" y="372"/>
                    <a:pt x="122" y="372"/>
                  </a:cubicBezTo>
                  <a:cubicBezTo>
                    <a:pt x="3" y="372"/>
                    <a:pt x="3" y="372"/>
                    <a:pt x="3" y="372"/>
                  </a:cubicBezTo>
                  <a:cubicBezTo>
                    <a:pt x="2" y="372"/>
                    <a:pt x="1" y="372"/>
                    <a:pt x="0" y="372"/>
                  </a:cubicBezTo>
                  <a:cubicBezTo>
                    <a:pt x="128" y="447"/>
                    <a:pt x="128" y="447"/>
                    <a:pt x="128" y="447"/>
                  </a:cubicBezTo>
                  <a:cubicBezTo>
                    <a:pt x="233" y="406"/>
                    <a:pt x="308" y="303"/>
                    <a:pt x="308" y="183"/>
                  </a:cubicBezTo>
                  <a:cubicBezTo>
                    <a:pt x="308" y="177"/>
                    <a:pt x="307" y="170"/>
                    <a:pt x="307" y="164"/>
                  </a:cubicBezTo>
                  <a:cubicBezTo>
                    <a:pt x="307" y="164"/>
                    <a:pt x="307" y="164"/>
                    <a:pt x="307" y="164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9492" name="组合 3245"/>
            <p:cNvGrpSpPr/>
            <p:nvPr/>
          </p:nvGrpSpPr>
          <p:grpSpPr bwMode="auto">
            <a:xfrm>
              <a:off x="-2189857" y="767110"/>
              <a:ext cx="820738" cy="1414463"/>
              <a:chOff x="10250488" y="6194425"/>
              <a:chExt cx="820738" cy="1414463"/>
            </a:xfrm>
          </p:grpSpPr>
          <p:sp>
            <p:nvSpPr>
              <p:cNvPr id="19493" name="Freeform 189"/>
              <p:cNvSpPr/>
              <p:nvPr/>
            </p:nvSpPr>
            <p:spPr bwMode="auto">
              <a:xfrm>
                <a:off x="10306051" y="6791325"/>
                <a:ext cx="198438" cy="217488"/>
              </a:xfrm>
              <a:custGeom>
                <a:avLst/>
                <a:gdLst>
                  <a:gd name="T0" fmla="*/ 2147483646 w 53"/>
                  <a:gd name="T1" fmla="*/ 2147483646 h 58"/>
                  <a:gd name="T2" fmla="*/ 2147483646 w 53"/>
                  <a:gd name="T3" fmla="*/ 2147483646 h 58"/>
                  <a:gd name="T4" fmla="*/ 2147483646 w 53"/>
                  <a:gd name="T5" fmla="*/ 2147483646 h 58"/>
                  <a:gd name="T6" fmla="*/ 2147483646 w 53"/>
                  <a:gd name="T7" fmla="*/ 2147483646 h 58"/>
                  <a:gd name="T8" fmla="*/ 2147483646 w 53"/>
                  <a:gd name="T9" fmla="*/ 2147483646 h 58"/>
                  <a:gd name="T10" fmla="*/ 2147483646 w 53"/>
                  <a:gd name="T11" fmla="*/ 2147483646 h 58"/>
                  <a:gd name="T12" fmla="*/ 2147483646 w 53"/>
                  <a:gd name="T13" fmla="*/ 2147483646 h 58"/>
                  <a:gd name="T14" fmla="*/ 2147483646 w 53"/>
                  <a:gd name="T15" fmla="*/ 2147483646 h 58"/>
                  <a:gd name="T16" fmla="*/ 2147483646 w 53"/>
                  <a:gd name="T17" fmla="*/ 2147483646 h 58"/>
                  <a:gd name="T18" fmla="*/ 2147483646 w 53"/>
                  <a:gd name="T19" fmla="*/ 2147483646 h 58"/>
                  <a:gd name="T20" fmla="*/ 0 w 53"/>
                  <a:gd name="T21" fmla="*/ 2147483646 h 58"/>
                  <a:gd name="T22" fmla="*/ 2147483646 w 53"/>
                  <a:gd name="T23" fmla="*/ 2147483646 h 5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3" h="58">
                    <a:moveTo>
                      <a:pt x="53" y="52"/>
                    </a:moveTo>
                    <a:cubicBezTo>
                      <a:pt x="53" y="58"/>
                      <a:pt x="53" y="58"/>
                      <a:pt x="53" y="58"/>
                    </a:cubicBezTo>
                    <a:cubicBezTo>
                      <a:pt x="49" y="54"/>
                      <a:pt x="46" y="50"/>
                      <a:pt x="42" y="46"/>
                    </a:cubicBezTo>
                    <a:cubicBezTo>
                      <a:pt x="41" y="44"/>
                      <a:pt x="39" y="42"/>
                      <a:pt x="37" y="40"/>
                    </a:cubicBezTo>
                    <a:cubicBezTo>
                      <a:pt x="31" y="32"/>
                      <a:pt x="25" y="25"/>
                      <a:pt x="20" y="20"/>
                    </a:cubicBezTo>
                    <a:cubicBezTo>
                      <a:pt x="19" y="19"/>
                      <a:pt x="18" y="18"/>
                      <a:pt x="17" y="17"/>
                    </a:cubicBezTo>
                    <a:cubicBezTo>
                      <a:pt x="14" y="13"/>
                      <a:pt x="11" y="10"/>
                      <a:pt x="8" y="8"/>
                    </a:cubicBezTo>
                    <a:cubicBezTo>
                      <a:pt x="7" y="8"/>
                      <a:pt x="7" y="7"/>
                      <a:pt x="6" y="7"/>
                    </a:cubicBezTo>
                    <a:cubicBezTo>
                      <a:pt x="6" y="6"/>
                      <a:pt x="5" y="6"/>
                      <a:pt x="4" y="6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4"/>
                      <a:pt x="1" y="4"/>
                      <a:pt x="0" y="4"/>
                    </a:cubicBezTo>
                    <a:cubicBezTo>
                      <a:pt x="11" y="0"/>
                      <a:pt x="24" y="19"/>
                      <a:pt x="53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4" name="Freeform 190"/>
              <p:cNvSpPr/>
              <p:nvPr/>
            </p:nvSpPr>
            <p:spPr bwMode="auto">
              <a:xfrm>
                <a:off x="10914063" y="6750050"/>
                <a:ext cx="0" cy="3175"/>
              </a:xfrm>
              <a:custGeom>
                <a:avLst/>
                <a:gdLst>
                  <a:gd name="T0" fmla="*/ 2147483646 h 1"/>
                  <a:gd name="T1" fmla="*/ 0 h 1"/>
                  <a:gd name="T2" fmla="*/ 2147483646 h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5" name="Freeform 191"/>
              <p:cNvSpPr/>
              <p:nvPr/>
            </p:nvSpPr>
            <p:spPr bwMode="auto">
              <a:xfrm>
                <a:off x="10928351" y="6735763"/>
                <a:ext cx="142875" cy="557213"/>
              </a:xfrm>
              <a:custGeom>
                <a:avLst/>
                <a:gdLst>
                  <a:gd name="T0" fmla="*/ 2147483646 w 38"/>
                  <a:gd name="T1" fmla="*/ 2147483646 h 149"/>
                  <a:gd name="T2" fmla="*/ 2147483646 w 38"/>
                  <a:gd name="T3" fmla="*/ 2147483646 h 149"/>
                  <a:gd name="T4" fmla="*/ 0 w 38"/>
                  <a:gd name="T5" fmla="*/ 2147483646 h 149"/>
                  <a:gd name="T6" fmla="*/ 2147483646 w 38"/>
                  <a:gd name="T7" fmla="*/ 2147483646 h 149"/>
                  <a:gd name="T8" fmla="*/ 2147483646 w 38"/>
                  <a:gd name="T9" fmla="*/ 2147483646 h 149"/>
                  <a:gd name="T10" fmla="*/ 2147483646 w 38"/>
                  <a:gd name="T11" fmla="*/ 0 h 149"/>
                  <a:gd name="T12" fmla="*/ 2147483646 w 38"/>
                  <a:gd name="T13" fmla="*/ 2147483646 h 149"/>
                  <a:gd name="T14" fmla="*/ 2147483646 w 38"/>
                  <a:gd name="T15" fmla="*/ 2147483646 h 1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8" h="149">
                    <a:moveTo>
                      <a:pt x="28" y="112"/>
                    </a:moveTo>
                    <a:cubicBezTo>
                      <a:pt x="25" y="123"/>
                      <a:pt x="18" y="149"/>
                      <a:pt x="6" y="14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2" y="149"/>
                      <a:pt x="20" y="123"/>
                      <a:pt x="23" y="112"/>
                    </a:cubicBezTo>
                    <a:cubicBezTo>
                      <a:pt x="33" y="83"/>
                      <a:pt x="28" y="41"/>
                      <a:pt x="28" y="10"/>
                    </a:cubicBezTo>
                    <a:cubicBezTo>
                      <a:pt x="28" y="5"/>
                      <a:pt x="18" y="1"/>
                      <a:pt x="9" y="0"/>
                    </a:cubicBezTo>
                    <a:cubicBezTo>
                      <a:pt x="19" y="0"/>
                      <a:pt x="33" y="4"/>
                      <a:pt x="33" y="10"/>
                    </a:cubicBezTo>
                    <a:cubicBezTo>
                      <a:pt x="33" y="41"/>
                      <a:pt x="38" y="83"/>
                      <a:pt x="28" y="11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6" name="Freeform 192"/>
              <p:cNvSpPr/>
              <p:nvPr/>
            </p:nvSpPr>
            <p:spPr bwMode="auto">
              <a:xfrm>
                <a:off x="10914063" y="6750050"/>
                <a:ext cx="0" cy="3175"/>
              </a:xfrm>
              <a:custGeom>
                <a:avLst/>
                <a:gdLst>
                  <a:gd name="T0" fmla="*/ 2147483646 h 1"/>
                  <a:gd name="T1" fmla="*/ 0 h 1"/>
                  <a:gd name="T2" fmla="*/ 2147483646 h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7" name="Freeform 193"/>
              <p:cNvSpPr/>
              <p:nvPr/>
            </p:nvSpPr>
            <p:spPr bwMode="auto">
              <a:xfrm>
                <a:off x="10250488" y="6194425"/>
                <a:ext cx="801688" cy="1098550"/>
              </a:xfrm>
              <a:custGeom>
                <a:avLst/>
                <a:gdLst>
                  <a:gd name="T0" fmla="*/ 2147483646 w 214"/>
                  <a:gd name="T1" fmla="*/ 2147483646 h 293"/>
                  <a:gd name="T2" fmla="*/ 2147483646 w 214"/>
                  <a:gd name="T3" fmla="*/ 2147483646 h 293"/>
                  <a:gd name="T4" fmla="*/ 2147483646 w 214"/>
                  <a:gd name="T5" fmla="*/ 2147483646 h 293"/>
                  <a:gd name="T6" fmla="*/ 2147483646 w 214"/>
                  <a:gd name="T7" fmla="*/ 2147483646 h 293"/>
                  <a:gd name="T8" fmla="*/ 2147483646 w 214"/>
                  <a:gd name="T9" fmla="*/ 2147483646 h 293"/>
                  <a:gd name="T10" fmla="*/ 2147483646 w 214"/>
                  <a:gd name="T11" fmla="*/ 2147483646 h 293"/>
                  <a:gd name="T12" fmla="*/ 2147483646 w 214"/>
                  <a:gd name="T13" fmla="*/ 2147483646 h 293"/>
                  <a:gd name="T14" fmla="*/ 2147483646 w 214"/>
                  <a:gd name="T15" fmla="*/ 2147483646 h 293"/>
                  <a:gd name="T16" fmla="*/ 2147483646 w 214"/>
                  <a:gd name="T17" fmla="*/ 2147483646 h 293"/>
                  <a:gd name="T18" fmla="*/ 2147483646 w 214"/>
                  <a:gd name="T19" fmla="*/ 0 h 293"/>
                  <a:gd name="T20" fmla="*/ 2147483646 w 214"/>
                  <a:gd name="T21" fmla="*/ 2147483646 h 293"/>
                  <a:gd name="T22" fmla="*/ 2147483646 w 214"/>
                  <a:gd name="T23" fmla="*/ 2147483646 h 293"/>
                  <a:gd name="T24" fmla="*/ 2147483646 w 214"/>
                  <a:gd name="T25" fmla="*/ 2147483646 h 293"/>
                  <a:gd name="T26" fmla="*/ 2147483646 w 214"/>
                  <a:gd name="T27" fmla="*/ 2147483646 h 293"/>
                  <a:gd name="T28" fmla="*/ 2147483646 w 214"/>
                  <a:gd name="T29" fmla="*/ 2147483646 h 293"/>
                  <a:gd name="T30" fmla="*/ 2147483646 w 214"/>
                  <a:gd name="T31" fmla="*/ 2147483646 h 293"/>
                  <a:gd name="T32" fmla="*/ 2147483646 w 214"/>
                  <a:gd name="T33" fmla="*/ 2147483646 h 293"/>
                  <a:gd name="T34" fmla="*/ 2147483646 w 214"/>
                  <a:gd name="T35" fmla="*/ 2147483646 h 293"/>
                  <a:gd name="T36" fmla="*/ 2147483646 w 214"/>
                  <a:gd name="T37" fmla="*/ 2147483646 h 293"/>
                  <a:gd name="T38" fmla="*/ 2147483646 w 214"/>
                  <a:gd name="T39" fmla="*/ 2147483646 h 293"/>
                  <a:gd name="T40" fmla="*/ 2147483646 w 214"/>
                  <a:gd name="T41" fmla="*/ 2147483646 h 293"/>
                  <a:gd name="T42" fmla="*/ 2147483646 w 214"/>
                  <a:gd name="T43" fmla="*/ 2147483646 h 293"/>
                  <a:gd name="T44" fmla="*/ 2147483646 w 214"/>
                  <a:gd name="T45" fmla="*/ 2147483646 h 293"/>
                  <a:gd name="T46" fmla="*/ 2147483646 w 214"/>
                  <a:gd name="T47" fmla="*/ 2147483646 h 293"/>
                  <a:gd name="T48" fmla="*/ 2147483646 w 214"/>
                  <a:gd name="T49" fmla="*/ 2147483646 h 293"/>
                  <a:gd name="T50" fmla="*/ 2147483646 w 214"/>
                  <a:gd name="T51" fmla="*/ 2147483646 h 293"/>
                  <a:gd name="T52" fmla="*/ 2147483646 w 214"/>
                  <a:gd name="T53" fmla="*/ 2147483646 h 293"/>
                  <a:gd name="T54" fmla="*/ 2147483646 w 214"/>
                  <a:gd name="T55" fmla="*/ 2147483646 h 293"/>
                  <a:gd name="T56" fmla="*/ 2147483646 w 214"/>
                  <a:gd name="T57" fmla="*/ 2147483646 h 293"/>
                  <a:gd name="T58" fmla="*/ 2147483646 w 214"/>
                  <a:gd name="T59" fmla="*/ 2147483646 h 293"/>
                  <a:gd name="T60" fmla="*/ 2147483646 w 214"/>
                  <a:gd name="T61" fmla="*/ 2147483646 h 293"/>
                  <a:gd name="T62" fmla="*/ 2147483646 w 214"/>
                  <a:gd name="T63" fmla="*/ 2147483646 h 293"/>
                  <a:gd name="T64" fmla="*/ 2147483646 w 214"/>
                  <a:gd name="T65" fmla="*/ 2147483646 h 293"/>
                  <a:gd name="T66" fmla="*/ 2147483646 w 214"/>
                  <a:gd name="T67" fmla="*/ 2147483646 h 293"/>
                  <a:gd name="T68" fmla="*/ 2147483646 w 214"/>
                  <a:gd name="T69" fmla="*/ 2147483646 h 293"/>
                  <a:gd name="T70" fmla="*/ 2147483646 w 214"/>
                  <a:gd name="T71" fmla="*/ 2147483646 h 293"/>
                  <a:gd name="T72" fmla="*/ 2147483646 w 214"/>
                  <a:gd name="T73" fmla="*/ 2147483646 h 293"/>
                  <a:gd name="T74" fmla="*/ 2147483646 w 214"/>
                  <a:gd name="T75" fmla="*/ 2147483646 h 293"/>
                  <a:gd name="T76" fmla="*/ 2147483646 w 214"/>
                  <a:gd name="T77" fmla="*/ 2147483646 h 293"/>
                  <a:gd name="T78" fmla="*/ 2147483646 w 214"/>
                  <a:gd name="T79" fmla="*/ 2147483646 h 293"/>
                  <a:gd name="T80" fmla="*/ 2147483646 w 214"/>
                  <a:gd name="T81" fmla="*/ 2147483646 h 293"/>
                  <a:gd name="T82" fmla="*/ 2147483646 w 214"/>
                  <a:gd name="T83" fmla="*/ 2147483646 h 293"/>
                  <a:gd name="T84" fmla="*/ 2147483646 w 214"/>
                  <a:gd name="T85" fmla="*/ 2147483646 h 293"/>
                  <a:gd name="T86" fmla="*/ 2147483646 w 214"/>
                  <a:gd name="T87" fmla="*/ 2147483646 h 293"/>
                  <a:gd name="T88" fmla="*/ 2147483646 w 214"/>
                  <a:gd name="T89" fmla="*/ 2147483646 h 293"/>
                  <a:gd name="T90" fmla="*/ 2147483646 w 214"/>
                  <a:gd name="T91" fmla="*/ 2147483646 h 293"/>
                  <a:gd name="T92" fmla="*/ 2147483646 w 214"/>
                  <a:gd name="T93" fmla="*/ 2147483646 h 293"/>
                  <a:gd name="T94" fmla="*/ 2147483646 w 214"/>
                  <a:gd name="T95" fmla="*/ 2147483646 h 293"/>
                  <a:gd name="T96" fmla="*/ 2147483646 w 214"/>
                  <a:gd name="T97" fmla="*/ 2147483646 h 293"/>
                  <a:gd name="T98" fmla="*/ 2147483646 w 214"/>
                  <a:gd name="T99" fmla="*/ 2147483646 h 293"/>
                  <a:gd name="T100" fmla="*/ 2147483646 w 214"/>
                  <a:gd name="T101" fmla="*/ 2147483646 h 29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4" h="293">
                    <a:moveTo>
                      <a:pt x="204" y="256"/>
                    </a:moveTo>
                    <a:cubicBezTo>
                      <a:pt x="201" y="267"/>
                      <a:pt x="193" y="293"/>
                      <a:pt x="181" y="293"/>
                    </a:cubicBezTo>
                    <a:cubicBezTo>
                      <a:pt x="106" y="293"/>
                      <a:pt x="106" y="293"/>
                      <a:pt x="106" y="293"/>
                    </a:cubicBezTo>
                    <a:cubicBezTo>
                      <a:pt x="86" y="293"/>
                      <a:pt x="85" y="293"/>
                      <a:pt x="72" y="277"/>
                    </a:cubicBezTo>
                    <a:cubicBezTo>
                      <a:pt x="60" y="262"/>
                      <a:pt x="47" y="248"/>
                      <a:pt x="35" y="233"/>
                    </a:cubicBezTo>
                    <a:cubicBezTo>
                      <a:pt x="25" y="220"/>
                      <a:pt x="17" y="209"/>
                      <a:pt x="10" y="200"/>
                    </a:cubicBezTo>
                    <a:cubicBezTo>
                      <a:pt x="5" y="192"/>
                      <a:pt x="1" y="185"/>
                      <a:pt x="1" y="180"/>
                    </a:cubicBezTo>
                    <a:cubicBezTo>
                      <a:pt x="0" y="174"/>
                      <a:pt x="1" y="169"/>
                      <a:pt x="6" y="165"/>
                    </a:cubicBezTo>
                    <a:cubicBezTo>
                      <a:pt x="9" y="162"/>
                      <a:pt x="12" y="162"/>
                      <a:pt x="15" y="163"/>
                    </a:cubicBezTo>
                    <a:cubicBezTo>
                      <a:pt x="16" y="163"/>
                      <a:pt x="17" y="163"/>
                      <a:pt x="18" y="164"/>
                    </a:cubicBezTo>
                    <a:cubicBezTo>
                      <a:pt x="19" y="165"/>
                      <a:pt x="19" y="165"/>
                      <a:pt x="19" y="165"/>
                    </a:cubicBezTo>
                    <a:cubicBezTo>
                      <a:pt x="20" y="165"/>
                      <a:pt x="21" y="165"/>
                      <a:pt x="21" y="166"/>
                    </a:cubicBezTo>
                    <a:cubicBezTo>
                      <a:pt x="22" y="166"/>
                      <a:pt x="22" y="167"/>
                      <a:pt x="23" y="167"/>
                    </a:cubicBezTo>
                    <a:cubicBezTo>
                      <a:pt x="26" y="169"/>
                      <a:pt x="29" y="172"/>
                      <a:pt x="32" y="176"/>
                    </a:cubicBezTo>
                    <a:cubicBezTo>
                      <a:pt x="33" y="177"/>
                      <a:pt x="34" y="178"/>
                      <a:pt x="35" y="179"/>
                    </a:cubicBezTo>
                    <a:cubicBezTo>
                      <a:pt x="40" y="184"/>
                      <a:pt x="46" y="191"/>
                      <a:pt x="52" y="199"/>
                    </a:cubicBezTo>
                    <a:cubicBezTo>
                      <a:pt x="54" y="201"/>
                      <a:pt x="56" y="203"/>
                      <a:pt x="57" y="205"/>
                    </a:cubicBezTo>
                    <a:cubicBezTo>
                      <a:pt x="61" y="209"/>
                      <a:pt x="64" y="213"/>
                      <a:pt x="68" y="217"/>
                    </a:cubicBezTo>
                    <a:cubicBezTo>
                      <a:pt x="68" y="15"/>
                      <a:pt x="68" y="15"/>
                      <a:pt x="68" y="15"/>
                    </a:cubicBezTo>
                    <a:cubicBezTo>
                      <a:pt x="68" y="4"/>
                      <a:pt x="70" y="0"/>
                      <a:pt x="82" y="0"/>
                    </a:cubicBezTo>
                    <a:cubicBezTo>
                      <a:pt x="83" y="0"/>
                      <a:pt x="84" y="0"/>
                      <a:pt x="86" y="0"/>
                    </a:cubicBezTo>
                    <a:cubicBezTo>
                      <a:pt x="88" y="0"/>
                      <a:pt x="89" y="0"/>
                      <a:pt x="91" y="1"/>
                    </a:cubicBezTo>
                    <a:cubicBezTo>
                      <a:pt x="92" y="1"/>
                      <a:pt x="92" y="1"/>
                      <a:pt x="93" y="1"/>
                    </a:cubicBezTo>
                    <a:cubicBezTo>
                      <a:pt x="94" y="1"/>
                      <a:pt x="94" y="1"/>
                      <a:pt x="95" y="1"/>
                    </a:cubicBezTo>
                    <a:cubicBezTo>
                      <a:pt x="95" y="1"/>
                      <a:pt x="96" y="1"/>
                      <a:pt x="96" y="2"/>
                    </a:cubicBezTo>
                    <a:cubicBezTo>
                      <a:pt x="97" y="2"/>
                      <a:pt x="97" y="2"/>
                      <a:pt x="98" y="2"/>
                    </a:cubicBezTo>
                    <a:cubicBezTo>
                      <a:pt x="98" y="3"/>
                      <a:pt x="99" y="3"/>
                      <a:pt x="100" y="4"/>
                    </a:cubicBezTo>
                    <a:cubicBezTo>
                      <a:pt x="100" y="4"/>
                      <a:pt x="100" y="4"/>
                      <a:pt x="100" y="4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2" y="7"/>
                      <a:pt x="102" y="8"/>
                      <a:pt x="103" y="10"/>
                    </a:cubicBezTo>
                    <a:cubicBezTo>
                      <a:pt x="103" y="10"/>
                      <a:pt x="103" y="10"/>
                      <a:pt x="103" y="10"/>
                    </a:cubicBezTo>
                    <a:cubicBezTo>
                      <a:pt x="103" y="12"/>
                      <a:pt x="103" y="13"/>
                      <a:pt x="103" y="14"/>
                    </a:cubicBezTo>
                    <a:cubicBezTo>
                      <a:pt x="103" y="15"/>
                      <a:pt x="103" y="15"/>
                      <a:pt x="103" y="15"/>
                    </a:cubicBezTo>
                    <a:cubicBezTo>
                      <a:pt x="103" y="17"/>
                      <a:pt x="103" y="18"/>
                      <a:pt x="103" y="20"/>
                    </a:cubicBezTo>
                    <a:cubicBezTo>
                      <a:pt x="103" y="128"/>
                      <a:pt x="103" y="128"/>
                      <a:pt x="103" y="128"/>
                    </a:cubicBezTo>
                    <a:cubicBezTo>
                      <a:pt x="103" y="127"/>
                      <a:pt x="104" y="127"/>
                      <a:pt x="104" y="126"/>
                    </a:cubicBezTo>
                    <a:cubicBezTo>
                      <a:pt x="104" y="125"/>
                      <a:pt x="104" y="125"/>
                      <a:pt x="104" y="125"/>
                    </a:cubicBezTo>
                    <a:cubicBezTo>
                      <a:pt x="105" y="125"/>
                      <a:pt x="105" y="125"/>
                      <a:pt x="105" y="125"/>
                    </a:cubicBezTo>
                    <a:cubicBezTo>
                      <a:pt x="106" y="124"/>
                      <a:pt x="107" y="123"/>
                      <a:pt x="109" y="122"/>
                    </a:cubicBezTo>
                    <a:cubicBezTo>
                      <a:pt x="113" y="121"/>
                      <a:pt x="118" y="120"/>
                      <a:pt x="124" y="120"/>
                    </a:cubicBezTo>
                    <a:cubicBezTo>
                      <a:pt x="124" y="120"/>
                      <a:pt x="124" y="120"/>
                      <a:pt x="124" y="120"/>
                    </a:cubicBezTo>
                    <a:cubicBezTo>
                      <a:pt x="125" y="120"/>
                      <a:pt x="126" y="120"/>
                      <a:pt x="126" y="121"/>
                    </a:cubicBezTo>
                    <a:cubicBezTo>
                      <a:pt x="127" y="121"/>
                      <a:pt x="128" y="121"/>
                      <a:pt x="128" y="121"/>
                    </a:cubicBezTo>
                    <a:cubicBezTo>
                      <a:pt x="129" y="121"/>
                      <a:pt x="129" y="121"/>
                      <a:pt x="130" y="121"/>
                    </a:cubicBezTo>
                    <a:cubicBezTo>
                      <a:pt x="130" y="121"/>
                      <a:pt x="131" y="122"/>
                      <a:pt x="131" y="122"/>
                    </a:cubicBezTo>
                    <a:cubicBezTo>
                      <a:pt x="132" y="122"/>
                      <a:pt x="132" y="122"/>
                      <a:pt x="133" y="122"/>
                    </a:cubicBezTo>
                    <a:cubicBezTo>
                      <a:pt x="133" y="123"/>
                      <a:pt x="133" y="123"/>
                      <a:pt x="133" y="123"/>
                    </a:cubicBezTo>
                    <a:cubicBezTo>
                      <a:pt x="134" y="123"/>
                      <a:pt x="134" y="123"/>
                      <a:pt x="134" y="123"/>
                    </a:cubicBezTo>
                    <a:cubicBezTo>
                      <a:pt x="135" y="123"/>
                      <a:pt x="135" y="124"/>
                      <a:pt x="136" y="124"/>
                    </a:cubicBezTo>
                    <a:cubicBezTo>
                      <a:pt x="136" y="124"/>
                      <a:pt x="136" y="125"/>
                      <a:pt x="137" y="125"/>
                    </a:cubicBezTo>
                    <a:cubicBezTo>
                      <a:pt x="137" y="125"/>
                      <a:pt x="137" y="125"/>
                      <a:pt x="137" y="125"/>
                    </a:cubicBezTo>
                    <a:cubicBezTo>
                      <a:pt x="137" y="125"/>
                      <a:pt x="138" y="126"/>
                      <a:pt x="138" y="126"/>
                    </a:cubicBezTo>
                    <a:cubicBezTo>
                      <a:pt x="138" y="126"/>
                      <a:pt x="139" y="127"/>
                      <a:pt x="139" y="127"/>
                    </a:cubicBezTo>
                    <a:cubicBezTo>
                      <a:pt x="139" y="127"/>
                      <a:pt x="139" y="127"/>
                      <a:pt x="139" y="127"/>
                    </a:cubicBezTo>
                    <a:cubicBezTo>
                      <a:pt x="139" y="128"/>
                      <a:pt x="139" y="128"/>
                      <a:pt x="139" y="128"/>
                    </a:cubicBezTo>
                    <a:cubicBezTo>
                      <a:pt x="140" y="129"/>
                      <a:pt x="140" y="129"/>
                      <a:pt x="140" y="130"/>
                    </a:cubicBezTo>
                    <a:cubicBezTo>
                      <a:pt x="141" y="132"/>
                      <a:pt x="141" y="134"/>
                      <a:pt x="140" y="136"/>
                    </a:cubicBezTo>
                    <a:cubicBezTo>
                      <a:pt x="141" y="136"/>
                      <a:pt x="141" y="135"/>
                      <a:pt x="142" y="135"/>
                    </a:cubicBezTo>
                    <a:cubicBezTo>
                      <a:pt x="142" y="135"/>
                      <a:pt x="142" y="135"/>
                      <a:pt x="142" y="135"/>
                    </a:cubicBezTo>
                    <a:cubicBezTo>
                      <a:pt x="142" y="134"/>
                      <a:pt x="142" y="134"/>
                      <a:pt x="142" y="134"/>
                    </a:cubicBezTo>
                    <a:cubicBezTo>
                      <a:pt x="143" y="134"/>
                      <a:pt x="143" y="134"/>
                      <a:pt x="143" y="134"/>
                    </a:cubicBezTo>
                    <a:cubicBezTo>
                      <a:pt x="143" y="133"/>
                      <a:pt x="143" y="133"/>
                      <a:pt x="143" y="133"/>
                    </a:cubicBezTo>
                    <a:cubicBezTo>
                      <a:pt x="144" y="133"/>
                      <a:pt x="144" y="133"/>
                      <a:pt x="144" y="133"/>
                    </a:cubicBezTo>
                    <a:cubicBezTo>
                      <a:pt x="144" y="133"/>
                      <a:pt x="144" y="133"/>
                      <a:pt x="145" y="133"/>
                    </a:cubicBezTo>
                    <a:cubicBezTo>
                      <a:pt x="145" y="132"/>
                      <a:pt x="145" y="132"/>
                      <a:pt x="146" y="132"/>
                    </a:cubicBezTo>
                    <a:cubicBezTo>
                      <a:pt x="150" y="131"/>
                      <a:pt x="155" y="130"/>
                      <a:pt x="160" y="130"/>
                    </a:cubicBezTo>
                    <a:cubicBezTo>
                      <a:pt x="160" y="130"/>
                      <a:pt x="160" y="130"/>
                      <a:pt x="160" y="130"/>
                    </a:cubicBezTo>
                    <a:cubicBezTo>
                      <a:pt x="161" y="130"/>
                      <a:pt x="161" y="130"/>
                      <a:pt x="162" y="131"/>
                    </a:cubicBezTo>
                    <a:cubicBezTo>
                      <a:pt x="163" y="131"/>
                      <a:pt x="164" y="131"/>
                      <a:pt x="164" y="131"/>
                    </a:cubicBezTo>
                    <a:cubicBezTo>
                      <a:pt x="165" y="131"/>
                      <a:pt x="166" y="131"/>
                      <a:pt x="166" y="131"/>
                    </a:cubicBezTo>
                    <a:cubicBezTo>
                      <a:pt x="167" y="132"/>
                      <a:pt x="167" y="132"/>
                      <a:pt x="168" y="132"/>
                    </a:cubicBezTo>
                    <a:cubicBezTo>
                      <a:pt x="169" y="132"/>
                      <a:pt x="170" y="133"/>
                      <a:pt x="171" y="133"/>
                    </a:cubicBezTo>
                    <a:cubicBezTo>
                      <a:pt x="172" y="134"/>
                      <a:pt x="172" y="134"/>
                      <a:pt x="172" y="134"/>
                    </a:cubicBezTo>
                    <a:cubicBezTo>
                      <a:pt x="173" y="135"/>
                      <a:pt x="173" y="135"/>
                      <a:pt x="173" y="135"/>
                    </a:cubicBezTo>
                    <a:cubicBezTo>
                      <a:pt x="173" y="135"/>
                      <a:pt x="174" y="136"/>
                      <a:pt x="175" y="136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6" y="138"/>
                      <a:pt x="176" y="139"/>
                      <a:pt x="176" y="139"/>
                    </a:cubicBezTo>
                    <a:cubicBezTo>
                      <a:pt x="176" y="139"/>
                      <a:pt x="176" y="139"/>
                      <a:pt x="176" y="139"/>
                    </a:cubicBezTo>
                    <a:cubicBezTo>
                      <a:pt x="177" y="142"/>
                      <a:pt x="178" y="144"/>
                      <a:pt x="177" y="148"/>
                    </a:cubicBezTo>
                    <a:cubicBezTo>
                      <a:pt x="177" y="147"/>
                      <a:pt x="178" y="147"/>
                      <a:pt x="179" y="146"/>
                    </a:cubicBezTo>
                    <a:cubicBezTo>
                      <a:pt x="179" y="146"/>
                      <a:pt x="179" y="146"/>
                      <a:pt x="179" y="146"/>
                    </a:cubicBezTo>
                    <a:cubicBezTo>
                      <a:pt x="179" y="146"/>
                      <a:pt x="179" y="146"/>
                      <a:pt x="179" y="146"/>
                    </a:cubicBezTo>
                    <a:cubicBezTo>
                      <a:pt x="180" y="146"/>
                      <a:pt x="180" y="146"/>
                      <a:pt x="180" y="145"/>
                    </a:cubicBezTo>
                    <a:cubicBezTo>
                      <a:pt x="181" y="145"/>
                      <a:pt x="181" y="145"/>
                      <a:pt x="181" y="145"/>
                    </a:cubicBezTo>
                    <a:cubicBezTo>
                      <a:pt x="182" y="145"/>
                      <a:pt x="182" y="145"/>
                      <a:pt x="182" y="145"/>
                    </a:cubicBezTo>
                    <a:cubicBezTo>
                      <a:pt x="182" y="145"/>
                      <a:pt x="182" y="145"/>
                      <a:pt x="183" y="145"/>
                    </a:cubicBezTo>
                    <a:cubicBezTo>
                      <a:pt x="185" y="144"/>
                      <a:pt x="188" y="144"/>
                      <a:pt x="190" y="144"/>
                    </a:cubicBezTo>
                    <a:cubicBezTo>
                      <a:pt x="191" y="145"/>
                      <a:pt x="192" y="145"/>
                      <a:pt x="194" y="145"/>
                    </a:cubicBezTo>
                    <a:cubicBezTo>
                      <a:pt x="194" y="145"/>
                      <a:pt x="195" y="145"/>
                      <a:pt x="195" y="145"/>
                    </a:cubicBezTo>
                    <a:cubicBezTo>
                      <a:pt x="196" y="145"/>
                      <a:pt x="197" y="146"/>
                      <a:pt x="199" y="146"/>
                    </a:cubicBezTo>
                    <a:cubicBezTo>
                      <a:pt x="200" y="146"/>
                      <a:pt x="201" y="147"/>
                      <a:pt x="202" y="147"/>
                    </a:cubicBezTo>
                    <a:cubicBezTo>
                      <a:pt x="202" y="147"/>
                      <a:pt x="202" y="147"/>
                      <a:pt x="202" y="147"/>
                    </a:cubicBezTo>
                    <a:cubicBezTo>
                      <a:pt x="202" y="147"/>
                      <a:pt x="203" y="147"/>
                      <a:pt x="203" y="148"/>
                    </a:cubicBezTo>
                    <a:cubicBezTo>
                      <a:pt x="204" y="148"/>
                      <a:pt x="204" y="148"/>
                      <a:pt x="205" y="148"/>
                    </a:cubicBezTo>
                    <a:cubicBezTo>
                      <a:pt x="205" y="149"/>
                      <a:pt x="206" y="149"/>
                      <a:pt x="206" y="149"/>
                    </a:cubicBezTo>
                    <a:cubicBezTo>
                      <a:pt x="207" y="150"/>
                      <a:pt x="207" y="150"/>
                      <a:pt x="207" y="150"/>
                    </a:cubicBezTo>
                    <a:cubicBezTo>
                      <a:pt x="207" y="150"/>
                      <a:pt x="208" y="151"/>
                      <a:pt x="208" y="151"/>
                    </a:cubicBezTo>
                    <a:cubicBezTo>
                      <a:pt x="208" y="152"/>
                      <a:pt x="208" y="152"/>
                      <a:pt x="208" y="152"/>
                    </a:cubicBezTo>
                    <a:cubicBezTo>
                      <a:pt x="209" y="153"/>
                      <a:pt x="209" y="153"/>
                      <a:pt x="209" y="153"/>
                    </a:cubicBezTo>
                    <a:cubicBezTo>
                      <a:pt x="209" y="153"/>
                      <a:pt x="209" y="153"/>
                      <a:pt x="209" y="153"/>
                    </a:cubicBezTo>
                    <a:cubicBezTo>
                      <a:pt x="209" y="154"/>
                      <a:pt x="209" y="154"/>
                      <a:pt x="209" y="154"/>
                    </a:cubicBezTo>
                    <a:cubicBezTo>
                      <a:pt x="209" y="185"/>
                      <a:pt x="214" y="227"/>
                      <a:pt x="204" y="25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8" name="Freeform 194"/>
              <p:cNvSpPr/>
              <p:nvPr/>
            </p:nvSpPr>
            <p:spPr bwMode="auto">
              <a:xfrm>
                <a:off x="10556876" y="7292975"/>
                <a:ext cx="514350" cy="315913"/>
              </a:xfrm>
              <a:custGeom>
                <a:avLst/>
                <a:gdLst>
                  <a:gd name="T0" fmla="*/ 2147483646 w 137"/>
                  <a:gd name="T1" fmla="*/ 2147483646 h 84"/>
                  <a:gd name="T2" fmla="*/ 2147483646 w 137"/>
                  <a:gd name="T3" fmla="*/ 2147483646 h 84"/>
                  <a:gd name="T4" fmla="*/ 2147483646 w 137"/>
                  <a:gd name="T5" fmla="*/ 2147483646 h 84"/>
                  <a:gd name="T6" fmla="*/ 2147483646 w 137"/>
                  <a:gd name="T7" fmla="*/ 2147483646 h 84"/>
                  <a:gd name="T8" fmla="*/ 2147483646 w 137"/>
                  <a:gd name="T9" fmla="*/ 2147483646 h 84"/>
                  <a:gd name="T10" fmla="*/ 2147483646 w 137"/>
                  <a:gd name="T11" fmla="*/ 2147483646 h 84"/>
                  <a:gd name="T12" fmla="*/ 2147483646 w 137"/>
                  <a:gd name="T13" fmla="*/ 2147483646 h 84"/>
                  <a:gd name="T14" fmla="*/ 0 w 137"/>
                  <a:gd name="T15" fmla="*/ 2147483646 h 84"/>
                  <a:gd name="T16" fmla="*/ 0 w 137"/>
                  <a:gd name="T17" fmla="*/ 2147483646 h 84"/>
                  <a:gd name="T18" fmla="*/ 2147483646 w 137"/>
                  <a:gd name="T19" fmla="*/ 0 h 84"/>
                  <a:gd name="T20" fmla="*/ 2147483646 w 137"/>
                  <a:gd name="T21" fmla="*/ 0 h 84"/>
                  <a:gd name="T22" fmla="*/ 2147483646 w 137"/>
                  <a:gd name="T23" fmla="*/ 2147483646 h 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37" h="84">
                    <a:moveTo>
                      <a:pt x="137" y="9"/>
                    </a:move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80"/>
                      <a:pt x="133" y="84"/>
                      <a:pt x="128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7" y="84"/>
                      <a:pt x="6" y="84"/>
                    </a:cubicBezTo>
                    <a:cubicBezTo>
                      <a:pt x="5" y="83"/>
                      <a:pt x="4" y="83"/>
                      <a:pt x="3" y="82"/>
                    </a:cubicBezTo>
                    <a:cubicBezTo>
                      <a:pt x="3" y="82"/>
                      <a:pt x="3" y="82"/>
                      <a:pt x="3" y="82"/>
                    </a:cubicBezTo>
                    <a:cubicBezTo>
                      <a:pt x="1" y="81"/>
                      <a:pt x="0" y="78"/>
                      <a:pt x="0" y="75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33" y="0"/>
                      <a:pt x="137" y="4"/>
                      <a:pt x="137" y="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9" name="Freeform 195"/>
              <p:cNvSpPr>
                <a:spLocks noEditPoints="1"/>
              </p:cNvSpPr>
              <p:nvPr/>
            </p:nvSpPr>
            <p:spPr bwMode="auto">
              <a:xfrm>
                <a:off x="10933113" y="7477125"/>
                <a:ext cx="111125" cy="112713"/>
              </a:xfrm>
              <a:custGeom>
                <a:avLst/>
                <a:gdLst>
                  <a:gd name="T0" fmla="*/ 2147483646 w 30"/>
                  <a:gd name="T1" fmla="*/ 2147483646 h 30"/>
                  <a:gd name="T2" fmla="*/ 2147483646 w 30"/>
                  <a:gd name="T3" fmla="*/ 2147483646 h 30"/>
                  <a:gd name="T4" fmla="*/ 2147483646 w 30"/>
                  <a:gd name="T5" fmla="*/ 2147483646 h 30"/>
                  <a:gd name="T6" fmla="*/ 2147483646 w 30"/>
                  <a:gd name="T7" fmla="*/ 2147483646 h 30"/>
                  <a:gd name="T8" fmla="*/ 2147483646 w 30"/>
                  <a:gd name="T9" fmla="*/ 2147483646 h 30"/>
                  <a:gd name="T10" fmla="*/ 2147483646 w 30"/>
                  <a:gd name="T11" fmla="*/ 2147483646 h 30"/>
                  <a:gd name="T12" fmla="*/ 2147483646 w 30"/>
                  <a:gd name="T13" fmla="*/ 2147483646 h 30"/>
                  <a:gd name="T14" fmla="*/ 2147483646 w 30"/>
                  <a:gd name="T15" fmla="*/ 2147483646 h 30"/>
                  <a:gd name="T16" fmla="*/ 2147483646 w 30"/>
                  <a:gd name="T17" fmla="*/ 2147483646 h 30"/>
                  <a:gd name="T18" fmla="*/ 2147483646 w 30"/>
                  <a:gd name="T19" fmla="*/ 2147483646 h 30"/>
                  <a:gd name="T20" fmla="*/ 2147483646 w 30"/>
                  <a:gd name="T21" fmla="*/ 2147483646 h 30"/>
                  <a:gd name="T22" fmla="*/ 2147483646 w 30"/>
                  <a:gd name="T23" fmla="*/ 0 h 30"/>
                  <a:gd name="T24" fmla="*/ 2147483646 w 30"/>
                  <a:gd name="T25" fmla="*/ 2147483646 h 30"/>
                  <a:gd name="T26" fmla="*/ 2147483646 w 30"/>
                  <a:gd name="T27" fmla="*/ 2147483646 h 30"/>
                  <a:gd name="T28" fmla="*/ 2147483646 w 30"/>
                  <a:gd name="T29" fmla="*/ 2147483646 h 30"/>
                  <a:gd name="T30" fmla="*/ 2147483646 w 30"/>
                  <a:gd name="T31" fmla="*/ 2147483646 h 30"/>
                  <a:gd name="T32" fmla="*/ 2147483646 w 30"/>
                  <a:gd name="T33" fmla="*/ 2147483646 h 30"/>
                  <a:gd name="T34" fmla="*/ 2147483646 w 30"/>
                  <a:gd name="T35" fmla="*/ 2147483646 h 30"/>
                  <a:gd name="T36" fmla="*/ 2147483646 w 30"/>
                  <a:gd name="T37" fmla="*/ 2147483646 h 30"/>
                  <a:gd name="T38" fmla="*/ 2147483646 w 30"/>
                  <a:gd name="T39" fmla="*/ 2147483646 h 30"/>
                  <a:gd name="T40" fmla="*/ 2147483646 w 30"/>
                  <a:gd name="T41" fmla="*/ 2147483646 h 30"/>
                  <a:gd name="T42" fmla="*/ 2147483646 w 30"/>
                  <a:gd name="T43" fmla="*/ 0 h 3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0" h="30">
                    <a:moveTo>
                      <a:pt x="13" y="26"/>
                    </a:moveTo>
                    <a:cubicBezTo>
                      <a:pt x="12" y="26"/>
                      <a:pt x="11" y="25"/>
                      <a:pt x="11" y="25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2" y="16"/>
                      <a:pt x="2" y="14"/>
                      <a:pt x="3" y="13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4"/>
                      <a:pt x="12" y="4"/>
                      <a:pt x="13" y="4"/>
                    </a:cubicBezTo>
                    <a:cubicBezTo>
                      <a:pt x="14" y="4"/>
                      <a:pt x="15" y="4"/>
                      <a:pt x="15" y="5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4" y="14"/>
                      <a:pt x="24" y="16"/>
                      <a:pt x="23" y="17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5" y="25"/>
                      <a:pt x="14" y="26"/>
                      <a:pt x="13" y="26"/>
                    </a:cubicBezTo>
                    <a:moveTo>
                      <a:pt x="15" y="0"/>
                    </a:moveTo>
                    <a:cubicBezTo>
                      <a:pt x="14" y="0"/>
                      <a:pt x="12" y="1"/>
                      <a:pt x="12" y="1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3"/>
                      <a:pt x="0" y="16"/>
                      <a:pt x="1" y="18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29"/>
                      <a:pt x="14" y="30"/>
                      <a:pt x="15" y="30"/>
                    </a:cubicBezTo>
                    <a:cubicBezTo>
                      <a:pt x="16" y="30"/>
                      <a:pt x="17" y="29"/>
                      <a:pt x="18" y="28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30" y="16"/>
                      <a:pt x="30" y="13"/>
                      <a:pt x="28" y="12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7" y="1"/>
                      <a:pt x="16" y="0"/>
                      <a:pt x="15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0" name="Freeform 196"/>
              <p:cNvSpPr/>
              <p:nvPr/>
            </p:nvSpPr>
            <p:spPr bwMode="auto">
              <a:xfrm>
                <a:off x="10939463" y="7493000"/>
                <a:ext cx="82550" cy="82550"/>
              </a:xfrm>
              <a:custGeom>
                <a:avLst/>
                <a:gdLst>
                  <a:gd name="T0" fmla="*/ 2147483646 w 22"/>
                  <a:gd name="T1" fmla="*/ 0 h 22"/>
                  <a:gd name="T2" fmla="*/ 2147483646 w 22"/>
                  <a:gd name="T3" fmla="*/ 2147483646 h 22"/>
                  <a:gd name="T4" fmla="*/ 2147483646 w 22"/>
                  <a:gd name="T5" fmla="*/ 2147483646 h 22"/>
                  <a:gd name="T6" fmla="*/ 2147483646 w 22"/>
                  <a:gd name="T7" fmla="*/ 2147483646 h 22"/>
                  <a:gd name="T8" fmla="*/ 2147483646 w 22"/>
                  <a:gd name="T9" fmla="*/ 2147483646 h 22"/>
                  <a:gd name="T10" fmla="*/ 2147483646 w 22"/>
                  <a:gd name="T11" fmla="*/ 2147483646 h 22"/>
                  <a:gd name="T12" fmla="*/ 2147483646 w 22"/>
                  <a:gd name="T13" fmla="*/ 2147483646 h 22"/>
                  <a:gd name="T14" fmla="*/ 2147483646 w 22"/>
                  <a:gd name="T15" fmla="*/ 2147483646 h 22"/>
                  <a:gd name="T16" fmla="*/ 2147483646 w 22"/>
                  <a:gd name="T17" fmla="*/ 2147483646 h 22"/>
                  <a:gd name="T18" fmla="*/ 2147483646 w 22"/>
                  <a:gd name="T19" fmla="*/ 2147483646 h 22"/>
                  <a:gd name="T20" fmla="*/ 2147483646 w 22"/>
                  <a:gd name="T21" fmla="*/ 0 h 2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2" h="22">
                    <a:moveTo>
                      <a:pt x="11" y="0"/>
                    </a:moveTo>
                    <a:cubicBezTo>
                      <a:pt x="10" y="0"/>
                      <a:pt x="9" y="0"/>
                      <a:pt x="9" y="1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2"/>
                      <a:pt x="1" y="1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1"/>
                      <a:pt x="10" y="22"/>
                      <a:pt x="11" y="22"/>
                    </a:cubicBezTo>
                    <a:cubicBezTo>
                      <a:pt x="12" y="22"/>
                      <a:pt x="13" y="21"/>
                      <a:pt x="13" y="21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2"/>
                      <a:pt x="22" y="10"/>
                      <a:pt x="21" y="9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2" y="0"/>
                      <a:pt x="1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1" name="Freeform 197"/>
              <p:cNvSpPr/>
              <p:nvPr/>
            </p:nvSpPr>
            <p:spPr bwMode="auto">
              <a:xfrm>
                <a:off x="10523538" y="6210300"/>
                <a:ext cx="90488" cy="93663"/>
              </a:xfrm>
              <a:custGeom>
                <a:avLst/>
                <a:gdLst>
                  <a:gd name="T0" fmla="*/ 2147483646 w 24"/>
                  <a:gd name="T1" fmla="*/ 2147483646 h 25"/>
                  <a:gd name="T2" fmla="*/ 2147483646 w 24"/>
                  <a:gd name="T3" fmla="*/ 2147483646 h 25"/>
                  <a:gd name="T4" fmla="*/ 2147483646 w 24"/>
                  <a:gd name="T5" fmla="*/ 2147483646 h 25"/>
                  <a:gd name="T6" fmla="*/ 0 w 24"/>
                  <a:gd name="T7" fmla="*/ 2147483646 h 25"/>
                  <a:gd name="T8" fmla="*/ 0 w 24"/>
                  <a:gd name="T9" fmla="*/ 2147483646 h 25"/>
                  <a:gd name="T10" fmla="*/ 2147483646 w 24"/>
                  <a:gd name="T11" fmla="*/ 0 h 25"/>
                  <a:gd name="T12" fmla="*/ 2147483646 w 24"/>
                  <a:gd name="T13" fmla="*/ 0 h 25"/>
                  <a:gd name="T14" fmla="*/ 2147483646 w 24"/>
                  <a:gd name="T15" fmla="*/ 2147483646 h 25"/>
                  <a:gd name="T16" fmla="*/ 2147483646 w 24"/>
                  <a:gd name="T17" fmla="*/ 2147483646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" h="25">
                    <a:moveTo>
                      <a:pt x="24" y="20"/>
                    </a:moveTo>
                    <a:cubicBezTo>
                      <a:pt x="24" y="23"/>
                      <a:pt x="22" y="25"/>
                      <a:pt x="19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3" y="25"/>
                      <a:pt x="0" y="23"/>
                      <a:pt x="0" y="2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2" y="0"/>
                      <a:pt x="24" y="3"/>
                      <a:pt x="24" y="5"/>
                    </a:cubicBezTo>
                    <a:lnTo>
                      <a:pt x="24" y="2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2" name="Freeform 198"/>
              <p:cNvSpPr/>
              <p:nvPr/>
            </p:nvSpPr>
            <p:spPr bwMode="auto">
              <a:xfrm>
                <a:off x="10572751" y="6194425"/>
                <a:ext cx="85725" cy="558800"/>
              </a:xfrm>
              <a:custGeom>
                <a:avLst/>
                <a:gdLst>
                  <a:gd name="T0" fmla="*/ 2147483646 w 23"/>
                  <a:gd name="T1" fmla="*/ 2147483646 h 149"/>
                  <a:gd name="T2" fmla="*/ 2147483646 w 23"/>
                  <a:gd name="T3" fmla="*/ 2147483646 h 149"/>
                  <a:gd name="T4" fmla="*/ 2147483646 w 23"/>
                  <a:gd name="T5" fmla="*/ 2147483646 h 149"/>
                  <a:gd name="T6" fmla="*/ 2147483646 w 23"/>
                  <a:gd name="T7" fmla="*/ 2147483646 h 149"/>
                  <a:gd name="T8" fmla="*/ 2147483646 w 23"/>
                  <a:gd name="T9" fmla="*/ 2147483646 h 149"/>
                  <a:gd name="T10" fmla="*/ 2147483646 w 23"/>
                  <a:gd name="T11" fmla="*/ 2147483646 h 149"/>
                  <a:gd name="T12" fmla="*/ 2147483646 w 23"/>
                  <a:gd name="T13" fmla="*/ 2147483646 h 149"/>
                  <a:gd name="T14" fmla="*/ 2147483646 w 23"/>
                  <a:gd name="T15" fmla="*/ 2147483646 h 149"/>
                  <a:gd name="T16" fmla="*/ 2147483646 w 23"/>
                  <a:gd name="T17" fmla="*/ 2147483646 h 149"/>
                  <a:gd name="T18" fmla="*/ 2147483646 w 23"/>
                  <a:gd name="T19" fmla="*/ 2147483646 h 149"/>
                  <a:gd name="T20" fmla="*/ 2147483646 w 23"/>
                  <a:gd name="T21" fmla="*/ 2147483646 h 149"/>
                  <a:gd name="T22" fmla="*/ 2147483646 w 23"/>
                  <a:gd name="T23" fmla="*/ 2147483646 h 149"/>
                  <a:gd name="T24" fmla="*/ 2147483646 w 23"/>
                  <a:gd name="T25" fmla="*/ 2147483646 h 149"/>
                  <a:gd name="T26" fmla="*/ 2147483646 w 23"/>
                  <a:gd name="T27" fmla="*/ 2147483646 h 149"/>
                  <a:gd name="T28" fmla="*/ 2147483646 w 23"/>
                  <a:gd name="T29" fmla="*/ 2147483646 h 149"/>
                  <a:gd name="T30" fmla="*/ 2147483646 w 23"/>
                  <a:gd name="T31" fmla="*/ 2147483646 h 149"/>
                  <a:gd name="T32" fmla="*/ 2147483646 w 23"/>
                  <a:gd name="T33" fmla="*/ 2147483646 h 149"/>
                  <a:gd name="T34" fmla="*/ 2147483646 w 23"/>
                  <a:gd name="T35" fmla="*/ 2147483646 h 149"/>
                  <a:gd name="T36" fmla="*/ 2147483646 w 23"/>
                  <a:gd name="T37" fmla="*/ 2147483646 h 149"/>
                  <a:gd name="T38" fmla="*/ 2147483646 w 23"/>
                  <a:gd name="T39" fmla="*/ 2147483646 h 149"/>
                  <a:gd name="T40" fmla="*/ 2147483646 w 23"/>
                  <a:gd name="T41" fmla="*/ 2147483646 h 149"/>
                  <a:gd name="T42" fmla="*/ 2147483646 w 23"/>
                  <a:gd name="T43" fmla="*/ 2147483646 h 149"/>
                  <a:gd name="T44" fmla="*/ 2147483646 w 23"/>
                  <a:gd name="T45" fmla="*/ 2147483646 h 149"/>
                  <a:gd name="T46" fmla="*/ 2147483646 w 23"/>
                  <a:gd name="T47" fmla="*/ 2147483646 h 149"/>
                  <a:gd name="T48" fmla="*/ 2147483646 w 23"/>
                  <a:gd name="T49" fmla="*/ 2147483646 h 149"/>
                  <a:gd name="T50" fmla="*/ 2147483646 w 23"/>
                  <a:gd name="T51" fmla="*/ 2147483646 h 149"/>
                  <a:gd name="T52" fmla="*/ 2147483646 w 23"/>
                  <a:gd name="T53" fmla="*/ 2147483646 h 149"/>
                  <a:gd name="T54" fmla="*/ 0 w 23"/>
                  <a:gd name="T55" fmla="*/ 0 h 149"/>
                  <a:gd name="T56" fmla="*/ 2147483646 w 23"/>
                  <a:gd name="T57" fmla="*/ 0 h 149"/>
                  <a:gd name="T58" fmla="*/ 2147483646 w 23"/>
                  <a:gd name="T59" fmla="*/ 2147483646 h 149"/>
                  <a:gd name="T60" fmla="*/ 2147483646 w 23"/>
                  <a:gd name="T61" fmla="*/ 2147483646 h 149"/>
                  <a:gd name="T62" fmla="*/ 2147483646 w 23"/>
                  <a:gd name="T63" fmla="*/ 2147483646 h 14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" h="149">
                    <a:moveTo>
                      <a:pt x="23" y="20"/>
                    </a:moveTo>
                    <a:cubicBezTo>
                      <a:pt x="23" y="122"/>
                      <a:pt x="23" y="122"/>
                      <a:pt x="23" y="122"/>
                    </a:cubicBezTo>
                    <a:cubicBezTo>
                      <a:pt x="21" y="123"/>
                      <a:pt x="20" y="124"/>
                      <a:pt x="19" y="125"/>
                    </a:cubicBezTo>
                    <a:cubicBezTo>
                      <a:pt x="18" y="125"/>
                      <a:pt x="18" y="125"/>
                      <a:pt x="18" y="125"/>
                    </a:cubicBezTo>
                    <a:cubicBezTo>
                      <a:pt x="18" y="126"/>
                      <a:pt x="18" y="126"/>
                      <a:pt x="18" y="126"/>
                    </a:cubicBezTo>
                    <a:cubicBezTo>
                      <a:pt x="18" y="127"/>
                      <a:pt x="18" y="128"/>
                      <a:pt x="18" y="129"/>
                    </a:cubicBezTo>
                    <a:cubicBezTo>
                      <a:pt x="19" y="131"/>
                      <a:pt x="19" y="134"/>
                      <a:pt x="19" y="137"/>
                    </a:cubicBezTo>
                    <a:cubicBezTo>
                      <a:pt x="19" y="140"/>
                      <a:pt x="19" y="143"/>
                      <a:pt x="18" y="145"/>
                    </a:cubicBezTo>
                    <a:cubicBezTo>
                      <a:pt x="18" y="147"/>
                      <a:pt x="17" y="149"/>
                      <a:pt x="17" y="149"/>
                    </a:cubicBezTo>
                    <a:cubicBezTo>
                      <a:pt x="17" y="149"/>
                      <a:pt x="17" y="147"/>
                      <a:pt x="17" y="145"/>
                    </a:cubicBezTo>
                    <a:cubicBezTo>
                      <a:pt x="16" y="143"/>
                      <a:pt x="16" y="140"/>
                      <a:pt x="16" y="137"/>
                    </a:cubicBezTo>
                    <a:cubicBezTo>
                      <a:pt x="16" y="134"/>
                      <a:pt x="16" y="131"/>
                      <a:pt x="17" y="129"/>
                    </a:cubicBezTo>
                    <a:cubicBezTo>
                      <a:pt x="17" y="127"/>
                      <a:pt x="17" y="125"/>
                      <a:pt x="17" y="125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18"/>
                      <a:pt x="17" y="17"/>
                      <a:pt x="17" y="15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7" y="13"/>
                      <a:pt x="17" y="12"/>
                      <a:pt x="17" y="10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6" y="8"/>
                      <a:pt x="16" y="7"/>
                      <a:pt x="15" y="5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2" y="2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7" y="1"/>
                    </a:cubicBezTo>
                    <a:cubicBezTo>
                      <a:pt x="6" y="1"/>
                      <a:pt x="6" y="1"/>
                      <a:pt x="5" y="1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7" y="0"/>
                      <a:pt x="11" y="0"/>
                      <a:pt x="14" y="1"/>
                    </a:cubicBezTo>
                    <a:cubicBezTo>
                      <a:pt x="17" y="2"/>
                      <a:pt x="19" y="3"/>
                      <a:pt x="20" y="4"/>
                    </a:cubicBezTo>
                    <a:cubicBezTo>
                      <a:pt x="22" y="7"/>
                      <a:pt x="23" y="12"/>
                      <a:pt x="2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3" name="Freeform 199"/>
              <p:cNvSpPr/>
              <p:nvPr/>
            </p:nvSpPr>
            <p:spPr bwMode="auto">
              <a:xfrm>
                <a:off x="10715626" y="6645275"/>
                <a:ext cx="82550" cy="107950"/>
              </a:xfrm>
              <a:custGeom>
                <a:avLst/>
                <a:gdLst>
                  <a:gd name="T0" fmla="*/ 0 w 22"/>
                  <a:gd name="T1" fmla="*/ 0 h 29"/>
                  <a:gd name="T2" fmla="*/ 2147483646 w 22"/>
                  <a:gd name="T3" fmla="*/ 2147483646 h 29"/>
                  <a:gd name="T4" fmla="*/ 2147483646 w 22"/>
                  <a:gd name="T5" fmla="*/ 2147483646 h 29"/>
                  <a:gd name="T6" fmla="*/ 2147483646 w 22"/>
                  <a:gd name="T7" fmla="*/ 2147483646 h 29"/>
                  <a:gd name="T8" fmla="*/ 2147483646 w 22"/>
                  <a:gd name="T9" fmla="*/ 2147483646 h 29"/>
                  <a:gd name="T10" fmla="*/ 2147483646 w 22"/>
                  <a:gd name="T11" fmla="*/ 2147483646 h 29"/>
                  <a:gd name="T12" fmla="*/ 2147483646 w 22"/>
                  <a:gd name="T13" fmla="*/ 2147483646 h 29"/>
                  <a:gd name="T14" fmla="*/ 2147483646 w 22"/>
                  <a:gd name="T15" fmla="*/ 2147483646 h 29"/>
                  <a:gd name="T16" fmla="*/ 2147483646 w 22"/>
                  <a:gd name="T17" fmla="*/ 2147483646 h 29"/>
                  <a:gd name="T18" fmla="*/ 2147483646 w 22"/>
                  <a:gd name="T19" fmla="*/ 2147483646 h 29"/>
                  <a:gd name="T20" fmla="*/ 0 w 22"/>
                  <a:gd name="T21" fmla="*/ 0 h 2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2" h="29">
                    <a:moveTo>
                      <a:pt x="0" y="0"/>
                    </a:moveTo>
                    <a:cubicBezTo>
                      <a:pt x="7" y="1"/>
                      <a:pt x="14" y="4"/>
                      <a:pt x="16" y="10"/>
                    </a:cubicBezTo>
                    <a:cubicBezTo>
                      <a:pt x="16" y="11"/>
                      <a:pt x="16" y="11"/>
                      <a:pt x="16" y="12"/>
                    </a:cubicBezTo>
                    <a:cubicBezTo>
                      <a:pt x="15" y="14"/>
                      <a:pt x="15" y="16"/>
                      <a:pt x="15" y="19"/>
                    </a:cubicBezTo>
                    <a:cubicBezTo>
                      <a:pt x="15" y="21"/>
                      <a:pt x="15" y="24"/>
                      <a:pt x="16" y="26"/>
                    </a:cubicBezTo>
                    <a:cubicBezTo>
                      <a:pt x="16" y="28"/>
                      <a:pt x="16" y="29"/>
                      <a:pt x="16" y="29"/>
                    </a:cubicBezTo>
                    <a:cubicBezTo>
                      <a:pt x="16" y="29"/>
                      <a:pt x="17" y="28"/>
                      <a:pt x="17" y="26"/>
                    </a:cubicBezTo>
                    <a:cubicBezTo>
                      <a:pt x="18" y="24"/>
                      <a:pt x="18" y="21"/>
                      <a:pt x="18" y="19"/>
                    </a:cubicBezTo>
                    <a:cubicBezTo>
                      <a:pt x="18" y="17"/>
                      <a:pt x="18" y="16"/>
                      <a:pt x="18" y="15"/>
                    </a:cubicBezTo>
                    <a:cubicBezTo>
                      <a:pt x="19" y="14"/>
                      <a:pt x="20" y="13"/>
                      <a:pt x="22" y="12"/>
                    </a:cubicBezTo>
                    <a:cubicBezTo>
                      <a:pt x="21" y="3"/>
                      <a:pt x="9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4" name="Freeform 200"/>
              <p:cNvSpPr/>
              <p:nvPr/>
            </p:nvSpPr>
            <p:spPr bwMode="auto">
              <a:xfrm>
                <a:off x="10850563" y="6681788"/>
                <a:ext cx="85725" cy="76200"/>
              </a:xfrm>
              <a:custGeom>
                <a:avLst/>
                <a:gdLst>
                  <a:gd name="T0" fmla="*/ 0 w 23"/>
                  <a:gd name="T1" fmla="*/ 0 h 20"/>
                  <a:gd name="T2" fmla="*/ 2147483646 w 23"/>
                  <a:gd name="T3" fmla="*/ 2147483646 h 20"/>
                  <a:gd name="T4" fmla="*/ 2147483646 w 23"/>
                  <a:gd name="T5" fmla="*/ 2147483646 h 20"/>
                  <a:gd name="T6" fmla="*/ 2147483646 w 23"/>
                  <a:gd name="T7" fmla="*/ 2147483646 h 20"/>
                  <a:gd name="T8" fmla="*/ 2147483646 w 23"/>
                  <a:gd name="T9" fmla="*/ 2147483646 h 20"/>
                  <a:gd name="T10" fmla="*/ 2147483646 w 23"/>
                  <a:gd name="T11" fmla="*/ 2147483646 h 20"/>
                  <a:gd name="T12" fmla="*/ 2147483646 w 23"/>
                  <a:gd name="T13" fmla="*/ 2147483646 h 20"/>
                  <a:gd name="T14" fmla="*/ 2147483646 w 23"/>
                  <a:gd name="T15" fmla="*/ 2147483646 h 20"/>
                  <a:gd name="T16" fmla="*/ 0 w 23"/>
                  <a:gd name="T17" fmla="*/ 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3" h="20">
                    <a:moveTo>
                      <a:pt x="0" y="0"/>
                    </a:moveTo>
                    <a:cubicBezTo>
                      <a:pt x="7" y="1"/>
                      <a:pt x="14" y="4"/>
                      <a:pt x="16" y="9"/>
                    </a:cubicBezTo>
                    <a:cubicBezTo>
                      <a:pt x="16" y="10"/>
                      <a:pt x="16" y="12"/>
                      <a:pt x="16" y="13"/>
                    </a:cubicBezTo>
                    <a:cubicBezTo>
                      <a:pt x="16" y="15"/>
                      <a:pt x="16" y="17"/>
                      <a:pt x="17" y="18"/>
                    </a:cubicBezTo>
                    <a:cubicBezTo>
                      <a:pt x="17" y="19"/>
                      <a:pt x="17" y="20"/>
                      <a:pt x="17" y="20"/>
                    </a:cubicBezTo>
                    <a:cubicBezTo>
                      <a:pt x="17" y="20"/>
                      <a:pt x="18" y="19"/>
                      <a:pt x="18" y="18"/>
                    </a:cubicBezTo>
                    <a:cubicBezTo>
                      <a:pt x="18" y="17"/>
                      <a:pt x="18" y="17"/>
                      <a:pt x="19" y="16"/>
                    </a:cubicBezTo>
                    <a:cubicBezTo>
                      <a:pt x="20" y="16"/>
                      <a:pt x="21" y="15"/>
                      <a:pt x="23" y="15"/>
                    </a:cubicBezTo>
                    <a:cubicBezTo>
                      <a:pt x="23" y="3"/>
                      <a:pt x="10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5" name="Freeform 201"/>
              <p:cNvSpPr/>
              <p:nvPr/>
            </p:nvSpPr>
            <p:spPr bwMode="auto">
              <a:xfrm>
                <a:off x="10253663" y="6862763"/>
                <a:ext cx="55563" cy="82550"/>
              </a:xfrm>
              <a:custGeom>
                <a:avLst/>
                <a:gdLst>
                  <a:gd name="T0" fmla="*/ 2147483646 w 15"/>
                  <a:gd name="T1" fmla="*/ 2147483646 h 22"/>
                  <a:gd name="T2" fmla="*/ 2147483646 w 15"/>
                  <a:gd name="T3" fmla="*/ 2147483646 h 22"/>
                  <a:gd name="T4" fmla="*/ 2147483646 w 15"/>
                  <a:gd name="T5" fmla="*/ 2147483646 h 22"/>
                  <a:gd name="T6" fmla="*/ 0 w 15"/>
                  <a:gd name="T7" fmla="*/ 2147483646 h 22"/>
                  <a:gd name="T8" fmla="*/ 2147483646 w 15"/>
                  <a:gd name="T9" fmla="*/ 0 h 22"/>
                  <a:gd name="T10" fmla="*/ 2147483646 w 15"/>
                  <a:gd name="T11" fmla="*/ 0 h 22"/>
                  <a:gd name="T12" fmla="*/ 2147483646 w 15"/>
                  <a:gd name="T13" fmla="*/ 2147483646 h 22"/>
                  <a:gd name="T14" fmla="*/ 2147483646 w 15"/>
                  <a:gd name="T15" fmla="*/ 2147483646 h 22"/>
                  <a:gd name="T16" fmla="*/ 2147483646 w 15"/>
                  <a:gd name="T17" fmla="*/ 2147483646 h 2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" h="22">
                    <a:moveTo>
                      <a:pt x="13" y="22"/>
                    </a:moveTo>
                    <a:cubicBezTo>
                      <a:pt x="12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9" y="22"/>
                    </a:cubicBezTo>
                    <a:cubicBezTo>
                      <a:pt x="4" y="14"/>
                      <a:pt x="0" y="7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5" y="19"/>
                      <a:pt x="15" y="21"/>
                      <a:pt x="13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251" name="组合 3250"/>
          <p:cNvGrpSpPr/>
          <p:nvPr/>
        </p:nvGrpSpPr>
        <p:grpSpPr bwMode="auto">
          <a:xfrm>
            <a:off x="1273175" y="3806825"/>
            <a:ext cx="817563" cy="819150"/>
            <a:chOff x="-2628800" y="5022616"/>
            <a:chExt cx="2122488" cy="2122488"/>
          </a:xfrm>
        </p:grpSpPr>
        <p:sp>
          <p:nvSpPr>
            <p:cNvPr id="3226" name="Freeform 202"/>
            <p:cNvSpPr/>
            <p:nvPr/>
          </p:nvSpPr>
          <p:spPr bwMode="auto">
            <a:xfrm>
              <a:off x="-2628800" y="5022616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565 w 566"/>
                <a:gd name="T3" fmla="*/ 315 h 566"/>
                <a:gd name="T4" fmla="*/ 409 w 566"/>
                <a:gd name="T5" fmla="*/ 537 h 566"/>
                <a:gd name="T6" fmla="*/ 283 w 566"/>
                <a:gd name="T7" fmla="*/ 566 h 566"/>
                <a:gd name="T8" fmla="*/ 0 w 566"/>
                <a:gd name="T9" fmla="*/ 283 h 566"/>
                <a:gd name="T10" fmla="*/ 283 w 566"/>
                <a:gd name="T11" fmla="*/ 0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294"/>
                    <a:pt x="566" y="304"/>
                    <a:pt x="565" y="315"/>
                  </a:cubicBezTo>
                  <a:cubicBezTo>
                    <a:pt x="554" y="412"/>
                    <a:pt x="493" y="495"/>
                    <a:pt x="409" y="537"/>
                  </a:cubicBezTo>
                  <a:cubicBezTo>
                    <a:pt x="371" y="556"/>
                    <a:pt x="329" y="566"/>
                    <a:pt x="283" y="566"/>
                  </a:cubicBezTo>
                  <a:cubicBezTo>
                    <a:pt x="127" y="566"/>
                    <a:pt x="0" y="439"/>
                    <a:pt x="0" y="283"/>
                  </a:cubicBezTo>
                  <a:cubicBezTo>
                    <a:pt x="0" y="127"/>
                    <a:pt x="127" y="0"/>
                    <a:pt x="283" y="0"/>
                  </a:cubicBezTo>
                  <a:cubicBezTo>
                    <a:pt x="440" y="0"/>
                    <a:pt x="566" y="127"/>
                    <a:pt x="566" y="283"/>
                  </a:cubicBezTo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84" name="Freeform 203"/>
            <p:cNvSpPr>
              <a:spLocks noEditPoints="1"/>
            </p:cNvSpPr>
            <p:nvPr/>
          </p:nvSpPr>
          <p:spPr bwMode="auto">
            <a:xfrm>
              <a:off x="-1957288" y="5713179"/>
              <a:ext cx="1447800" cy="1323975"/>
            </a:xfrm>
            <a:custGeom>
              <a:avLst/>
              <a:gdLst>
                <a:gd name="T0" fmla="*/ 2147483646 w 386"/>
                <a:gd name="T1" fmla="*/ 2147483646 h 353"/>
                <a:gd name="T2" fmla="*/ 2147483646 w 386"/>
                <a:gd name="T3" fmla="*/ 2147483646 h 353"/>
                <a:gd name="T4" fmla="*/ 2147483646 w 386"/>
                <a:gd name="T5" fmla="*/ 2147483646 h 353"/>
                <a:gd name="T6" fmla="*/ 2147483646 w 386"/>
                <a:gd name="T7" fmla="*/ 2147483646 h 353"/>
                <a:gd name="T8" fmla="*/ 2147483646 w 386"/>
                <a:gd name="T9" fmla="*/ 2147483646 h 353"/>
                <a:gd name="T10" fmla="*/ 2147483646 w 386"/>
                <a:gd name="T11" fmla="*/ 2147483646 h 353"/>
                <a:gd name="T12" fmla="*/ 2147483646 w 386"/>
                <a:gd name="T13" fmla="*/ 2147483646 h 353"/>
                <a:gd name="T14" fmla="*/ 2147483646 w 386"/>
                <a:gd name="T15" fmla="*/ 2147483646 h 353"/>
                <a:gd name="T16" fmla="*/ 2147483646 w 386"/>
                <a:gd name="T17" fmla="*/ 2147483646 h 353"/>
                <a:gd name="T18" fmla="*/ 2147483646 w 386"/>
                <a:gd name="T19" fmla="*/ 0 h 353"/>
                <a:gd name="T20" fmla="*/ 2147483646 w 386"/>
                <a:gd name="T21" fmla="*/ 2147483646 h 353"/>
                <a:gd name="T22" fmla="*/ 2147483646 w 386"/>
                <a:gd name="T23" fmla="*/ 2147483646 h 353"/>
                <a:gd name="T24" fmla="*/ 2147483646 w 386"/>
                <a:gd name="T25" fmla="*/ 2147483646 h 353"/>
                <a:gd name="T26" fmla="*/ 2147483646 w 386"/>
                <a:gd name="T27" fmla="*/ 2147483646 h 353"/>
                <a:gd name="T28" fmla="*/ 2147483646 w 386"/>
                <a:gd name="T29" fmla="*/ 2147483646 h 353"/>
                <a:gd name="T30" fmla="*/ 2147483646 w 386"/>
                <a:gd name="T31" fmla="*/ 2147483646 h 353"/>
                <a:gd name="T32" fmla="*/ 0 w 386"/>
                <a:gd name="T33" fmla="*/ 2147483646 h 353"/>
                <a:gd name="T34" fmla="*/ 2147483646 w 386"/>
                <a:gd name="T35" fmla="*/ 2147483646 h 353"/>
                <a:gd name="T36" fmla="*/ 2147483646 w 386"/>
                <a:gd name="T37" fmla="*/ 2147483646 h 353"/>
                <a:gd name="T38" fmla="*/ 2147483646 w 386"/>
                <a:gd name="T39" fmla="*/ 2147483646 h 353"/>
                <a:gd name="T40" fmla="*/ 2147483646 w 386"/>
                <a:gd name="T41" fmla="*/ 2147483646 h 353"/>
                <a:gd name="T42" fmla="*/ 2147483646 w 386"/>
                <a:gd name="T43" fmla="*/ 2147483646 h 353"/>
                <a:gd name="T44" fmla="*/ 2147483646 w 386"/>
                <a:gd name="T45" fmla="*/ 2147483646 h 353"/>
                <a:gd name="T46" fmla="*/ 2147483646 w 386"/>
                <a:gd name="T47" fmla="*/ 2147483646 h 353"/>
                <a:gd name="T48" fmla="*/ 2147483646 w 386"/>
                <a:gd name="T49" fmla="*/ 2147483646 h 353"/>
                <a:gd name="T50" fmla="*/ 2147483646 w 386"/>
                <a:gd name="T51" fmla="*/ 2147483646 h 353"/>
                <a:gd name="T52" fmla="*/ 2147483646 w 386"/>
                <a:gd name="T53" fmla="*/ 2147483646 h 353"/>
                <a:gd name="T54" fmla="*/ 2147483646 w 386"/>
                <a:gd name="T55" fmla="*/ 2147483646 h 353"/>
                <a:gd name="T56" fmla="*/ 2147483646 w 386"/>
                <a:gd name="T57" fmla="*/ 2147483646 h 353"/>
                <a:gd name="T58" fmla="*/ 2147483646 w 386"/>
                <a:gd name="T59" fmla="*/ 2147483646 h 353"/>
                <a:gd name="T60" fmla="*/ 2147483646 w 386"/>
                <a:gd name="T61" fmla="*/ 2147483646 h 353"/>
                <a:gd name="T62" fmla="*/ 2147483646 w 386"/>
                <a:gd name="T63" fmla="*/ 2147483646 h 353"/>
                <a:gd name="T64" fmla="*/ 2147483646 w 386"/>
                <a:gd name="T65" fmla="*/ 2147483646 h 353"/>
                <a:gd name="T66" fmla="*/ 2147483646 w 386"/>
                <a:gd name="T67" fmla="*/ 2147483646 h 353"/>
                <a:gd name="T68" fmla="*/ 2147483646 w 386"/>
                <a:gd name="T69" fmla="*/ 2147483646 h 353"/>
                <a:gd name="T70" fmla="*/ 2147483646 w 386"/>
                <a:gd name="T71" fmla="*/ 0 h 353"/>
                <a:gd name="T72" fmla="*/ 2147483646 w 386"/>
                <a:gd name="T73" fmla="*/ 0 h 35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386" h="353">
                  <a:moveTo>
                    <a:pt x="35" y="191"/>
                  </a:moveTo>
                  <a:cubicBezTo>
                    <a:pt x="33" y="191"/>
                    <a:pt x="31" y="189"/>
                    <a:pt x="31" y="187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99"/>
                    <a:pt x="33" y="97"/>
                    <a:pt x="35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9" y="97"/>
                    <a:pt x="70" y="99"/>
                    <a:pt x="70" y="101"/>
                  </a:cubicBezTo>
                  <a:cubicBezTo>
                    <a:pt x="70" y="187"/>
                    <a:pt x="70" y="187"/>
                    <a:pt x="70" y="187"/>
                  </a:cubicBezTo>
                  <a:cubicBezTo>
                    <a:pt x="70" y="189"/>
                    <a:pt x="69" y="191"/>
                    <a:pt x="67" y="191"/>
                  </a:cubicBezTo>
                  <a:cubicBezTo>
                    <a:pt x="35" y="191"/>
                    <a:pt x="35" y="191"/>
                    <a:pt x="35" y="191"/>
                  </a:cubicBezTo>
                  <a:moveTo>
                    <a:pt x="6" y="0"/>
                  </a:moveTo>
                  <a:cubicBezTo>
                    <a:pt x="8" y="1"/>
                    <a:pt x="10" y="4"/>
                    <a:pt x="10" y="7"/>
                  </a:cubicBezTo>
                  <a:cubicBezTo>
                    <a:pt x="10" y="205"/>
                    <a:pt x="10" y="205"/>
                    <a:pt x="10" y="205"/>
                  </a:cubicBezTo>
                  <a:cubicBezTo>
                    <a:pt x="228" y="205"/>
                    <a:pt x="228" y="205"/>
                    <a:pt x="228" y="205"/>
                  </a:cubicBezTo>
                  <a:cubicBezTo>
                    <a:pt x="232" y="205"/>
                    <a:pt x="236" y="208"/>
                    <a:pt x="236" y="213"/>
                  </a:cubicBezTo>
                  <a:cubicBezTo>
                    <a:pt x="236" y="217"/>
                    <a:pt x="232" y="221"/>
                    <a:pt x="228" y="221"/>
                  </a:cubicBezTo>
                  <a:cubicBezTo>
                    <a:pt x="2" y="221"/>
                    <a:pt x="2" y="221"/>
                    <a:pt x="2" y="221"/>
                  </a:cubicBezTo>
                  <a:cubicBezTo>
                    <a:pt x="1" y="221"/>
                    <a:pt x="0" y="220"/>
                    <a:pt x="0" y="220"/>
                  </a:cubicBezTo>
                  <a:cubicBezTo>
                    <a:pt x="230" y="353"/>
                    <a:pt x="230" y="353"/>
                    <a:pt x="230" y="353"/>
                  </a:cubicBezTo>
                  <a:cubicBezTo>
                    <a:pt x="314" y="311"/>
                    <a:pt x="375" y="228"/>
                    <a:pt x="386" y="131"/>
                  </a:cubicBezTo>
                  <a:cubicBezTo>
                    <a:pt x="205" y="23"/>
                    <a:pt x="205" y="23"/>
                    <a:pt x="205" y="23"/>
                  </a:cubicBezTo>
                  <a:cubicBezTo>
                    <a:pt x="206" y="23"/>
                    <a:pt x="206" y="25"/>
                    <a:pt x="206" y="26"/>
                  </a:cubicBezTo>
                  <a:cubicBezTo>
                    <a:pt x="206" y="187"/>
                    <a:pt x="206" y="187"/>
                    <a:pt x="206" y="187"/>
                  </a:cubicBezTo>
                  <a:cubicBezTo>
                    <a:pt x="206" y="189"/>
                    <a:pt x="205" y="191"/>
                    <a:pt x="203" y="191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167" y="191"/>
                    <a:pt x="166" y="189"/>
                    <a:pt x="166" y="187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34" y="60"/>
                    <a:pt x="134" y="60"/>
                    <a:pt x="134" y="60"/>
                  </a:cubicBezTo>
                  <a:cubicBezTo>
                    <a:pt x="135" y="61"/>
                    <a:pt x="136" y="62"/>
                    <a:pt x="136" y="63"/>
                  </a:cubicBezTo>
                  <a:cubicBezTo>
                    <a:pt x="136" y="187"/>
                    <a:pt x="136" y="187"/>
                    <a:pt x="136" y="187"/>
                  </a:cubicBezTo>
                  <a:cubicBezTo>
                    <a:pt x="136" y="189"/>
                    <a:pt x="134" y="191"/>
                    <a:pt x="132" y="191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100" y="191"/>
                    <a:pt x="98" y="189"/>
                    <a:pt x="98" y="187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98" y="61"/>
                    <a:pt x="100" y="59"/>
                    <a:pt x="102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9485" name="组合 3247"/>
            <p:cNvGrpSpPr/>
            <p:nvPr/>
          </p:nvGrpSpPr>
          <p:grpSpPr bwMode="auto">
            <a:xfrm>
              <a:off x="-1979513" y="5708416"/>
              <a:ext cx="906463" cy="833438"/>
              <a:chOff x="14844713" y="-2689225"/>
              <a:chExt cx="906463" cy="833438"/>
            </a:xfrm>
          </p:grpSpPr>
          <p:sp>
            <p:nvSpPr>
              <p:cNvPr id="19486" name="Freeform 204"/>
              <p:cNvSpPr/>
              <p:nvPr/>
            </p:nvSpPr>
            <p:spPr bwMode="auto">
              <a:xfrm>
                <a:off x="14982826" y="-2320925"/>
                <a:ext cx="149225" cy="352425"/>
              </a:xfrm>
              <a:custGeom>
                <a:avLst/>
                <a:gdLst>
                  <a:gd name="T0" fmla="*/ 2147483646 w 40"/>
                  <a:gd name="T1" fmla="*/ 2147483646 h 94"/>
                  <a:gd name="T2" fmla="*/ 2147483646 w 40"/>
                  <a:gd name="T3" fmla="*/ 0 h 94"/>
                  <a:gd name="T4" fmla="*/ 2147483646 w 40"/>
                  <a:gd name="T5" fmla="*/ 0 h 94"/>
                  <a:gd name="T6" fmla="*/ 0 w 40"/>
                  <a:gd name="T7" fmla="*/ 2147483646 h 94"/>
                  <a:gd name="T8" fmla="*/ 0 w 40"/>
                  <a:gd name="T9" fmla="*/ 2147483646 h 94"/>
                  <a:gd name="T10" fmla="*/ 2147483646 w 40"/>
                  <a:gd name="T11" fmla="*/ 2147483646 h 94"/>
                  <a:gd name="T12" fmla="*/ 2147483646 w 40"/>
                  <a:gd name="T13" fmla="*/ 2147483646 h 94"/>
                  <a:gd name="T14" fmla="*/ 2147483646 w 40"/>
                  <a:gd name="T15" fmla="*/ 2147483646 h 94"/>
                  <a:gd name="T16" fmla="*/ 2147483646 w 40"/>
                  <a:gd name="T17" fmla="*/ 2147483646 h 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0" h="94">
                    <a:moveTo>
                      <a:pt x="40" y="4"/>
                    </a:moveTo>
                    <a:cubicBezTo>
                      <a:pt x="40" y="2"/>
                      <a:pt x="38" y="0"/>
                      <a:pt x="3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2"/>
                      <a:pt x="2" y="94"/>
                      <a:pt x="4" y="94"/>
                    </a:cubicBezTo>
                    <a:cubicBezTo>
                      <a:pt x="36" y="94"/>
                      <a:pt x="36" y="94"/>
                      <a:pt x="36" y="94"/>
                    </a:cubicBezTo>
                    <a:cubicBezTo>
                      <a:pt x="38" y="94"/>
                      <a:pt x="40" y="92"/>
                      <a:pt x="40" y="90"/>
                    </a:cubicBezTo>
                    <a:lnTo>
                      <a:pt x="40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87" name="Freeform 205"/>
              <p:cNvSpPr/>
              <p:nvPr/>
            </p:nvSpPr>
            <p:spPr bwMode="auto">
              <a:xfrm>
                <a:off x="15233651" y="-2463800"/>
                <a:ext cx="142875" cy="495300"/>
              </a:xfrm>
              <a:custGeom>
                <a:avLst/>
                <a:gdLst>
                  <a:gd name="T0" fmla="*/ 2147483646 w 38"/>
                  <a:gd name="T1" fmla="*/ 2147483646 h 132"/>
                  <a:gd name="T2" fmla="*/ 2147483646 w 38"/>
                  <a:gd name="T3" fmla="*/ 0 h 132"/>
                  <a:gd name="T4" fmla="*/ 2147483646 w 38"/>
                  <a:gd name="T5" fmla="*/ 0 h 132"/>
                  <a:gd name="T6" fmla="*/ 0 w 38"/>
                  <a:gd name="T7" fmla="*/ 2147483646 h 132"/>
                  <a:gd name="T8" fmla="*/ 0 w 38"/>
                  <a:gd name="T9" fmla="*/ 2147483646 h 132"/>
                  <a:gd name="T10" fmla="*/ 2147483646 w 38"/>
                  <a:gd name="T11" fmla="*/ 2147483646 h 132"/>
                  <a:gd name="T12" fmla="*/ 2147483646 w 38"/>
                  <a:gd name="T13" fmla="*/ 2147483646 h 132"/>
                  <a:gd name="T14" fmla="*/ 2147483646 w 38"/>
                  <a:gd name="T15" fmla="*/ 2147483646 h 132"/>
                  <a:gd name="T16" fmla="*/ 2147483646 w 38"/>
                  <a:gd name="T17" fmla="*/ 2147483646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8" h="132">
                    <a:moveTo>
                      <a:pt x="38" y="4"/>
                    </a:moveTo>
                    <a:cubicBezTo>
                      <a:pt x="38" y="2"/>
                      <a:pt x="36" y="0"/>
                      <a:pt x="3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0"/>
                      <a:pt x="2" y="132"/>
                      <a:pt x="4" y="132"/>
                    </a:cubicBezTo>
                    <a:cubicBezTo>
                      <a:pt x="34" y="132"/>
                      <a:pt x="34" y="132"/>
                      <a:pt x="34" y="132"/>
                    </a:cubicBezTo>
                    <a:cubicBezTo>
                      <a:pt x="36" y="132"/>
                      <a:pt x="38" y="130"/>
                      <a:pt x="38" y="128"/>
                    </a:cubicBezTo>
                    <a:lnTo>
                      <a:pt x="38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88" name="Freeform 206"/>
              <p:cNvSpPr/>
              <p:nvPr/>
            </p:nvSpPr>
            <p:spPr bwMode="auto">
              <a:xfrm>
                <a:off x="15489238" y="-2601912"/>
                <a:ext cx="149225" cy="633413"/>
              </a:xfrm>
              <a:custGeom>
                <a:avLst/>
                <a:gdLst>
                  <a:gd name="T0" fmla="*/ 2147483646 w 40"/>
                  <a:gd name="T1" fmla="*/ 2147483646 h 169"/>
                  <a:gd name="T2" fmla="*/ 2147483646 w 40"/>
                  <a:gd name="T3" fmla="*/ 2147483646 h 169"/>
                  <a:gd name="T4" fmla="*/ 2147483646 w 40"/>
                  <a:gd name="T5" fmla="*/ 2147483646 h 169"/>
                  <a:gd name="T6" fmla="*/ 2147483646 w 40"/>
                  <a:gd name="T7" fmla="*/ 2147483646 h 169"/>
                  <a:gd name="T8" fmla="*/ 0 w 40"/>
                  <a:gd name="T9" fmla="*/ 2147483646 h 169"/>
                  <a:gd name="T10" fmla="*/ 0 w 40"/>
                  <a:gd name="T11" fmla="*/ 2147483646 h 169"/>
                  <a:gd name="T12" fmla="*/ 2147483646 w 40"/>
                  <a:gd name="T13" fmla="*/ 0 h 169"/>
                  <a:gd name="T14" fmla="*/ 2147483646 w 40"/>
                  <a:gd name="T15" fmla="*/ 0 h 169"/>
                  <a:gd name="T16" fmla="*/ 2147483646 w 40"/>
                  <a:gd name="T17" fmla="*/ 0 h 169"/>
                  <a:gd name="T18" fmla="*/ 2147483646 w 40"/>
                  <a:gd name="T19" fmla="*/ 2147483646 h 169"/>
                  <a:gd name="T20" fmla="*/ 2147483646 w 40"/>
                  <a:gd name="T21" fmla="*/ 2147483646 h 169"/>
                  <a:gd name="T22" fmla="*/ 2147483646 w 40"/>
                  <a:gd name="T23" fmla="*/ 2147483646 h 16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0" h="169">
                    <a:moveTo>
                      <a:pt x="40" y="4"/>
                    </a:moveTo>
                    <a:cubicBezTo>
                      <a:pt x="40" y="165"/>
                      <a:pt x="40" y="165"/>
                      <a:pt x="40" y="165"/>
                    </a:cubicBezTo>
                    <a:cubicBezTo>
                      <a:pt x="40" y="167"/>
                      <a:pt x="39" y="169"/>
                      <a:pt x="37" y="169"/>
                    </a:cubicBezTo>
                    <a:cubicBezTo>
                      <a:pt x="3" y="169"/>
                      <a:pt x="3" y="169"/>
                      <a:pt x="3" y="169"/>
                    </a:cubicBezTo>
                    <a:cubicBezTo>
                      <a:pt x="1" y="169"/>
                      <a:pt x="0" y="167"/>
                      <a:pt x="0" y="16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7" y="0"/>
                      <a:pt x="38" y="0"/>
                      <a:pt x="38" y="0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40" y="1"/>
                      <a:pt x="40" y="3"/>
                      <a:pt x="4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89" name="Freeform 207"/>
              <p:cNvSpPr/>
              <p:nvPr/>
            </p:nvSpPr>
            <p:spPr bwMode="auto">
              <a:xfrm>
                <a:off x="14844713" y="-2689225"/>
                <a:ext cx="906463" cy="833438"/>
              </a:xfrm>
              <a:custGeom>
                <a:avLst/>
                <a:gdLst>
                  <a:gd name="T0" fmla="*/ 2147483646 w 242"/>
                  <a:gd name="T1" fmla="*/ 2147483646 h 222"/>
                  <a:gd name="T2" fmla="*/ 2147483646 w 242"/>
                  <a:gd name="T3" fmla="*/ 2147483646 h 222"/>
                  <a:gd name="T4" fmla="*/ 2147483646 w 242"/>
                  <a:gd name="T5" fmla="*/ 2147483646 h 222"/>
                  <a:gd name="T6" fmla="*/ 2147483646 w 242"/>
                  <a:gd name="T7" fmla="*/ 2147483646 h 222"/>
                  <a:gd name="T8" fmla="*/ 2147483646 w 242"/>
                  <a:gd name="T9" fmla="*/ 2147483646 h 222"/>
                  <a:gd name="T10" fmla="*/ 0 w 242"/>
                  <a:gd name="T11" fmla="*/ 2147483646 h 222"/>
                  <a:gd name="T12" fmla="*/ 0 w 242"/>
                  <a:gd name="T13" fmla="*/ 2147483646 h 222"/>
                  <a:gd name="T14" fmla="*/ 2147483646 w 242"/>
                  <a:gd name="T15" fmla="*/ 0 h 222"/>
                  <a:gd name="T16" fmla="*/ 2147483646 w 242"/>
                  <a:gd name="T17" fmla="*/ 0 h 222"/>
                  <a:gd name="T18" fmla="*/ 2147483646 w 242"/>
                  <a:gd name="T19" fmla="*/ 2147483646 h 222"/>
                  <a:gd name="T20" fmla="*/ 2147483646 w 242"/>
                  <a:gd name="T21" fmla="*/ 2147483646 h 222"/>
                  <a:gd name="T22" fmla="*/ 2147483646 w 242"/>
                  <a:gd name="T23" fmla="*/ 2147483646 h 222"/>
                  <a:gd name="T24" fmla="*/ 2147483646 w 242"/>
                  <a:gd name="T25" fmla="*/ 2147483646 h 222"/>
                  <a:gd name="T26" fmla="*/ 2147483646 w 242"/>
                  <a:gd name="T27" fmla="*/ 2147483646 h 22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42" h="222">
                    <a:moveTo>
                      <a:pt x="242" y="214"/>
                    </a:moveTo>
                    <a:cubicBezTo>
                      <a:pt x="242" y="218"/>
                      <a:pt x="238" y="222"/>
                      <a:pt x="234" y="222"/>
                    </a:cubicBezTo>
                    <a:cubicBezTo>
                      <a:pt x="8" y="222"/>
                      <a:pt x="8" y="222"/>
                      <a:pt x="8" y="222"/>
                    </a:cubicBezTo>
                    <a:cubicBezTo>
                      <a:pt x="7" y="222"/>
                      <a:pt x="6" y="221"/>
                      <a:pt x="6" y="221"/>
                    </a:cubicBezTo>
                    <a:cubicBezTo>
                      <a:pt x="4" y="221"/>
                      <a:pt x="3" y="220"/>
                      <a:pt x="2" y="219"/>
                    </a:cubicBezTo>
                    <a:cubicBezTo>
                      <a:pt x="1" y="218"/>
                      <a:pt x="0" y="216"/>
                      <a:pt x="0" y="21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8" y="0"/>
                    </a:cubicBezTo>
                    <a:cubicBezTo>
                      <a:pt x="8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2" y="1"/>
                    </a:cubicBezTo>
                    <a:cubicBezTo>
                      <a:pt x="14" y="2"/>
                      <a:pt x="16" y="5"/>
                      <a:pt x="16" y="8"/>
                    </a:cubicBezTo>
                    <a:cubicBezTo>
                      <a:pt x="16" y="206"/>
                      <a:pt x="16" y="206"/>
                      <a:pt x="16" y="206"/>
                    </a:cubicBezTo>
                    <a:cubicBezTo>
                      <a:pt x="234" y="206"/>
                      <a:pt x="234" y="206"/>
                      <a:pt x="234" y="206"/>
                    </a:cubicBezTo>
                    <a:cubicBezTo>
                      <a:pt x="238" y="206"/>
                      <a:pt x="242" y="209"/>
                      <a:pt x="242" y="2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252" name="组合 3251"/>
          <p:cNvGrpSpPr/>
          <p:nvPr/>
        </p:nvGrpSpPr>
        <p:grpSpPr bwMode="auto">
          <a:xfrm>
            <a:off x="1273175" y="2914650"/>
            <a:ext cx="817563" cy="819150"/>
            <a:chOff x="-2628800" y="7324491"/>
            <a:chExt cx="2122488" cy="2122488"/>
          </a:xfrm>
        </p:grpSpPr>
        <p:sp>
          <p:nvSpPr>
            <p:cNvPr id="3232" name="Freeform 208"/>
            <p:cNvSpPr/>
            <p:nvPr/>
          </p:nvSpPr>
          <p:spPr bwMode="auto">
            <a:xfrm>
              <a:off x="-2628800" y="7324491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566 w 566"/>
                <a:gd name="T3" fmla="*/ 298 h 566"/>
                <a:gd name="T4" fmla="*/ 408 w 566"/>
                <a:gd name="T5" fmla="*/ 537 h 566"/>
                <a:gd name="T6" fmla="*/ 283 w 566"/>
                <a:gd name="T7" fmla="*/ 566 h 566"/>
                <a:gd name="T8" fmla="*/ 0 w 566"/>
                <a:gd name="T9" fmla="*/ 283 h 566"/>
                <a:gd name="T10" fmla="*/ 283 w 566"/>
                <a:gd name="T11" fmla="*/ 0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288"/>
                    <a:pt x="566" y="293"/>
                    <a:pt x="566" y="298"/>
                  </a:cubicBezTo>
                  <a:cubicBezTo>
                    <a:pt x="561" y="403"/>
                    <a:pt x="498" y="493"/>
                    <a:pt x="408" y="537"/>
                  </a:cubicBezTo>
                  <a:cubicBezTo>
                    <a:pt x="370" y="556"/>
                    <a:pt x="328" y="566"/>
                    <a:pt x="283" y="566"/>
                  </a:cubicBezTo>
                  <a:cubicBezTo>
                    <a:pt x="127" y="566"/>
                    <a:pt x="0" y="440"/>
                    <a:pt x="0" y="283"/>
                  </a:cubicBezTo>
                  <a:cubicBezTo>
                    <a:pt x="0" y="127"/>
                    <a:pt x="127" y="0"/>
                    <a:pt x="283" y="0"/>
                  </a:cubicBezTo>
                  <a:cubicBezTo>
                    <a:pt x="440" y="0"/>
                    <a:pt x="566" y="127"/>
                    <a:pt x="566" y="283"/>
                  </a:cubicBezTo>
                </a:path>
              </a:pathLst>
            </a:cu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78" name="Freeform 209"/>
            <p:cNvSpPr/>
            <p:nvPr/>
          </p:nvSpPr>
          <p:spPr bwMode="auto">
            <a:xfrm>
              <a:off x="-1927125" y="7929329"/>
              <a:ext cx="1420813" cy="1409700"/>
            </a:xfrm>
            <a:custGeom>
              <a:avLst/>
              <a:gdLst>
                <a:gd name="T0" fmla="*/ 2147483646 w 379"/>
                <a:gd name="T1" fmla="*/ 0 h 376"/>
                <a:gd name="T2" fmla="*/ 2147483646 w 379"/>
                <a:gd name="T3" fmla="*/ 2147483646 h 376"/>
                <a:gd name="T4" fmla="*/ 2147483646 w 379"/>
                <a:gd name="T5" fmla="*/ 2147483646 h 376"/>
                <a:gd name="T6" fmla="*/ 2147483646 w 379"/>
                <a:gd name="T7" fmla="*/ 2147483646 h 376"/>
                <a:gd name="T8" fmla="*/ 0 w 379"/>
                <a:gd name="T9" fmla="*/ 2147483646 h 376"/>
                <a:gd name="T10" fmla="*/ 0 w 379"/>
                <a:gd name="T11" fmla="*/ 2147483646 h 376"/>
                <a:gd name="T12" fmla="*/ 2147483646 w 379"/>
                <a:gd name="T13" fmla="*/ 2147483646 h 376"/>
                <a:gd name="T14" fmla="*/ 2147483646 w 379"/>
                <a:gd name="T15" fmla="*/ 2147483646 h 376"/>
                <a:gd name="T16" fmla="*/ 2147483646 w 379"/>
                <a:gd name="T17" fmla="*/ 2147483646 h 376"/>
                <a:gd name="T18" fmla="*/ 2147483646 w 379"/>
                <a:gd name="T19" fmla="*/ 2147483646 h 376"/>
                <a:gd name="T20" fmla="*/ 2147483646 w 379"/>
                <a:gd name="T21" fmla="*/ 2147483646 h 376"/>
                <a:gd name="T22" fmla="*/ 2147483646 w 379"/>
                <a:gd name="T23" fmla="*/ 2147483646 h 376"/>
                <a:gd name="T24" fmla="*/ 2147483646 w 379"/>
                <a:gd name="T25" fmla="*/ 2147483646 h 376"/>
                <a:gd name="T26" fmla="*/ 2147483646 w 379"/>
                <a:gd name="T27" fmla="*/ 2147483646 h 376"/>
                <a:gd name="T28" fmla="*/ 2147483646 w 379"/>
                <a:gd name="T29" fmla="*/ 2147483646 h 376"/>
                <a:gd name="T30" fmla="*/ 2147483646 w 379"/>
                <a:gd name="T31" fmla="*/ 2147483646 h 376"/>
                <a:gd name="T32" fmla="*/ 2147483646 w 379"/>
                <a:gd name="T33" fmla="*/ 2147483646 h 376"/>
                <a:gd name="T34" fmla="*/ 2147483646 w 379"/>
                <a:gd name="T35" fmla="*/ 2147483646 h 376"/>
                <a:gd name="T36" fmla="*/ 2147483646 w 379"/>
                <a:gd name="T37" fmla="*/ 2147483646 h 376"/>
                <a:gd name="T38" fmla="*/ 2147483646 w 379"/>
                <a:gd name="T39" fmla="*/ 2147483646 h 376"/>
                <a:gd name="T40" fmla="*/ 2147483646 w 379"/>
                <a:gd name="T41" fmla="*/ 2147483646 h 376"/>
                <a:gd name="T42" fmla="*/ 2147483646 w 379"/>
                <a:gd name="T43" fmla="*/ 0 h 37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79" h="376">
                  <a:moveTo>
                    <a:pt x="142" y="0"/>
                  </a:moveTo>
                  <a:cubicBezTo>
                    <a:pt x="160" y="13"/>
                    <a:pt x="172" y="35"/>
                    <a:pt x="172" y="59"/>
                  </a:cubicBezTo>
                  <a:cubicBezTo>
                    <a:pt x="172" y="99"/>
                    <a:pt x="140" y="132"/>
                    <a:pt x="100" y="132"/>
                  </a:cubicBezTo>
                  <a:cubicBezTo>
                    <a:pt x="61" y="132"/>
                    <a:pt x="30" y="102"/>
                    <a:pt x="27" y="6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4" y="51"/>
                    <a:pt x="6" y="55"/>
                    <a:pt x="6" y="59"/>
                  </a:cubicBezTo>
                  <a:cubicBezTo>
                    <a:pt x="6" y="111"/>
                    <a:pt x="48" y="153"/>
                    <a:pt x="100" y="153"/>
                  </a:cubicBezTo>
                  <a:cubicBezTo>
                    <a:pt x="151" y="153"/>
                    <a:pt x="193" y="111"/>
                    <a:pt x="193" y="59"/>
                  </a:cubicBezTo>
                  <a:cubicBezTo>
                    <a:pt x="193" y="52"/>
                    <a:pt x="199" y="47"/>
                    <a:pt x="206" y="47"/>
                  </a:cubicBezTo>
                  <a:cubicBezTo>
                    <a:pt x="213" y="47"/>
                    <a:pt x="218" y="52"/>
                    <a:pt x="218" y="59"/>
                  </a:cubicBezTo>
                  <a:cubicBezTo>
                    <a:pt x="218" y="125"/>
                    <a:pt x="165" y="178"/>
                    <a:pt x="100" y="178"/>
                  </a:cubicBezTo>
                  <a:cubicBezTo>
                    <a:pt x="80" y="178"/>
                    <a:pt x="60" y="173"/>
                    <a:pt x="44" y="164"/>
                  </a:cubicBezTo>
                  <a:cubicBezTo>
                    <a:pt x="88" y="191"/>
                    <a:pt x="88" y="191"/>
                    <a:pt x="88" y="191"/>
                  </a:cubicBezTo>
                  <a:cubicBezTo>
                    <a:pt x="90" y="186"/>
                    <a:pt x="95" y="183"/>
                    <a:pt x="100" y="183"/>
                  </a:cubicBezTo>
                  <a:cubicBezTo>
                    <a:pt x="107" y="183"/>
                    <a:pt x="112" y="189"/>
                    <a:pt x="112" y="196"/>
                  </a:cubicBezTo>
                  <a:cubicBezTo>
                    <a:pt x="112" y="292"/>
                    <a:pt x="112" y="292"/>
                    <a:pt x="112" y="292"/>
                  </a:cubicBezTo>
                  <a:cubicBezTo>
                    <a:pt x="112" y="299"/>
                    <a:pt x="107" y="304"/>
                    <a:pt x="100" y="304"/>
                  </a:cubicBezTo>
                  <a:cubicBezTo>
                    <a:pt x="98" y="304"/>
                    <a:pt x="97" y="304"/>
                    <a:pt x="96" y="304"/>
                  </a:cubicBezTo>
                  <a:cubicBezTo>
                    <a:pt x="221" y="376"/>
                    <a:pt x="221" y="376"/>
                    <a:pt x="221" y="376"/>
                  </a:cubicBezTo>
                  <a:cubicBezTo>
                    <a:pt x="311" y="332"/>
                    <a:pt x="374" y="242"/>
                    <a:pt x="379" y="137"/>
                  </a:cubicBezTo>
                  <a:cubicBezTo>
                    <a:pt x="142" y="0"/>
                    <a:pt x="142" y="0"/>
                    <a:pt x="142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9479" name="组合 3246"/>
            <p:cNvGrpSpPr/>
            <p:nvPr/>
          </p:nvGrpSpPr>
          <p:grpSpPr bwMode="auto">
            <a:xfrm>
              <a:off x="-1998563" y="7880116"/>
              <a:ext cx="889000" cy="1192213"/>
              <a:chOff x="14825663" y="-517525"/>
              <a:chExt cx="889000" cy="1192213"/>
            </a:xfrm>
          </p:grpSpPr>
          <p:sp>
            <p:nvSpPr>
              <p:cNvPr id="19480" name="Oval 210"/>
              <p:cNvSpPr>
                <a:spLocks noChangeArrowheads="1"/>
              </p:cNvSpPr>
              <p:nvPr/>
            </p:nvSpPr>
            <p:spPr bwMode="auto">
              <a:xfrm>
                <a:off x="14997113" y="-517525"/>
                <a:ext cx="544513" cy="54451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81" name="Freeform 211"/>
              <p:cNvSpPr/>
              <p:nvPr/>
            </p:nvSpPr>
            <p:spPr bwMode="auto">
              <a:xfrm>
                <a:off x="14825663" y="-292100"/>
                <a:ext cx="889000" cy="490538"/>
              </a:xfrm>
              <a:custGeom>
                <a:avLst/>
                <a:gdLst>
                  <a:gd name="T0" fmla="*/ 2147483646 w 237"/>
                  <a:gd name="T1" fmla="*/ 0 h 131"/>
                  <a:gd name="T2" fmla="*/ 2147483646 w 237"/>
                  <a:gd name="T3" fmla="*/ 2147483646 h 131"/>
                  <a:gd name="T4" fmla="*/ 2147483646 w 237"/>
                  <a:gd name="T5" fmla="*/ 2147483646 h 131"/>
                  <a:gd name="T6" fmla="*/ 2147483646 w 237"/>
                  <a:gd name="T7" fmla="*/ 2147483646 h 131"/>
                  <a:gd name="T8" fmla="*/ 2147483646 w 237"/>
                  <a:gd name="T9" fmla="*/ 0 h 131"/>
                  <a:gd name="T10" fmla="*/ 0 w 237"/>
                  <a:gd name="T11" fmla="*/ 2147483646 h 131"/>
                  <a:gd name="T12" fmla="*/ 2147483646 w 237"/>
                  <a:gd name="T13" fmla="*/ 2147483646 h 131"/>
                  <a:gd name="T14" fmla="*/ 2147483646 w 237"/>
                  <a:gd name="T15" fmla="*/ 2147483646 h 131"/>
                  <a:gd name="T16" fmla="*/ 2147483646 w 237"/>
                  <a:gd name="T17" fmla="*/ 0 h 13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37" h="131">
                    <a:moveTo>
                      <a:pt x="225" y="0"/>
                    </a:moveTo>
                    <a:cubicBezTo>
                      <a:pt x="218" y="0"/>
                      <a:pt x="212" y="5"/>
                      <a:pt x="212" y="12"/>
                    </a:cubicBezTo>
                    <a:cubicBezTo>
                      <a:pt x="212" y="64"/>
                      <a:pt x="170" y="106"/>
                      <a:pt x="119" y="106"/>
                    </a:cubicBezTo>
                    <a:cubicBezTo>
                      <a:pt x="67" y="106"/>
                      <a:pt x="25" y="64"/>
                      <a:pt x="25" y="12"/>
                    </a:cubicBezTo>
                    <a:cubicBezTo>
                      <a:pt x="25" y="5"/>
                      <a:pt x="20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cubicBezTo>
                      <a:pt x="0" y="78"/>
                      <a:pt x="53" y="131"/>
                      <a:pt x="119" y="131"/>
                    </a:cubicBezTo>
                    <a:cubicBezTo>
                      <a:pt x="184" y="131"/>
                      <a:pt x="237" y="78"/>
                      <a:pt x="237" y="12"/>
                    </a:cubicBezTo>
                    <a:cubicBezTo>
                      <a:pt x="237" y="5"/>
                      <a:pt x="232" y="0"/>
                      <a:pt x="2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82" name="Freeform 212"/>
              <p:cNvSpPr/>
              <p:nvPr/>
            </p:nvSpPr>
            <p:spPr bwMode="auto">
              <a:xfrm>
                <a:off x="15222538" y="217488"/>
                <a:ext cx="93663" cy="457200"/>
              </a:xfrm>
              <a:custGeom>
                <a:avLst/>
                <a:gdLst>
                  <a:gd name="T0" fmla="*/ 2147483646 w 25"/>
                  <a:gd name="T1" fmla="*/ 0 h 122"/>
                  <a:gd name="T2" fmla="*/ 0 w 25"/>
                  <a:gd name="T3" fmla="*/ 2147483646 h 122"/>
                  <a:gd name="T4" fmla="*/ 0 w 25"/>
                  <a:gd name="T5" fmla="*/ 2147483646 h 122"/>
                  <a:gd name="T6" fmla="*/ 2147483646 w 25"/>
                  <a:gd name="T7" fmla="*/ 2147483646 h 122"/>
                  <a:gd name="T8" fmla="*/ 2147483646 w 25"/>
                  <a:gd name="T9" fmla="*/ 2147483646 h 122"/>
                  <a:gd name="T10" fmla="*/ 2147483646 w 25"/>
                  <a:gd name="T11" fmla="*/ 2147483646 h 122"/>
                  <a:gd name="T12" fmla="*/ 2147483646 w 25"/>
                  <a:gd name="T13" fmla="*/ 0 h 1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5" h="122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109"/>
                      <a:pt x="0" y="109"/>
                      <a:pt x="0" y="109"/>
                    </a:cubicBezTo>
                    <a:cubicBezTo>
                      <a:pt x="0" y="116"/>
                      <a:pt x="6" y="122"/>
                      <a:pt x="13" y="122"/>
                    </a:cubicBezTo>
                    <a:cubicBezTo>
                      <a:pt x="20" y="122"/>
                      <a:pt x="25" y="116"/>
                      <a:pt x="25" y="109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6"/>
                      <a:pt x="20" y="0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250" name="组合 3249"/>
          <p:cNvGrpSpPr/>
          <p:nvPr/>
        </p:nvGrpSpPr>
        <p:grpSpPr bwMode="auto">
          <a:xfrm>
            <a:off x="1235075" y="1133475"/>
            <a:ext cx="817563" cy="817563"/>
            <a:chOff x="-2628800" y="2720741"/>
            <a:chExt cx="2122488" cy="2122488"/>
          </a:xfrm>
        </p:grpSpPr>
        <p:sp>
          <p:nvSpPr>
            <p:cNvPr id="3237" name="Freeform 213"/>
            <p:cNvSpPr/>
            <p:nvPr/>
          </p:nvSpPr>
          <p:spPr bwMode="auto">
            <a:xfrm>
              <a:off x="-2628800" y="2720741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566 w 566"/>
                <a:gd name="T3" fmla="*/ 285 h 566"/>
                <a:gd name="T4" fmla="*/ 402 w 566"/>
                <a:gd name="T5" fmla="*/ 540 h 566"/>
                <a:gd name="T6" fmla="*/ 283 w 566"/>
                <a:gd name="T7" fmla="*/ 566 h 566"/>
                <a:gd name="T8" fmla="*/ 0 w 566"/>
                <a:gd name="T9" fmla="*/ 283 h 566"/>
                <a:gd name="T10" fmla="*/ 283 w 566"/>
                <a:gd name="T11" fmla="*/ 0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284"/>
                    <a:pt x="566" y="285"/>
                    <a:pt x="566" y="285"/>
                  </a:cubicBezTo>
                  <a:cubicBezTo>
                    <a:pt x="565" y="398"/>
                    <a:pt x="498" y="495"/>
                    <a:pt x="402" y="540"/>
                  </a:cubicBezTo>
                  <a:cubicBezTo>
                    <a:pt x="366" y="556"/>
                    <a:pt x="326" y="566"/>
                    <a:pt x="283" y="566"/>
                  </a:cubicBezTo>
                  <a:cubicBezTo>
                    <a:pt x="127" y="566"/>
                    <a:pt x="0" y="439"/>
                    <a:pt x="0" y="283"/>
                  </a:cubicBezTo>
                  <a:cubicBezTo>
                    <a:pt x="0" y="127"/>
                    <a:pt x="127" y="0"/>
                    <a:pt x="283" y="0"/>
                  </a:cubicBezTo>
                  <a:cubicBezTo>
                    <a:pt x="440" y="0"/>
                    <a:pt x="566" y="127"/>
                    <a:pt x="566" y="283"/>
                  </a:cubicBezTo>
                </a:path>
              </a:pathLst>
            </a:cu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69" name="Rectangle 214"/>
            <p:cNvSpPr>
              <a:spLocks noChangeArrowheads="1"/>
            </p:cNvSpPr>
            <p:nvPr/>
          </p:nvSpPr>
          <p:spPr bwMode="auto">
            <a:xfrm>
              <a:off x="-1860450" y="4317766"/>
              <a:ext cx="1588" cy="15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9470" name="Freeform 215"/>
            <p:cNvSpPr/>
            <p:nvPr/>
          </p:nvSpPr>
          <p:spPr bwMode="auto">
            <a:xfrm>
              <a:off x="-1860450" y="431776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471" name="Freeform 216"/>
            <p:cNvSpPr/>
            <p:nvPr/>
          </p:nvSpPr>
          <p:spPr bwMode="auto">
            <a:xfrm>
              <a:off x="-1173063" y="3409716"/>
              <a:ext cx="3175" cy="0"/>
            </a:xfrm>
            <a:custGeom>
              <a:avLst/>
              <a:gdLst>
                <a:gd name="T0" fmla="*/ 2147483646 w 2"/>
                <a:gd name="T1" fmla="*/ 2147483646 w 2"/>
                <a:gd name="T2" fmla="*/ 0 w 2"/>
                <a:gd name="T3" fmla="*/ 2147483646 w 2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472" name="Freeform 217"/>
            <p:cNvSpPr/>
            <p:nvPr/>
          </p:nvSpPr>
          <p:spPr bwMode="auto">
            <a:xfrm>
              <a:off x="-1173063" y="3409716"/>
              <a:ext cx="3175" cy="0"/>
            </a:xfrm>
            <a:custGeom>
              <a:avLst/>
              <a:gdLst>
                <a:gd name="T0" fmla="*/ 2147483646 w 2"/>
                <a:gd name="T1" fmla="*/ 2147483646 w 2"/>
                <a:gd name="T2" fmla="*/ 0 w 2"/>
                <a:gd name="T3" fmla="*/ 2147483646 w 2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473" name="Freeform 218"/>
            <p:cNvSpPr/>
            <p:nvPr/>
          </p:nvSpPr>
          <p:spPr bwMode="auto">
            <a:xfrm>
              <a:off x="-1860450" y="3409716"/>
              <a:ext cx="1354138" cy="1335088"/>
            </a:xfrm>
            <a:custGeom>
              <a:avLst/>
              <a:gdLst>
                <a:gd name="T0" fmla="*/ 2147483646 w 361"/>
                <a:gd name="T1" fmla="*/ 0 h 356"/>
                <a:gd name="T2" fmla="*/ 2147483646 w 361"/>
                <a:gd name="T3" fmla="*/ 2147483646 h 356"/>
                <a:gd name="T4" fmla="*/ 2147483646 w 361"/>
                <a:gd name="T5" fmla="*/ 2147483646 h 356"/>
                <a:gd name="T6" fmla="*/ 0 w 361"/>
                <a:gd name="T7" fmla="*/ 2147483646 h 356"/>
                <a:gd name="T8" fmla="*/ 0 w 361"/>
                <a:gd name="T9" fmla="*/ 2147483646 h 356"/>
                <a:gd name="T10" fmla="*/ 0 w 361"/>
                <a:gd name="T11" fmla="*/ 2147483646 h 356"/>
                <a:gd name="T12" fmla="*/ 2147483646 w 361"/>
                <a:gd name="T13" fmla="*/ 2147483646 h 356"/>
                <a:gd name="T14" fmla="*/ 2147483646 w 361"/>
                <a:gd name="T15" fmla="*/ 2147483646 h 356"/>
                <a:gd name="T16" fmla="*/ 2147483646 w 361"/>
                <a:gd name="T17" fmla="*/ 0 h 3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61" h="356">
                  <a:moveTo>
                    <a:pt x="184" y="0"/>
                  </a:moveTo>
                  <a:cubicBezTo>
                    <a:pt x="160" y="156"/>
                    <a:pt x="160" y="156"/>
                    <a:pt x="160" y="156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197" y="356"/>
                    <a:pt x="197" y="356"/>
                    <a:pt x="197" y="356"/>
                  </a:cubicBezTo>
                  <a:cubicBezTo>
                    <a:pt x="293" y="311"/>
                    <a:pt x="360" y="214"/>
                    <a:pt x="361" y="101"/>
                  </a:cubicBezTo>
                  <a:cubicBezTo>
                    <a:pt x="184" y="0"/>
                    <a:pt x="184" y="0"/>
                    <a:pt x="184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474" name="Rectangle 219"/>
            <p:cNvSpPr>
              <a:spLocks noChangeArrowheads="1"/>
            </p:cNvSpPr>
            <p:nvPr/>
          </p:nvSpPr>
          <p:spPr bwMode="auto">
            <a:xfrm>
              <a:off x="-1860450" y="4317766"/>
              <a:ext cx="1588" cy="15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9475" name="Rectangle 220"/>
            <p:cNvSpPr>
              <a:spLocks noChangeArrowheads="1"/>
            </p:cNvSpPr>
            <p:nvPr/>
          </p:nvSpPr>
          <p:spPr bwMode="auto">
            <a:xfrm>
              <a:off x="-1860450" y="4317766"/>
              <a:ext cx="1588" cy="15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9476" name="Freeform 221"/>
            <p:cNvSpPr/>
            <p:nvPr/>
          </p:nvSpPr>
          <p:spPr bwMode="auto">
            <a:xfrm>
              <a:off x="-2081113" y="3409716"/>
              <a:ext cx="911225" cy="908050"/>
            </a:xfrm>
            <a:custGeom>
              <a:avLst/>
              <a:gdLst>
                <a:gd name="T0" fmla="*/ 2147483646 w 574"/>
                <a:gd name="T1" fmla="*/ 0 h 572"/>
                <a:gd name="T2" fmla="*/ 2147483646 w 574"/>
                <a:gd name="T3" fmla="*/ 0 h 572"/>
                <a:gd name="T4" fmla="*/ 2147483646 w 574"/>
                <a:gd name="T5" fmla="*/ 2147483646 h 572"/>
                <a:gd name="T6" fmla="*/ 2147483646 w 574"/>
                <a:gd name="T7" fmla="*/ 2147483646 h 572"/>
                <a:gd name="T8" fmla="*/ 2147483646 w 574"/>
                <a:gd name="T9" fmla="*/ 2147483646 h 572"/>
                <a:gd name="T10" fmla="*/ 2147483646 w 574"/>
                <a:gd name="T11" fmla="*/ 2147483646 h 572"/>
                <a:gd name="T12" fmla="*/ 2147483646 w 574"/>
                <a:gd name="T13" fmla="*/ 2147483646 h 572"/>
                <a:gd name="T14" fmla="*/ 0 w 574"/>
                <a:gd name="T15" fmla="*/ 2147483646 h 572"/>
                <a:gd name="T16" fmla="*/ 2147483646 w 574"/>
                <a:gd name="T17" fmla="*/ 2147483646 h 572"/>
                <a:gd name="T18" fmla="*/ 2147483646 w 574"/>
                <a:gd name="T19" fmla="*/ 2147483646 h 572"/>
                <a:gd name="T20" fmla="*/ 2147483646 w 574"/>
                <a:gd name="T21" fmla="*/ 0 h 572"/>
                <a:gd name="T22" fmla="*/ 2147483646 w 574"/>
                <a:gd name="T23" fmla="*/ 0 h 57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74" h="572">
                  <a:moveTo>
                    <a:pt x="574" y="0"/>
                  </a:moveTo>
                  <a:lnTo>
                    <a:pt x="574" y="0"/>
                  </a:lnTo>
                  <a:lnTo>
                    <a:pt x="517" y="369"/>
                  </a:lnTo>
                  <a:lnTo>
                    <a:pt x="430" y="281"/>
                  </a:lnTo>
                  <a:lnTo>
                    <a:pt x="139" y="572"/>
                  </a:lnTo>
                  <a:lnTo>
                    <a:pt x="0" y="435"/>
                  </a:lnTo>
                  <a:lnTo>
                    <a:pt x="290" y="142"/>
                  </a:lnTo>
                  <a:lnTo>
                    <a:pt x="189" y="40"/>
                  </a:lnTo>
                  <a:lnTo>
                    <a:pt x="572" y="0"/>
                  </a:lnTo>
                  <a:lnTo>
                    <a:pt x="57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2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2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32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6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250" tmFilter="0, 0; .2, .5; .8, .5; 1, 0"/>
                                        <p:tgtEl>
                                          <p:spTgt spid="32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125" autoRev="1" fill="hold"/>
                                        <p:tgtEl>
                                          <p:spTgt spid="32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3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32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32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324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250" tmFilter="0, 0; .2, .5; .8, .5; 1, 0"/>
                                        <p:tgtEl>
                                          <p:spTgt spid="32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125" autoRev="1" fill="hold"/>
                                        <p:tgtEl>
                                          <p:spTgt spid="32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3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250" fill="hold"/>
                                        <p:tgtEl>
                                          <p:spTgt spid="32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32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32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3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250" tmFilter="0, 0; .2, .5; .8, .5; 1, 0"/>
                                        <p:tgtEl>
                                          <p:spTgt spid="325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" dur="125" autoRev="1" fill="hold"/>
                                        <p:tgtEl>
                                          <p:spTgt spid="325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3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32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32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250" fill="hold"/>
                                        <p:tgtEl>
                                          <p:spTgt spid="325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3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250" tmFilter="0, 0; .2, .5; .8, .5; 1, 0"/>
                                        <p:tgtEl>
                                          <p:spTgt spid="325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" dur="125" autoRev="1" fill="hold"/>
                                        <p:tgtEl>
                                          <p:spTgt spid="325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3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9" grpId="0" animBg="1"/>
      <p:bldP spid="37" grpId="0" animBg="1"/>
      <p:bldP spid="4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55"/>
          <p:cNvSpPr/>
          <p:nvPr/>
        </p:nvSpPr>
        <p:spPr bwMode="auto">
          <a:xfrm>
            <a:off x="2892425" y="898525"/>
            <a:ext cx="6121400" cy="3943350"/>
          </a:xfrm>
          <a:prstGeom prst="rect">
            <a:avLst/>
          </a:prstGeom>
          <a:solidFill>
            <a:srgbClr val="32879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/>
          <a:lstStyle/>
          <a:p>
            <a:pPr algn="ctr" defTabSz="913130" eaLnBrk="1" hangingPunct="1">
              <a:lnSpc>
                <a:spcPct val="90000"/>
              </a:lnSpc>
              <a:defRPr/>
            </a:pPr>
            <a:endParaRPr lang="en-US" sz="2000" dirty="0" err="1">
              <a:gradFill>
                <a:gsLst>
                  <a:gs pos="1250">
                    <a:srgbClr val="EFEFEF"/>
                  </a:gs>
                  <a:gs pos="10417">
                    <a:srgbClr val="EFEFEF"/>
                  </a:gs>
                </a:gsLst>
                <a:lin ang="5400000" scaled="0"/>
              </a:gradFill>
            </a:endParaRPr>
          </a:p>
        </p:txBody>
      </p:sp>
      <p:grpSp>
        <p:nvGrpSpPr>
          <p:cNvPr id="6" name="组合 5"/>
          <p:cNvGrpSpPr/>
          <p:nvPr/>
        </p:nvGrpSpPr>
        <p:grpSpPr bwMode="auto">
          <a:xfrm>
            <a:off x="3430588" y="898525"/>
            <a:ext cx="4725987" cy="3867150"/>
            <a:chOff x="3431338" y="897951"/>
            <a:chExt cx="4725089" cy="3867770"/>
          </a:xfrm>
        </p:grpSpPr>
        <p:cxnSp>
          <p:nvCxnSpPr>
            <p:cNvPr id="104" name="直接连接符 103"/>
            <p:cNvCxnSpPr/>
            <p:nvPr/>
          </p:nvCxnSpPr>
          <p:spPr>
            <a:xfrm>
              <a:off x="3855119" y="1263135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592" name="组合 52"/>
            <p:cNvGrpSpPr/>
            <p:nvPr/>
          </p:nvGrpSpPr>
          <p:grpSpPr bwMode="auto">
            <a:xfrm>
              <a:off x="3783185" y="897951"/>
              <a:ext cx="130924" cy="3546573"/>
              <a:chOff x="3563888" y="624501"/>
              <a:chExt cx="144016" cy="3901231"/>
            </a:xfrm>
          </p:grpSpPr>
          <p:cxnSp>
            <p:nvCxnSpPr>
              <p:cNvPr id="50" name="直接连接符 49"/>
              <p:cNvCxnSpPr/>
              <p:nvPr/>
            </p:nvCxnSpPr>
            <p:spPr>
              <a:xfrm>
                <a:off x="3636032" y="771210"/>
                <a:ext cx="0" cy="3755041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等腰三角形 51"/>
              <p:cNvSpPr/>
              <p:nvPr/>
            </p:nvSpPr>
            <p:spPr>
              <a:xfrm>
                <a:off x="3564450" y="624501"/>
                <a:ext cx="143165" cy="144963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0593" name="组合 54"/>
            <p:cNvGrpSpPr/>
            <p:nvPr/>
          </p:nvGrpSpPr>
          <p:grpSpPr bwMode="auto">
            <a:xfrm rot="5400000">
              <a:off x="5930725" y="2281756"/>
              <a:ext cx="130924" cy="4320480"/>
              <a:chOff x="3563888" y="624501"/>
              <a:chExt cx="144016" cy="4752528"/>
            </a:xfrm>
          </p:grpSpPr>
          <p:cxnSp>
            <p:nvCxnSpPr>
              <p:cNvPr id="56" name="直接连接符 55"/>
              <p:cNvCxnSpPr/>
              <p:nvPr/>
            </p:nvCxnSpPr>
            <p:spPr>
              <a:xfrm rot="16200000" flipH="1">
                <a:off x="1332836" y="3074024"/>
                <a:ext cx="4605732" cy="0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等腰三角形 56"/>
              <p:cNvSpPr/>
              <p:nvPr/>
            </p:nvSpPr>
            <p:spPr>
              <a:xfrm>
                <a:off x="3564095" y="631485"/>
                <a:ext cx="143215" cy="14491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2048" name="直接连接符 2047"/>
            <p:cNvCxnSpPr/>
            <p:nvPr/>
          </p:nvCxnSpPr>
          <p:spPr>
            <a:xfrm>
              <a:off x="3855119" y="3911509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直接连接符 73"/>
            <p:cNvCxnSpPr/>
            <p:nvPr/>
          </p:nvCxnSpPr>
          <p:spPr>
            <a:xfrm>
              <a:off x="3855119" y="3317689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直接连接符 74"/>
            <p:cNvCxnSpPr/>
            <p:nvPr/>
          </p:nvCxnSpPr>
          <p:spPr>
            <a:xfrm>
              <a:off x="3855119" y="2668298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直接连接符 75"/>
            <p:cNvCxnSpPr/>
            <p:nvPr/>
          </p:nvCxnSpPr>
          <p:spPr>
            <a:xfrm>
              <a:off x="3855119" y="1964922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直接连接符 97"/>
            <p:cNvCxnSpPr/>
            <p:nvPr/>
          </p:nvCxnSpPr>
          <p:spPr>
            <a:xfrm flipV="1">
              <a:off x="4493173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直接连接符 99"/>
            <p:cNvCxnSpPr/>
            <p:nvPr/>
          </p:nvCxnSpPr>
          <p:spPr>
            <a:xfrm flipV="1">
              <a:off x="5169320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直接连接符 100"/>
            <p:cNvCxnSpPr/>
            <p:nvPr/>
          </p:nvCxnSpPr>
          <p:spPr>
            <a:xfrm flipV="1">
              <a:off x="5878798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直接连接符 101"/>
            <p:cNvCxnSpPr/>
            <p:nvPr/>
          </p:nvCxnSpPr>
          <p:spPr>
            <a:xfrm flipV="1">
              <a:off x="6559705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接连接符 102"/>
            <p:cNvCxnSpPr/>
            <p:nvPr/>
          </p:nvCxnSpPr>
          <p:spPr>
            <a:xfrm flipV="1">
              <a:off x="7250137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03" name="TextBox 107"/>
            <p:cNvSpPr txBox="1">
              <a:spLocks noChangeArrowheads="1"/>
            </p:cNvSpPr>
            <p:nvPr/>
          </p:nvSpPr>
          <p:spPr bwMode="auto">
            <a:xfrm>
              <a:off x="3792669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0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4" name="TextBox 108"/>
            <p:cNvSpPr txBox="1">
              <a:spLocks noChangeArrowheads="1"/>
            </p:cNvSpPr>
            <p:nvPr/>
          </p:nvSpPr>
          <p:spPr bwMode="auto">
            <a:xfrm>
              <a:off x="6516299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4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5" name="TextBox 110"/>
            <p:cNvSpPr txBox="1">
              <a:spLocks noChangeArrowheads="1"/>
            </p:cNvSpPr>
            <p:nvPr/>
          </p:nvSpPr>
          <p:spPr bwMode="auto">
            <a:xfrm>
              <a:off x="5876181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3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6" name="TextBox 111"/>
            <p:cNvSpPr txBox="1">
              <a:spLocks noChangeArrowheads="1"/>
            </p:cNvSpPr>
            <p:nvPr/>
          </p:nvSpPr>
          <p:spPr bwMode="auto">
            <a:xfrm>
              <a:off x="5164893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2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7" name="TextBox 112"/>
            <p:cNvSpPr txBox="1">
              <a:spLocks noChangeArrowheads="1"/>
            </p:cNvSpPr>
            <p:nvPr/>
          </p:nvSpPr>
          <p:spPr bwMode="auto">
            <a:xfrm>
              <a:off x="4482874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1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8" name="TextBox 113"/>
            <p:cNvSpPr txBox="1">
              <a:spLocks noChangeArrowheads="1"/>
            </p:cNvSpPr>
            <p:nvPr/>
          </p:nvSpPr>
          <p:spPr bwMode="auto">
            <a:xfrm>
              <a:off x="3431338" y="3792491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9" name="TextBox 114"/>
            <p:cNvSpPr txBox="1">
              <a:spLocks noChangeArrowheads="1"/>
            </p:cNvSpPr>
            <p:nvPr/>
          </p:nvSpPr>
          <p:spPr bwMode="auto">
            <a:xfrm>
              <a:off x="3431338" y="3186668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10" name="TextBox 115"/>
            <p:cNvSpPr txBox="1">
              <a:spLocks noChangeArrowheads="1"/>
            </p:cNvSpPr>
            <p:nvPr/>
          </p:nvSpPr>
          <p:spPr bwMode="auto">
            <a:xfrm>
              <a:off x="3431338" y="2534766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11" name="TextBox 116"/>
            <p:cNvSpPr txBox="1">
              <a:spLocks noChangeArrowheads="1"/>
            </p:cNvSpPr>
            <p:nvPr/>
          </p:nvSpPr>
          <p:spPr bwMode="auto">
            <a:xfrm>
              <a:off x="3431338" y="1853054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12" name="TextBox 117"/>
            <p:cNvSpPr txBox="1">
              <a:spLocks noChangeArrowheads="1"/>
            </p:cNvSpPr>
            <p:nvPr/>
          </p:nvSpPr>
          <p:spPr bwMode="auto">
            <a:xfrm>
              <a:off x="3431338" y="1143516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4" name="任意多边形 53"/>
          <p:cNvSpPr/>
          <p:nvPr/>
        </p:nvSpPr>
        <p:spPr>
          <a:xfrm>
            <a:off x="3854450" y="2665413"/>
            <a:ext cx="461963" cy="1755775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8000" h="1930400">
                <a:moveTo>
                  <a:pt x="0" y="1930400"/>
                </a:moveTo>
                <a:lnTo>
                  <a:pt x="5080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9" name="任意多边形 58"/>
          <p:cNvSpPr/>
          <p:nvPr/>
        </p:nvSpPr>
        <p:spPr>
          <a:xfrm>
            <a:off x="4325938" y="2674938"/>
            <a:ext cx="420687" cy="88900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292100 w 292100"/>
              <a:gd name="connsiteY0-2" fmla="*/ 1254125 h 1254125"/>
              <a:gd name="connsiteX1-3" fmla="*/ 0 w 292100"/>
              <a:gd name="connsiteY1-4" fmla="*/ 0 h 1254125"/>
              <a:gd name="connsiteX0-5" fmla="*/ 530225 w 530225"/>
              <a:gd name="connsiteY0-6" fmla="*/ 1225550 h 1225550"/>
              <a:gd name="connsiteX1-7" fmla="*/ 0 w 530225"/>
              <a:gd name="connsiteY1-8" fmla="*/ 0 h 1225550"/>
              <a:gd name="connsiteX0-9" fmla="*/ 463550 w 463550"/>
              <a:gd name="connsiteY0-10" fmla="*/ 977900 h 977900"/>
              <a:gd name="connsiteX1-11" fmla="*/ 0 w 463550"/>
              <a:gd name="connsiteY1-12" fmla="*/ 0 h 9779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463550" h="977900">
                <a:moveTo>
                  <a:pt x="463550" y="9779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0" name="任意多边形 59"/>
          <p:cNvSpPr/>
          <p:nvPr/>
        </p:nvSpPr>
        <p:spPr>
          <a:xfrm>
            <a:off x="4748213" y="1635125"/>
            <a:ext cx="331787" cy="19367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365125"/>
              <a:gd name="connsiteY0-2" fmla="*/ 2130425 h 2130425"/>
              <a:gd name="connsiteX1-3" fmla="*/ 365125 w 365125"/>
              <a:gd name="connsiteY1-4" fmla="*/ 0 h 213042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365125" h="2130425">
                <a:moveTo>
                  <a:pt x="0" y="2130425"/>
                </a:moveTo>
                <a:lnTo>
                  <a:pt x="365125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3" name="任意多边形 62"/>
          <p:cNvSpPr/>
          <p:nvPr/>
        </p:nvSpPr>
        <p:spPr>
          <a:xfrm>
            <a:off x="5089525" y="1636713"/>
            <a:ext cx="587375" cy="1616075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73025 w 73025"/>
              <a:gd name="connsiteY0-2" fmla="*/ 1520825 h 1520825"/>
              <a:gd name="connsiteX1-3" fmla="*/ 0 w 73025"/>
              <a:gd name="connsiteY1-4" fmla="*/ 0 h 1520825"/>
              <a:gd name="connsiteX0-5" fmla="*/ 692150 w 692150"/>
              <a:gd name="connsiteY0-6" fmla="*/ 1520825 h 1520825"/>
              <a:gd name="connsiteX1-7" fmla="*/ 0 w 692150"/>
              <a:gd name="connsiteY1-8" fmla="*/ 0 h 1520825"/>
              <a:gd name="connsiteX0-9" fmla="*/ 511175 w 511175"/>
              <a:gd name="connsiteY0-10" fmla="*/ 1568450 h 1568450"/>
              <a:gd name="connsiteX1-11" fmla="*/ 0 w 511175"/>
              <a:gd name="connsiteY1-12" fmla="*/ 0 h 1568450"/>
              <a:gd name="connsiteX0-13" fmla="*/ 644525 w 644525"/>
              <a:gd name="connsiteY0-14" fmla="*/ 1778000 h 1778000"/>
              <a:gd name="connsiteX1-15" fmla="*/ 0 w 644525"/>
              <a:gd name="connsiteY1-16" fmla="*/ 0 h 177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644525" h="1778000">
                <a:moveTo>
                  <a:pt x="644525" y="17780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任意多边形 63"/>
          <p:cNvSpPr/>
          <p:nvPr/>
        </p:nvSpPr>
        <p:spPr>
          <a:xfrm>
            <a:off x="5676900" y="2474913"/>
            <a:ext cx="331788" cy="7937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365125"/>
              <a:gd name="connsiteY0-2" fmla="*/ 873125 h 873125"/>
              <a:gd name="connsiteX1-3" fmla="*/ 365125 w 365125"/>
              <a:gd name="connsiteY1-4" fmla="*/ 0 h 87312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365125" h="873125">
                <a:moveTo>
                  <a:pt x="0" y="873125"/>
                </a:moveTo>
                <a:lnTo>
                  <a:pt x="365125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5" name="任意多边形 64"/>
          <p:cNvSpPr/>
          <p:nvPr/>
        </p:nvSpPr>
        <p:spPr>
          <a:xfrm>
            <a:off x="6008688" y="2463800"/>
            <a:ext cx="187325" cy="300038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73025 w 73025"/>
              <a:gd name="connsiteY0-2" fmla="*/ 1520825 h 1520825"/>
              <a:gd name="connsiteX1-3" fmla="*/ 0 w 73025"/>
              <a:gd name="connsiteY1-4" fmla="*/ 0 h 1520825"/>
              <a:gd name="connsiteX0-5" fmla="*/ 692150 w 692150"/>
              <a:gd name="connsiteY0-6" fmla="*/ 1520825 h 1520825"/>
              <a:gd name="connsiteX1-7" fmla="*/ 0 w 692150"/>
              <a:gd name="connsiteY1-8" fmla="*/ 0 h 1520825"/>
              <a:gd name="connsiteX0-9" fmla="*/ 511175 w 511175"/>
              <a:gd name="connsiteY0-10" fmla="*/ 1568450 h 1568450"/>
              <a:gd name="connsiteX1-11" fmla="*/ 0 w 511175"/>
              <a:gd name="connsiteY1-12" fmla="*/ 0 h 1568450"/>
              <a:gd name="connsiteX0-13" fmla="*/ 206375 w 206375"/>
              <a:gd name="connsiteY0-14" fmla="*/ 330200 h 330200"/>
              <a:gd name="connsiteX1-15" fmla="*/ 0 w 206375"/>
              <a:gd name="connsiteY1-16" fmla="*/ 0 h 3302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06375" h="330200">
                <a:moveTo>
                  <a:pt x="206375" y="3302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6" name="任意多边形 65"/>
          <p:cNvSpPr/>
          <p:nvPr/>
        </p:nvSpPr>
        <p:spPr>
          <a:xfrm>
            <a:off x="6859588" y="1309688"/>
            <a:ext cx="230187" cy="2222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254000 w 254000"/>
              <a:gd name="connsiteY0-2" fmla="*/ 244475 h 244475"/>
              <a:gd name="connsiteX1-3" fmla="*/ 0 w 254000"/>
              <a:gd name="connsiteY1-4" fmla="*/ 0 h 24447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54000" h="244475">
                <a:moveTo>
                  <a:pt x="254000" y="244475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7" name="任意多边形 66"/>
          <p:cNvSpPr/>
          <p:nvPr/>
        </p:nvSpPr>
        <p:spPr>
          <a:xfrm>
            <a:off x="6196013" y="1347788"/>
            <a:ext cx="690562" cy="1446212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298450"/>
              <a:gd name="connsiteY0-2" fmla="*/ 1349375 h 1349375"/>
              <a:gd name="connsiteX1-3" fmla="*/ 298450 w 298450"/>
              <a:gd name="connsiteY1-4" fmla="*/ 0 h 1349375"/>
              <a:gd name="connsiteX0-5" fmla="*/ 0 w 374650"/>
              <a:gd name="connsiteY0-6" fmla="*/ 1682750 h 1682750"/>
              <a:gd name="connsiteX1-7" fmla="*/ 374650 w 374650"/>
              <a:gd name="connsiteY1-8" fmla="*/ 0 h 1682750"/>
              <a:gd name="connsiteX0-9" fmla="*/ 0 w 760222"/>
              <a:gd name="connsiteY0-10" fmla="*/ 1590548 h 1590548"/>
              <a:gd name="connsiteX1-11" fmla="*/ 760222 w 760222"/>
              <a:gd name="connsiteY1-12" fmla="*/ 0 h 15905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760222" h="1590548">
                <a:moveTo>
                  <a:pt x="0" y="1590548"/>
                </a:moveTo>
                <a:lnTo>
                  <a:pt x="760222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9" name="TextBox 118"/>
          <p:cNvSpPr txBox="1">
            <a:spLocks noChangeArrowheads="1"/>
          </p:cNvSpPr>
          <p:nvPr/>
        </p:nvSpPr>
        <p:spPr bwMode="auto">
          <a:xfrm>
            <a:off x="3995738" y="2309813"/>
            <a:ext cx="84296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0" name="TextBox 119"/>
          <p:cNvSpPr txBox="1">
            <a:spLocks noChangeArrowheads="1"/>
          </p:cNvSpPr>
          <p:nvPr/>
        </p:nvSpPr>
        <p:spPr bwMode="auto">
          <a:xfrm>
            <a:off x="4427538" y="3695700"/>
            <a:ext cx="84296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1" name="TextBox 120"/>
          <p:cNvSpPr txBox="1">
            <a:spLocks noChangeArrowheads="1"/>
          </p:cNvSpPr>
          <p:nvPr/>
        </p:nvSpPr>
        <p:spPr bwMode="auto">
          <a:xfrm>
            <a:off x="4718050" y="1270000"/>
            <a:ext cx="8429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TextBox 121"/>
          <p:cNvSpPr txBox="1">
            <a:spLocks noChangeArrowheads="1"/>
          </p:cNvSpPr>
          <p:nvPr/>
        </p:nvSpPr>
        <p:spPr bwMode="auto">
          <a:xfrm>
            <a:off x="5353050" y="3413125"/>
            <a:ext cx="8429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3" name="TextBox 122"/>
          <p:cNvSpPr txBox="1">
            <a:spLocks noChangeArrowheads="1"/>
          </p:cNvSpPr>
          <p:nvPr/>
        </p:nvSpPr>
        <p:spPr bwMode="auto">
          <a:xfrm>
            <a:off x="5857875" y="2919413"/>
            <a:ext cx="8445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4" name="TextBox 123"/>
          <p:cNvSpPr txBox="1">
            <a:spLocks noChangeArrowheads="1"/>
          </p:cNvSpPr>
          <p:nvPr/>
        </p:nvSpPr>
        <p:spPr bwMode="auto">
          <a:xfrm>
            <a:off x="6515100" y="965200"/>
            <a:ext cx="8429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0498" name="组合 9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106" name="矩形 105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7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0587" name="组合 109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125" name="矩形 124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0589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90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" name="组合 4"/>
          <p:cNvGrpSpPr/>
          <p:nvPr/>
        </p:nvGrpSpPr>
        <p:grpSpPr bwMode="auto">
          <a:xfrm>
            <a:off x="184150" y="3792538"/>
            <a:ext cx="2316163" cy="739775"/>
            <a:chOff x="183758" y="3792491"/>
            <a:chExt cx="2316215" cy="739566"/>
          </a:xfrm>
        </p:grpSpPr>
        <p:sp>
          <p:nvSpPr>
            <p:cNvPr id="9" name="Pentagon 25"/>
            <p:cNvSpPr/>
            <p:nvPr/>
          </p:nvSpPr>
          <p:spPr bwMode="auto">
            <a:xfrm>
              <a:off x="183758" y="3792491"/>
              <a:ext cx="2316215" cy="739566"/>
            </a:xfrm>
            <a:prstGeom prst="homePlat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79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4090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0580" name="组合 2076"/>
            <p:cNvGrpSpPr/>
            <p:nvPr/>
          </p:nvGrpSpPr>
          <p:grpSpPr bwMode="auto">
            <a:xfrm>
              <a:off x="324083" y="3994238"/>
              <a:ext cx="336629" cy="336072"/>
              <a:chOff x="1989137" y="-1925638"/>
              <a:chExt cx="960438" cy="958850"/>
            </a:xfrm>
          </p:grpSpPr>
          <p:sp>
            <p:nvSpPr>
              <p:cNvPr id="2054" name="Oval 56"/>
              <p:cNvSpPr>
                <a:spLocks noChangeArrowheads="1"/>
              </p:cNvSpPr>
              <p:nvPr/>
            </p:nvSpPr>
            <p:spPr bwMode="auto">
              <a:xfrm>
                <a:off x="1987362" y="-1926186"/>
                <a:ext cx="960235" cy="959942"/>
              </a:xfrm>
              <a:prstGeom prst="ellipse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582" name="Freeform 57"/>
              <p:cNvSpPr/>
              <p:nvPr/>
            </p:nvSpPr>
            <p:spPr bwMode="auto">
              <a:xfrm>
                <a:off x="2300287" y="-1685925"/>
                <a:ext cx="635000" cy="688975"/>
              </a:xfrm>
              <a:custGeom>
                <a:avLst/>
                <a:gdLst>
                  <a:gd name="T0" fmla="*/ 2147483646 w 169"/>
                  <a:gd name="T1" fmla="*/ 0 h 184"/>
                  <a:gd name="T2" fmla="*/ 2147483646 w 169"/>
                  <a:gd name="T3" fmla="*/ 2147483646 h 184"/>
                  <a:gd name="T4" fmla="*/ 2147483646 w 169"/>
                  <a:gd name="T5" fmla="*/ 2147483646 h 184"/>
                  <a:gd name="T6" fmla="*/ 2147483646 w 169"/>
                  <a:gd name="T7" fmla="*/ 2147483646 h 184"/>
                  <a:gd name="T8" fmla="*/ 2147483646 w 169"/>
                  <a:gd name="T9" fmla="*/ 2147483646 h 184"/>
                  <a:gd name="T10" fmla="*/ 2147483646 w 169"/>
                  <a:gd name="T11" fmla="*/ 2147483646 h 184"/>
                  <a:gd name="T12" fmla="*/ 2147483646 w 169"/>
                  <a:gd name="T13" fmla="*/ 2147483646 h 184"/>
                  <a:gd name="T14" fmla="*/ 2147483646 w 169"/>
                  <a:gd name="T15" fmla="*/ 2147483646 h 184"/>
                  <a:gd name="T16" fmla="*/ 0 w 169"/>
                  <a:gd name="T17" fmla="*/ 2147483646 h 184"/>
                  <a:gd name="T18" fmla="*/ 2147483646 w 169"/>
                  <a:gd name="T19" fmla="*/ 2147483646 h 184"/>
                  <a:gd name="T20" fmla="*/ 2147483646 w 169"/>
                  <a:gd name="T21" fmla="*/ 2147483646 h 184"/>
                  <a:gd name="T22" fmla="*/ 2147483646 w 169"/>
                  <a:gd name="T23" fmla="*/ 0 h 1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9" h="184">
                    <a:moveTo>
                      <a:pt x="73" y="0"/>
                    </a:moveTo>
                    <a:cubicBezTo>
                      <a:pt x="73" y="80"/>
                      <a:pt x="73" y="80"/>
                      <a:pt x="73" y="80"/>
                    </a:cubicBezTo>
                    <a:cubicBezTo>
                      <a:pt x="90" y="80"/>
                      <a:pt x="90" y="80"/>
                      <a:pt x="90" y="80"/>
                    </a:cubicBezTo>
                    <a:cubicBezTo>
                      <a:pt x="90" y="93"/>
                      <a:pt x="90" y="93"/>
                      <a:pt x="90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57" y="128"/>
                      <a:pt x="57" y="128"/>
                      <a:pt x="57" y="128"/>
                    </a:cubicBezTo>
                    <a:cubicBezTo>
                      <a:pt x="57" y="93"/>
                      <a:pt x="57" y="93"/>
                      <a:pt x="57" y="93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91" y="184"/>
                      <a:pt x="91" y="184"/>
                      <a:pt x="91" y="184"/>
                    </a:cubicBezTo>
                    <a:cubicBezTo>
                      <a:pt x="129" y="169"/>
                      <a:pt x="158" y="136"/>
                      <a:pt x="169" y="96"/>
                    </a:cubicBezTo>
                    <a:cubicBezTo>
                      <a:pt x="73" y="0"/>
                      <a:pt x="73" y="0"/>
                      <a:pt x="73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83" name="Freeform 58"/>
              <p:cNvSpPr/>
              <p:nvPr/>
            </p:nvSpPr>
            <p:spPr bwMode="auto">
              <a:xfrm>
                <a:off x="2365375" y="-1622425"/>
                <a:ext cx="152400" cy="236538"/>
              </a:xfrm>
              <a:custGeom>
                <a:avLst/>
                <a:gdLst>
                  <a:gd name="T0" fmla="*/ 2147483646 w 41"/>
                  <a:gd name="T1" fmla="*/ 0 h 63"/>
                  <a:gd name="T2" fmla="*/ 2147483646 w 41"/>
                  <a:gd name="T3" fmla="*/ 0 h 63"/>
                  <a:gd name="T4" fmla="*/ 2147483646 w 41"/>
                  <a:gd name="T5" fmla="*/ 2147483646 h 63"/>
                  <a:gd name="T6" fmla="*/ 0 w 41"/>
                  <a:gd name="T7" fmla="*/ 2147483646 h 63"/>
                  <a:gd name="T8" fmla="*/ 0 w 41"/>
                  <a:gd name="T9" fmla="*/ 2147483646 h 63"/>
                  <a:gd name="T10" fmla="*/ 2147483646 w 41"/>
                  <a:gd name="T11" fmla="*/ 2147483646 h 63"/>
                  <a:gd name="T12" fmla="*/ 2147483646 w 41"/>
                  <a:gd name="T13" fmla="*/ 2147483646 h 63"/>
                  <a:gd name="T14" fmla="*/ 2147483646 w 41"/>
                  <a:gd name="T15" fmla="*/ 0 h 6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1" h="63">
                    <a:moveTo>
                      <a:pt x="41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36" y="7"/>
                      <a:pt x="33" y="13"/>
                      <a:pt x="30" y="19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40" y="63"/>
                      <a:pt x="40" y="63"/>
                      <a:pt x="40" y="63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13"/>
                      <a:pt x="40" y="6"/>
                      <a:pt x="41" y="0"/>
                    </a:cubicBez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84" name="Freeform 59"/>
              <p:cNvSpPr>
                <a:spLocks noEditPoints="1"/>
              </p:cNvSpPr>
              <p:nvPr/>
            </p:nvSpPr>
            <p:spPr bwMode="auto">
              <a:xfrm>
                <a:off x="2300287" y="-1685925"/>
                <a:ext cx="338138" cy="479425"/>
              </a:xfrm>
              <a:custGeom>
                <a:avLst/>
                <a:gdLst>
                  <a:gd name="T0" fmla="*/ 2147483646 w 90"/>
                  <a:gd name="T1" fmla="*/ 2147483646 h 128"/>
                  <a:gd name="T2" fmla="*/ 2147483646 w 90"/>
                  <a:gd name="T3" fmla="*/ 2147483646 h 128"/>
                  <a:gd name="T4" fmla="*/ 0 w 90"/>
                  <a:gd name="T5" fmla="*/ 2147483646 h 128"/>
                  <a:gd name="T6" fmla="*/ 0 w 90"/>
                  <a:gd name="T7" fmla="*/ 2147483646 h 128"/>
                  <a:gd name="T8" fmla="*/ 2147483646 w 90"/>
                  <a:gd name="T9" fmla="*/ 0 h 128"/>
                  <a:gd name="T10" fmla="*/ 2147483646 w 90"/>
                  <a:gd name="T11" fmla="*/ 0 h 128"/>
                  <a:gd name="T12" fmla="*/ 2147483646 w 90"/>
                  <a:gd name="T13" fmla="*/ 2147483646 h 128"/>
                  <a:gd name="T14" fmla="*/ 2147483646 w 90"/>
                  <a:gd name="T15" fmla="*/ 2147483646 h 128"/>
                  <a:gd name="T16" fmla="*/ 2147483646 w 90"/>
                  <a:gd name="T17" fmla="*/ 2147483646 h 128"/>
                  <a:gd name="T18" fmla="*/ 2147483646 w 90"/>
                  <a:gd name="T19" fmla="*/ 2147483646 h 128"/>
                  <a:gd name="T20" fmla="*/ 2147483646 w 90"/>
                  <a:gd name="T21" fmla="*/ 2147483646 h 128"/>
                  <a:gd name="T22" fmla="*/ 2147483646 w 90"/>
                  <a:gd name="T23" fmla="*/ 2147483646 h 128"/>
                  <a:gd name="T24" fmla="*/ 2147483646 w 90"/>
                  <a:gd name="T25" fmla="*/ 2147483646 h 128"/>
                  <a:gd name="T26" fmla="*/ 2147483646 w 90"/>
                  <a:gd name="T27" fmla="*/ 2147483646 h 128"/>
                  <a:gd name="T28" fmla="*/ 2147483646 w 90"/>
                  <a:gd name="T29" fmla="*/ 2147483646 h 128"/>
                  <a:gd name="T30" fmla="*/ 2147483646 w 90"/>
                  <a:gd name="T31" fmla="*/ 2147483646 h 128"/>
                  <a:gd name="T32" fmla="*/ 2147483646 w 90"/>
                  <a:gd name="T33" fmla="*/ 2147483646 h 128"/>
                  <a:gd name="T34" fmla="*/ 2147483646 w 90"/>
                  <a:gd name="T35" fmla="*/ 2147483646 h 128"/>
                  <a:gd name="T36" fmla="*/ 2147483646 w 90"/>
                  <a:gd name="T37" fmla="*/ 2147483646 h 128"/>
                  <a:gd name="T38" fmla="*/ 2147483646 w 90"/>
                  <a:gd name="T39" fmla="*/ 2147483646 h 12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0" h="128">
                    <a:moveTo>
                      <a:pt x="57" y="128"/>
                    </a:moveTo>
                    <a:cubicBezTo>
                      <a:pt x="57" y="93"/>
                      <a:pt x="57" y="93"/>
                      <a:pt x="57" y="93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90" y="80"/>
                      <a:pt x="90" y="80"/>
                      <a:pt x="90" y="80"/>
                    </a:cubicBezTo>
                    <a:cubicBezTo>
                      <a:pt x="90" y="93"/>
                      <a:pt x="90" y="93"/>
                      <a:pt x="90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3" y="128"/>
                      <a:pt x="73" y="128"/>
                      <a:pt x="73" y="128"/>
                    </a:cubicBezTo>
                    <a:lnTo>
                      <a:pt x="57" y="128"/>
                    </a:lnTo>
                    <a:close/>
                    <a:moveTo>
                      <a:pt x="57" y="80"/>
                    </a:moveTo>
                    <a:cubicBezTo>
                      <a:pt x="57" y="37"/>
                      <a:pt x="57" y="37"/>
                      <a:pt x="57" y="37"/>
                    </a:cubicBezTo>
                    <a:cubicBezTo>
                      <a:pt x="57" y="30"/>
                      <a:pt x="57" y="23"/>
                      <a:pt x="58" y="17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3" y="24"/>
                      <a:pt x="50" y="30"/>
                      <a:pt x="47" y="36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7" y="80"/>
                      <a:pt x="17" y="80"/>
                      <a:pt x="17" y="80"/>
                    </a:cubicBezTo>
                    <a:lnTo>
                      <a:pt x="57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" name="组合 1"/>
          <p:cNvGrpSpPr/>
          <p:nvPr/>
        </p:nvGrpSpPr>
        <p:grpSpPr bwMode="auto">
          <a:xfrm>
            <a:off x="184150" y="1333500"/>
            <a:ext cx="2316163" cy="739775"/>
            <a:chOff x="183758" y="1333005"/>
            <a:chExt cx="2316215" cy="739566"/>
          </a:xfrm>
        </p:grpSpPr>
        <p:sp>
          <p:nvSpPr>
            <p:cNvPr id="10" name="Pentagon 12"/>
            <p:cNvSpPr/>
            <p:nvPr/>
          </p:nvSpPr>
          <p:spPr bwMode="auto">
            <a:xfrm>
              <a:off x="183758" y="1333005"/>
              <a:ext cx="2316215" cy="739566"/>
            </a:xfrm>
            <a:prstGeom prst="homePlat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71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163132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0572" name="组合 2075"/>
            <p:cNvGrpSpPr/>
            <p:nvPr/>
          </p:nvGrpSpPr>
          <p:grpSpPr bwMode="auto">
            <a:xfrm>
              <a:off x="324083" y="1534752"/>
              <a:ext cx="336072" cy="336072"/>
              <a:chOff x="730250" y="-1925638"/>
              <a:chExt cx="958850" cy="958850"/>
            </a:xfrm>
          </p:grpSpPr>
          <p:sp>
            <p:nvSpPr>
              <p:cNvPr id="2058" name="Oval 60"/>
              <p:cNvSpPr>
                <a:spLocks noChangeArrowheads="1"/>
              </p:cNvSpPr>
              <p:nvPr/>
            </p:nvSpPr>
            <p:spPr bwMode="auto">
              <a:xfrm>
                <a:off x="728475" y="-1926183"/>
                <a:ext cx="960237" cy="959942"/>
              </a:xfrm>
              <a:prstGeom prst="ellipse">
                <a:avLst/>
              </a:pr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574" name="Freeform 61"/>
              <p:cNvSpPr/>
              <p:nvPr/>
            </p:nvSpPr>
            <p:spPr bwMode="auto">
              <a:xfrm>
                <a:off x="1179512" y="-1685925"/>
                <a:ext cx="476250" cy="685800"/>
              </a:xfrm>
              <a:custGeom>
                <a:avLst/>
                <a:gdLst>
                  <a:gd name="T0" fmla="*/ 2147483646 w 127"/>
                  <a:gd name="T1" fmla="*/ 0 h 183"/>
                  <a:gd name="T2" fmla="*/ 2147483646 w 127"/>
                  <a:gd name="T3" fmla="*/ 2147483646 h 183"/>
                  <a:gd name="T4" fmla="*/ 0 w 127"/>
                  <a:gd name="T5" fmla="*/ 2147483646 h 183"/>
                  <a:gd name="T6" fmla="*/ 2147483646 w 127"/>
                  <a:gd name="T7" fmla="*/ 2147483646 h 183"/>
                  <a:gd name="T8" fmla="*/ 2147483646 w 127"/>
                  <a:gd name="T9" fmla="*/ 2147483646 h 183"/>
                  <a:gd name="T10" fmla="*/ 2147483646 w 127"/>
                  <a:gd name="T11" fmla="*/ 0 h 1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7" h="183">
                    <a:moveTo>
                      <a:pt x="16" y="0"/>
                    </a:moveTo>
                    <a:cubicBezTo>
                      <a:pt x="16" y="128"/>
                      <a:pt x="16" y="128"/>
                      <a:pt x="16" y="128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55" y="183"/>
                      <a:pt x="55" y="183"/>
                      <a:pt x="55" y="183"/>
                    </a:cubicBezTo>
                    <a:cubicBezTo>
                      <a:pt x="88" y="170"/>
                      <a:pt x="114" y="144"/>
                      <a:pt x="127" y="111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75" name="Freeform 62"/>
              <p:cNvSpPr/>
              <p:nvPr/>
            </p:nvSpPr>
            <p:spPr bwMode="auto">
              <a:xfrm>
                <a:off x="1101725" y="-1625600"/>
                <a:ext cx="77788" cy="127000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76" name="Freeform 63"/>
              <p:cNvSpPr/>
              <p:nvPr/>
            </p:nvSpPr>
            <p:spPr bwMode="auto">
              <a:xfrm>
                <a:off x="1101725" y="-1625600"/>
                <a:ext cx="77788" cy="127000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77" name="Freeform 64"/>
              <p:cNvSpPr/>
              <p:nvPr/>
            </p:nvSpPr>
            <p:spPr bwMode="auto">
              <a:xfrm>
                <a:off x="1085850" y="-1685925"/>
                <a:ext cx="153988" cy="479425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" name="组合 2"/>
          <p:cNvGrpSpPr/>
          <p:nvPr/>
        </p:nvGrpSpPr>
        <p:grpSpPr bwMode="auto">
          <a:xfrm>
            <a:off x="193675" y="2149475"/>
            <a:ext cx="2316163" cy="739775"/>
            <a:chOff x="193603" y="2149899"/>
            <a:chExt cx="2316215" cy="739566"/>
          </a:xfrm>
        </p:grpSpPr>
        <p:sp>
          <p:nvSpPr>
            <p:cNvPr id="11" name="Pentagon 32"/>
            <p:cNvSpPr/>
            <p:nvPr/>
          </p:nvSpPr>
          <p:spPr bwMode="auto">
            <a:xfrm>
              <a:off x="193603" y="2149899"/>
              <a:ext cx="2316215" cy="739566"/>
            </a:xfrm>
            <a:prstGeom prst="homePlat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64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2448217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0565" name="组合 2074"/>
            <p:cNvGrpSpPr/>
            <p:nvPr/>
          </p:nvGrpSpPr>
          <p:grpSpPr bwMode="auto">
            <a:xfrm>
              <a:off x="324083" y="2351646"/>
              <a:ext cx="336072" cy="336072"/>
              <a:chOff x="-1789113" y="-1925638"/>
              <a:chExt cx="958850" cy="958850"/>
            </a:xfrm>
          </p:grpSpPr>
          <p:sp>
            <p:nvSpPr>
              <p:cNvPr id="2063" name="Oval 65"/>
              <p:cNvSpPr>
                <a:spLocks noChangeArrowheads="1"/>
              </p:cNvSpPr>
              <p:nvPr/>
            </p:nvSpPr>
            <p:spPr bwMode="auto">
              <a:xfrm>
                <a:off x="-1789975" y="-1926183"/>
                <a:ext cx="960237" cy="959942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567" name="Freeform 66"/>
              <p:cNvSpPr/>
              <p:nvPr/>
            </p:nvSpPr>
            <p:spPr bwMode="auto">
              <a:xfrm>
                <a:off x="-1455738" y="-1649413"/>
                <a:ext cx="600075" cy="676275"/>
              </a:xfrm>
              <a:custGeom>
                <a:avLst/>
                <a:gdLst>
                  <a:gd name="T0" fmla="*/ 2147483646 w 160"/>
                  <a:gd name="T1" fmla="*/ 0 h 180"/>
                  <a:gd name="T2" fmla="*/ 2147483646 w 160"/>
                  <a:gd name="T3" fmla="*/ 2147483646 h 180"/>
                  <a:gd name="T4" fmla="*/ 2147483646 w 160"/>
                  <a:gd name="T5" fmla="*/ 2147483646 h 180"/>
                  <a:gd name="T6" fmla="*/ 2147483646 w 160"/>
                  <a:gd name="T7" fmla="*/ 2147483646 h 180"/>
                  <a:gd name="T8" fmla="*/ 2147483646 w 160"/>
                  <a:gd name="T9" fmla="*/ 2147483646 h 180"/>
                  <a:gd name="T10" fmla="*/ 2147483646 w 160"/>
                  <a:gd name="T11" fmla="*/ 2147483646 h 180"/>
                  <a:gd name="T12" fmla="*/ 2147483646 w 160"/>
                  <a:gd name="T13" fmla="*/ 2147483646 h 180"/>
                  <a:gd name="T14" fmla="*/ 0 w 160"/>
                  <a:gd name="T15" fmla="*/ 2147483646 h 180"/>
                  <a:gd name="T16" fmla="*/ 2147483646 w 160"/>
                  <a:gd name="T17" fmla="*/ 2147483646 h 180"/>
                  <a:gd name="T18" fmla="*/ 2147483646 w 160"/>
                  <a:gd name="T19" fmla="*/ 2147483646 h 180"/>
                  <a:gd name="T20" fmla="*/ 2147483646 w 160"/>
                  <a:gd name="T21" fmla="*/ 0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60" h="180">
                    <a:moveTo>
                      <a:pt x="65" y="0"/>
                    </a:moveTo>
                    <a:cubicBezTo>
                      <a:pt x="67" y="3"/>
                      <a:pt x="75" y="12"/>
                      <a:pt x="75" y="27"/>
                    </a:cubicBezTo>
                    <a:cubicBezTo>
                      <a:pt x="75" y="50"/>
                      <a:pt x="59" y="69"/>
                      <a:pt x="33" y="94"/>
                    </a:cubicBezTo>
                    <a:cubicBezTo>
                      <a:pt x="23" y="103"/>
                      <a:pt x="23" y="103"/>
                      <a:pt x="23" y="103"/>
                    </a:cubicBezTo>
                    <a:cubicBezTo>
                      <a:pt x="23" y="104"/>
                      <a:pt x="23" y="104"/>
                      <a:pt x="23" y="104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8" y="118"/>
                      <a:pt x="78" y="118"/>
                      <a:pt x="78" y="118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62" y="180"/>
                      <a:pt x="62" y="180"/>
                      <a:pt x="62" y="180"/>
                    </a:cubicBezTo>
                    <a:cubicBezTo>
                      <a:pt x="108" y="172"/>
                      <a:pt x="145" y="139"/>
                      <a:pt x="160" y="95"/>
                    </a:cubicBezTo>
                    <a:cubicBezTo>
                      <a:pt x="65" y="0"/>
                      <a:pt x="65" y="0"/>
                      <a:pt x="65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8" name="Freeform 67"/>
              <p:cNvSpPr/>
              <p:nvPr/>
            </p:nvSpPr>
            <p:spPr bwMode="auto">
              <a:xfrm>
                <a:off x="-1425575" y="-1633538"/>
                <a:ext cx="187325" cy="190500"/>
              </a:xfrm>
              <a:custGeom>
                <a:avLst/>
                <a:gdLst>
                  <a:gd name="T0" fmla="*/ 2147483646 w 50"/>
                  <a:gd name="T1" fmla="*/ 0 h 51"/>
                  <a:gd name="T2" fmla="*/ 0 w 50"/>
                  <a:gd name="T3" fmla="*/ 2147483646 h 51"/>
                  <a:gd name="T4" fmla="*/ 2147483646 w 50"/>
                  <a:gd name="T5" fmla="*/ 2147483646 h 51"/>
                  <a:gd name="T6" fmla="*/ 2147483646 w 50"/>
                  <a:gd name="T7" fmla="*/ 2147483646 h 51"/>
                  <a:gd name="T8" fmla="*/ 2147483646 w 50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0" h="51">
                    <a:moveTo>
                      <a:pt x="26" y="0"/>
                    </a:moveTo>
                    <a:cubicBezTo>
                      <a:pt x="15" y="0"/>
                      <a:pt x="6" y="6"/>
                      <a:pt x="0" y="11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7" y="42"/>
                      <a:pt x="50" y="34"/>
                      <a:pt x="50" y="25"/>
                    </a:cubicBezTo>
                    <a:cubicBezTo>
                      <a:pt x="50" y="12"/>
                      <a:pt x="44" y="0"/>
                      <a:pt x="26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9" name="Freeform 68"/>
              <p:cNvSpPr/>
              <p:nvPr/>
            </p:nvSpPr>
            <p:spPr bwMode="auto">
              <a:xfrm>
                <a:off x="-1455738" y="-1685925"/>
                <a:ext cx="292100" cy="479425"/>
              </a:xfrm>
              <a:custGeom>
                <a:avLst/>
                <a:gdLst>
                  <a:gd name="T0" fmla="*/ 0 w 78"/>
                  <a:gd name="T1" fmla="*/ 2147483646 h 128"/>
                  <a:gd name="T2" fmla="*/ 0 w 78"/>
                  <a:gd name="T3" fmla="*/ 2147483646 h 128"/>
                  <a:gd name="T4" fmla="*/ 2147483646 w 78"/>
                  <a:gd name="T5" fmla="*/ 2147483646 h 128"/>
                  <a:gd name="T6" fmla="*/ 2147483646 w 78"/>
                  <a:gd name="T7" fmla="*/ 2147483646 h 128"/>
                  <a:gd name="T8" fmla="*/ 2147483646 w 78"/>
                  <a:gd name="T9" fmla="*/ 2147483646 h 128"/>
                  <a:gd name="T10" fmla="*/ 2147483646 w 78"/>
                  <a:gd name="T11" fmla="*/ 2147483646 h 128"/>
                  <a:gd name="T12" fmla="*/ 2147483646 w 78"/>
                  <a:gd name="T13" fmla="*/ 2147483646 h 128"/>
                  <a:gd name="T14" fmla="*/ 2147483646 w 78"/>
                  <a:gd name="T15" fmla="*/ 0 h 128"/>
                  <a:gd name="T16" fmla="*/ 2147483646 w 78"/>
                  <a:gd name="T17" fmla="*/ 2147483646 h 128"/>
                  <a:gd name="T18" fmla="*/ 2147483646 w 78"/>
                  <a:gd name="T19" fmla="*/ 2147483646 h 128"/>
                  <a:gd name="T20" fmla="*/ 2147483646 w 78"/>
                  <a:gd name="T21" fmla="*/ 2147483646 h 128"/>
                  <a:gd name="T22" fmla="*/ 2147483646 w 78"/>
                  <a:gd name="T23" fmla="*/ 2147483646 h 128"/>
                  <a:gd name="T24" fmla="*/ 2147483646 w 78"/>
                  <a:gd name="T25" fmla="*/ 2147483646 h 128"/>
                  <a:gd name="T26" fmla="*/ 2147483646 w 78"/>
                  <a:gd name="T27" fmla="*/ 2147483646 h 128"/>
                  <a:gd name="T28" fmla="*/ 0 w 78"/>
                  <a:gd name="T29" fmla="*/ 2147483646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78" h="128">
                    <a:moveTo>
                      <a:pt x="0" y="128"/>
                    </a:moveTo>
                    <a:cubicBezTo>
                      <a:pt x="0" y="118"/>
                      <a:pt x="0" y="118"/>
                      <a:pt x="0" y="118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44" y="74"/>
                      <a:pt x="58" y="58"/>
                      <a:pt x="58" y="39"/>
                    </a:cubicBezTo>
                    <a:cubicBezTo>
                      <a:pt x="58" y="26"/>
                      <a:pt x="52" y="14"/>
                      <a:pt x="34" y="14"/>
                    </a:cubicBezTo>
                    <a:cubicBezTo>
                      <a:pt x="23" y="14"/>
                      <a:pt x="14" y="20"/>
                      <a:pt x="8" y="25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1" y="5"/>
                      <a:pt x="23" y="0"/>
                      <a:pt x="38" y="0"/>
                    </a:cubicBezTo>
                    <a:cubicBezTo>
                      <a:pt x="64" y="0"/>
                      <a:pt x="75" y="19"/>
                      <a:pt x="75" y="37"/>
                    </a:cubicBezTo>
                    <a:cubicBezTo>
                      <a:pt x="75" y="60"/>
                      <a:pt x="59" y="79"/>
                      <a:pt x="33" y="104"/>
                    </a:cubicBezTo>
                    <a:cubicBezTo>
                      <a:pt x="23" y="113"/>
                      <a:pt x="23" y="113"/>
                      <a:pt x="23" y="113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8" y="128"/>
                      <a:pt x="78" y="128"/>
                      <a:pt x="78" y="128"/>
                    </a:cubicBez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" name="组合 3"/>
          <p:cNvGrpSpPr/>
          <p:nvPr/>
        </p:nvGrpSpPr>
        <p:grpSpPr bwMode="auto">
          <a:xfrm>
            <a:off x="184150" y="2974975"/>
            <a:ext cx="2316163" cy="739775"/>
            <a:chOff x="183760" y="2975597"/>
            <a:chExt cx="2316214" cy="739566"/>
          </a:xfrm>
        </p:grpSpPr>
        <p:sp>
          <p:nvSpPr>
            <p:cNvPr id="8" name="Pentagon 20"/>
            <p:cNvSpPr/>
            <p:nvPr/>
          </p:nvSpPr>
          <p:spPr bwMode="auto">
            <a:xfrm>
              <a:off x="183760" y="2975597"/>
              <a:ext cx="2316214" cy="739566"/>
            </a:xfrm>
            <a:prstGeom prst="homePlate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55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3273915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0556" name="组合 2073"/>
            <p:cNvGrpSpPr/>
            <p:nvPr/>
          </p:nvGrpSpPr>
          <p:grpSpPr bwMode="auto">
            <a:xfrm>
              <a:off x="324083" y="3175674"/>
              <a:ext cx="339413" cy="339413"/>
              <a:chOff x="-2120900" y="2405063"/>
              <a:chExt cx="968375" cy="968375"/>
            </a:xfrm>
          </p:grpSpPr>
          <p:sp>
            <p:nvSpPr>
              <p:cNvPr id="20557" name="AutoShape 71"/>
              <p:cNvSpPr>
                <a:spLocks noChangeAspect="1" noChangeArrowheads="1" noTextEdit="1"/>
              </p:cNvSpPr>
              <p:nvPr/>
            </p:nvSpPr>
            <p:spPr bwMode="auto">
              <a:xfrm>
                <a:off x="-2120900" y="2405063"/>
                <a:ext cx="968375" cy="968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69" name="Oval 73"/>
              <p:cNvSpPr>
                <a:spLocks noChangeArrowheads="1"/>
              </p:cNvSpPr>
              <p:nvPr/>
            </p:nvSpPr>
            <p:spPr bwMode="auto">
              <a:xfrm>
                <a:off x="-2118138" y="2409282"/>
                <a:ext cx="960226" cy="959935"/>
              </a:xfrm>
              <a:prstGeom prst="ellipse">
                <a:avLst/>
              </a:pr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559" name="Freeform 74"/>
              <p:cNvSpPr/>
              <p:nvPr/>
            </p:nvSpPr>
            <p:spPr bwMode="auto">
              <a:xfrm>
                <a:off x="-1711325" y="2897188"/>
                <a:ext cx="153988" cy="142875"/>
              </a:xfrm>
              <a:custGeom>
                <a:avLst/>
                <a:gdLst>
                  <a:gd name="T0" fmla="*/ 2147483646 w 41"/>
                  <a:gd name="T1" fmla="*/ 0 h 38"/>
                  <a:gd name="T2" fmla="*/ 0 w 41"/>
                  <a:gd name="T3" fmla="*/ 0 h 38"/>
                  <a:gd name="T4" fmla="*/ 2147483646 w 41"/>
                  <a:gd name="T5" fmla="*/ 2147483646 h 38"/>
                  <a:gd name="T6" fmla="*/ 2147483646 w 41"/>
                  <a:gd name="T7" fmla="*/ 2147483646 h 38"/>
                  <a:gd name="T8" fmla="*/ 2147483646 w 41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1" h="38">
                    <a:moveTo>
                      <a:pt x="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40" y="34"/>
                      <a:pt x="41" y="29"/>
                      <a:pt x="41" y="25"/>
                    </a:cubicBezTo>
                    <a:cubicBezTo>
                      <a:pt x="41" y="7"/>
                      <a:pt x="25" y="0"/>
                      <a:pt x="9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0" name="Freeform 75"/>
              <p:cNvSpPr/>
              <p:nvPr/>
            </p:nvSpPr>
            <p:spPr bwMode="auto">
              <a:xfrm>
                <a:off x="-1746250" y="2693988"/>
                <a:ext cx="173038" cy="146050"/>
              </a:xfrm>
              <a:custGeom>
                <a:avLst/>
                <a:gdLst>
                  <a:gd name="T0" fmla="*/ 2147483646 w 46"/>
                  <a:gd name="T1" fmla="*/ 0 h 39"/>
                  <a:gd name="T2" fmla="*/ 0 w 46"/>
                  <a:gd name="T3" fmla="*/ 2147483646 h 39"/>
                  <a:gd name="T4" fmla="*/ 2147483646 w 46"/>
                  <a:gd name="T5" fmla="*/ 2147483646 h 39"/>
                  <a:gd name="T6" fmla="*/ 2147483646 w 46"/>
                  <a:gd name="T7" fmla="*/ 2147483646 h 39"/>
                  <a:gd name="T8" fmla="*/ 2147483646 w 46"/>
                  <a:gd name="T9" fmla="*/ 0 h 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6" h="39">
                    <a:moveTo>
                      <a:pt x="24" y="0"/>
                    </a:moveTo>
                    <a:cubicBezTo>
                      <a:pt x="15" y="0"/>
                      <a:pt x="5" y="4"/>
                      <a:pt x="0" y="8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9" y="36"/>
                      <a:pt x="46" y="30"/>
                      <a:pt x="46" y="19"/>
                    </a:cubicBezTo>
                    <a:cubicBezTo>
                      <a:pt x="46" y="9"/>
                      <a:pt x="40" y="0"/>
                      <a:pt x="2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1" name="Freeform 76"/>
              <p:cNvSpPr>
                <a:spLocks noEditPoints="1"/>
              </p:cNvSpPr>
              <p:nvPr/>
            </p:nvSpPr>
            <p:spPr bwMode="auto">
              <a:xfrm>
                <a:off x="-1779588" y="2674938"/>
                <a:ext cx="600075" cy="682625"/>
              </a:xfrm>
              <a:custGeom>
                <a:avLst/>
                <a:gdLst>
                  <a:gd name="T0" fmla="*/ 2147483646 w 160"/>
                  <a:gd name="T1" fmla="*/ 2147483646 h 182"/>
                  <a:gd name="T2" fmla="*/ 2147483646 w 160"/>
                  <a:gd name="T3" fmla="*/ 2147483646 h 182"/>
                  <a:gd name="T4" fmla="*/ 2147483646 w 160"/>
                  <a:gd name="T5" fmla="*/ 2147483646 h 182"/>
                  <a:gd name="T6" fmla="*/ 2147483646 w 160"/>
                  <a:gd name="T7" fmla="*/ 2147483646 h 182"/>
                  <a:gd name="T8" fmla="*/ 2147483646 w 160"/>
                  <a:gd name="T9" fmla="*/ 2147483646 h 182"/>
                  <a:gd name="T10" fmla="*/ 2147483646 w 160"/>
                  <a:gd name="T11" fmla="*/ 2147483646 h 182"/>
                  <a:gd name="T12" fmla="*/ 0 w 160"/>
                  <a:gd name="T13" fmla="*/ 2147483646 h 182"/>
                  <a:gd name="T14" fmla="*/ 2147483646 w 160"/>
                  <a:gd name="T15" fmla="*/ 2147483646 h 182"/>
                  <a:gd name="T16" fmla="*/ 2147483646 w 160"/>
                  <a:gd name="T17" fmla="*/ 2147483646 h 182"/>
                  <a:gd name="T18" fmla="*/ 2147483646 w 160"/>
                  <a:gd name="T19" fmla="*/ 2147483646 h 182"/>
                  <a:gd name="T20" fmla="*/ 2147483646 w 160"/>
                  <a:gd name="T21" fmla="*/ 0 h 182"/>
                  <a:gd name="T22" fmla="*/ 2147483646 w 160"/>
                  <a:gd name="T23" fmla="*/ 2147483646 h 182"/>
                  <a:gd name="T24" fmla="*/ 2147483646 w 160"/>
                  <a:gd name="T25" fmla="*/ 0 h 18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0" h="182">
                    <a:moveTo>
                      <a:pt x="63" y="1"/>
                    </a:moveTo>
                    <a:cubicBezTo>
                      <a:pt x="69" y="6"/>
                      <a:pt x="72" y="14"/>
                      <a:pt x="72" y="21"/>
                    </a:cubicBezTo>
                    <a:cubicBezTo>
                      <a:pt x="72" y="35"/>
                      <a:pt x="64" y="46"/>
                      <a:pt x="49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64" y="55"/>
                      <a:pt x="76" y="67"/>
                      <a:pt x="76" y="85"/>
                    </a:cubicBezTo>
                    <a:cubicBezTo>
                      <a:pt x="76" y="105"/>
                      <a:pt x="61" y="123"/>
                      <a:pt x="32" y="123"/>
                    </a:cubicBezTo>
                    <a:cubicBezTo>
                      <a:pt x="18" y="123"/>
                      <a:pt x="6" y="118"/>
                      <a:pt x="0" y="114"/>
                    </a:cubicBezTo>
                    <a:cubicBezTo>
                      <a:pt x="67" y="182"/>
                      <a:pt x="67" y="182"/>
                      <a:pt x="67" y="182"/>
                    </a:cubicBezTo>
                    <a:cubicBezTo>
                      <a:pt x="111" y="172"/>
                      <a:pt x="146" y="139"/>
                      <a:pt x="160" y="97"/>
                    </a:cubicBezTo>
                    <a:cubicBezTo>
                      <a:pt x="63" y="1"/>
                      <a:pt x="63" y="1"/>
                      <a:pt x="63" y="1"/>
                    </a:cubicBezTo>
                    <a:moveTo>
                      <a:pt x="63" y="0"/>
                    </a:moveTo>
                    <a:cubicBezTo>
                      <a:pt x="63" y="1"/>
                      <a:pt x="63" y="1"/>
                      <a:pt x="63" y="1"/>
                    </a:cubicBezTo>
                    <a:cubicBezTo>
                      <a:pt x="63" y="1"/>
                      <a:pt x="63" y="0"/>
                      <a:pt x="63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2" name="Freeform 78"/>
              <p:cNvSpPr/>
              <p:nvPr/>
            </p:nvSpPr>
            <p:spPr bwMode="auto">
              <a:xfrm>
                <a:off x="-1779588" y="2641601"/>
                <a:ext cx="285750" cy="495300"/>
              </a:xfrm>
              <a:custGeom>
                <a:avLst/>
                <a:gdLst>
                  <a:gd name="T0" fmla="*/ 2147483646 w 76"/>
                  <a:gd name="T1" fmla="*/ 2147483646 h 132"/>
                  <a:gd name="T2" fmla="*/ 2147483646 w 76"/>
                  <a:gd name="T3" fmla="*/ 2147483646 h 132"/>
                  <a:gd name="T4" fmla="*/ 2147483646 w 76"/>
                  <a:gd name="T5" fmla="*/ 2147483646 h 132"/>
                  <a:gd name="T6" fmla="*/ 2147483646 w 76"/>
                  <a:gd name="T7" fmla="*/ 2147483646 h 132"/>
                  <a:gd name="T8" fmla="*/ 2147483646 w 76"/>
                  <a:gd name="T9" fmla="*/ 2147483646 h 132"/>
                  <a:gd name="T10" fmla="*/ 2147483646 w 76"/>
                  <a:gd name="T11" fmla="*/ 2147483646 h 132"/>
                  <a:gd name="T12" fmla="*/ 2147483646 w 76"/>
                  <a:gd name="T13" fmla="*/ 2147483646 h 132"/>
                  <a:gd name="T14" fmla="*/ 2147483646 w 76"/>
                  <a:gd name="T15" fmla="*/ 2147483646 h 132"/>
                  <a:gd name="T16" fmla="*/ 2147483646 w 76"/>
                  <a:gd name="T17" fmla="*/ 2147483646 h 132"/>
                  <a:gd name="T18" fmla="*/ 2147483646 w 76"/>
                  <a:gd name="T19" fmla="*/ 2147483646 h 132"/>
                  <a:gd name="T20" fmla="*/ 2147483646 w 76"/>
                  <a:gd name="T21" fmla="*/ 2147483646 h 132"/>
                  <a:gd name="T22" fmla="*/ 2147483646 w 76"/>
                  <a:gd name="T23" fmla="*/ 0 h 132"/>
                  <a:gd name="T24" fmla="*/ 2147483646 w 76"/>
                  <a:gd name="T25" fmla="*/ 2147483646 h 132"/>
                  <a:gd name="T26" fmla="*/ 2147483646 w 76"/>
                  <a:gd name="T27" fmla="*/ 2147483646 h 132"/>
                  <a:gd name="T28" fmla="*/ 2147483646 w 76"/>
                  <a:gd name="T29" fmla="*/ 2147483646 h 132"/>
                  <a:gd name="T30" fmla="*/ 2147483646 w 76"/>
                  <a:gd name="T31" fmla="*/ 2147483646 h 132"/>
                  <a:gd name="T32" fmla="*/ 2147483646 w 76"/>
                  <a:gd name="T33" fmla="*/ 2147483646 h 132"/>
                  <a:gd name="T34" fmla="*/ 0 w 76"/>
                  <a:gd name="T35" fmla="*/ 2147483646 h 132"/>
                  <a:gd name="T36" fmla="*/ 2147483646 w 76"/>
                  <a:gd name="T37" fmla="*/ 2147483646 h 13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6" h="132">
                    <a:moveTo>
                      <a:pt x="4" y="110"/>
                    </a:moveTo>
                    <a:cubicBezTo>
                      <a:pt x="9" y="113"/>
                      <a:pt x="20" y="118"/>
                      <a:pt x="31" y="118"/>
                    </a:cubicBezTo>
                    <a:cubicBezTo>
                      <a:pt x="53" y="118"/>
                      <a:pt x="59" y="104"/>
                      <a:pt x="59" y="93"/>
                    </a:cubicBezTo>
                    <a:cubicBezTo>
                      <a:pt x="59" y="75"/>
                      <a:pt x="43" y="68"/>
                      <a:pt x="2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40" y="55"/>
                      <a:pt x="55" y="48"/>
                      <a:pt x="55" y="33"/>
                    </a:cubicBezTo>
                    <a:cubicBezTo>
                      <a:pt x="55" y="23"/>
                      <a:pt x="49" y="14"/>
                      <a:pt x="33" y="14"/>
                    </a:cubicBezTo>
                    <a:cubicBezTo>
                      <a:pt x="24" y="14"/>
                      <a:pt x="14" y="18"/>
                      <a:pt x="9" y="2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1" y="5"/>
                      <a:pt x="23" y="0"/>
                      <a:pt x="36" y="0"/>
                    </a:cubicBezTo>
                    <a:cubicBezTo>
                      <a:pt x="61" y="0"/>
                      <a:pt x="72" y="15"/>
                      <a:pt x="72" y="30"/>
                    </a:cubicBezTo>
                    <a:cubicBezTo>
                      <a:pt x="72" y="44"/>
                      <a:pt x="64" y="55"/>
                      <a:pt x="49" y="61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64" y="64"/>
                      <a:pt x="76" y="76"/>
                      <a:pt x="76" y="94"/>
                    </a:cubicBezTo>
                    <a:cubicBezTo>
                      <a:pt x="76" y="114"/>
                      <a:pt x="61" y="132"/>
                      <a:pt x="32" y="132"/>
                    </a:cubicBezTo>
                    <a:cubicBezTo>
                      <a:pt x="18" y="132"/>
                      <a:pt x="6" y="127"/>
                      <a:pt x="0" y="123"/>
                    </a:cubicBezTo>
                    <a:lnTo>
                      <a:pt x="4" y="1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28" name="组合 227"/>
          <p:cNvGrpSpPr/>
          <p:nvPr/>
        </p:nvGrpSpPr>
        <p:grpSpPr bwMode="auto">
          <a:xfrm>
            <a:off x="4146550" y="2566988"/>
            <a:ext cx="336550" cy="334962"/>
            <a:chOff x="730250" y="-1925638"/>
            <a:chExt cx="958850" cy="958850"/>
          </a:xfrm>
        </p:grpSpPr>
        <p:sp>
          <p:nvSpPr>
            <p:cNvPr id="229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50" name="Freeform 61"/>
            <p:cNvSpPr/>
            <p:nvPr/>
          </p:nvSpPr>
          <p:spPr bwMode="auto">
            <a:xfrm>
              <a:off x="1179512" y="-1685925"/>
              <a:ext cx="476250" cy="685800"/>
            </a:xfrm>
            <a:custGeom>
              <a:avLst/>
              <a:gdLst>
                <a:gd name="T0" fmla="*/ 2147483646 w 127"/>
                <a:gd name="T1" fmla="*/ 0 h 183"/>
                <a:gd name="T2" fmla="*/ 2147483646 w 127"/>
                <a:gd name="T3" fmla="*/ 2147483646 h 183"/>
                <a:gd name="T4" fmla="*/ 0 w 127"/>
                <a:gd name="T5" fmla="*/ 2147483646 h 183"/>
                <a:gd name="T6" fmla="*/ 2147483646 w 127"/>
                <a:gd name="T7" fmla="*/ 2147483646 h 183"/>
                <a:gd name="T8" fmla="*/ 2147483646 w 127"/>
                <a:gd name="T9" fmla="*/ 2147483646 h 183"/>
                <a:gd name="T10" fmla="*/ 2147483646 w 127"/>
                <a:gd name="T11" fmla="*/ 0 h 18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7" h="183">
                  <a:moveTo>
                    <a:pt x="16" y="0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55" y="183"/>
                    <a:pt x="55" y="183"/>
                    <a:pt x="55" y="183"/>
                  </a:cubicBezTo>
                  <a:cubicBezTo>
                    <a:pt x="88" y="170"/>
                    <a:pt x="114" y="144"/>
                    <a:pt x="127" y="1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51" name="Freeform 62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52" name="Freeform 63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53" name="Freeform 64"/>
            <p:cNvSpPr/>
            <p:nvPr/>
          </p:nvSpPr>
          <p:spPr bwMode="auto">
            <a:xfrm>
              <a:off x="1085850" y="-1685925"/>
              <a:ext cx="153988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34" name="组合 233"/>
          <p:cNvGrpSpPr/>
          <p:nvPr/>
        </p:nvGrpSpPr>
        <p:grpSpPr bwMode="auto">
          <a:xfrm>
            <a:off x="4552950" y="3409950"/>
            <a:ext cx="336550" cy="336550"/>
            <a:chOff x="-1789113" y="-1925638"/>
            <a:chExt cx="958850" cy="958850"/>
          </a:xfrm>
        </p:grpSpPr>
        <p:sp>
          <p:nvSpPr>
            <p:cNvPr id="235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46" name="Freeform 66"/>
            <p:cNvSpPr/>
            <p:nvPr/>
          </p:nvSpPr>
          <p:spPr bwMode="auto">
            <a:xfrm>
              <a:off x="-1455738" y="-1649413"/>
              <a:ext cx="600075" cy="676275"/>
            </a:xfrm>
            <a:custGeom>
              <a:avLst/>
              <a:gdLst>
                <a:gd name="T0" fmla="*/ 2147483646 w 160"/>
                <a:gd name="T1" fmla="*/ 0 h 180"/>
                <a:gd name="T2" fmla="*/ 2147483646 w 160"/>
                <a:gd name="T3" fmla="*/ 2147483646 h 180"/>
                <a:gd name="T4" fmla="*/ 2147483646 w 160"/>
                <a:gd name="T5" fmla="*/ 2147483646 h 180"/>
                <a:gd name="T6" fmla="*/ 2147483646 w 160"/>
                <a:gd name="T7" fmla="*/ 2147483646 h 180"/>
                <a:gd name="T8" fmla="*/ 2147483646 w 160"/>
                <a:gd name="T9" fmla="*/ 2147483646 h 180"/>
                <a:gd name="T10" fmla="*/ 2147483646 w 160"/>
                <a:gd name="T11" fmla="*/ 2147483646 h 180"/>
                <a:gd name="T12" fmla="*/ 2147483646 w 160"/>
                <a:gd name="T13" fmla="*/ 2147483646 h 180"/>
                <a:gd name="T14" fmla="*/ 0 w 160"/>
                <a:gd name="T15" fmla="*/ 2147483646 h 180"/>
                <a:gd name="T16" fmla="*/ 2147483646 w 160"/>
                <a:gd name="T17" fmla="*/ 2147483646 h 180"/>
                <a:gd name="T18" fmla="*/ 2147483646 w 160"/>
                <a:gd name="T19" fmla="*/ 2147483646 h 180"/>
                <a:gd name="T20" fmla="*/ 2147483646 w 160"/>
                <a:gd name="T21" fmla="*/ 0 h 1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0" h="180">
                  <a:moveTo>
                    <a:pt x="65" y="0"/>
                  </a:moveTo>
                  <a:cubicBezTo>
                    <a:pt x="67" y="3"/>
                    <a:pt x="75" y="12"/>
                    <a:pt x="75" y="27"/>
                  </a:cubicBezTo>
                  <a:cubicBezTo>
                    <a:pt x="75" y="50"/>
                    <a:pt x="59" y="69"/>
                    <a:pt x="33" y="94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62" y="180"/>
                    <a:pt x="62" y="180"/>
                    <a:pt x="62" y="180"/>
                  </a:cubicBezTo>
                  <a:cubicBezTo>
                    <a:pt x="108" y="172"/>
                    <a:pt x="145" y="139"/>
                    <a:pt x="160" y="95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7" name="Freeform 67"/>
            <p:cNvSpPr/>
            <p:nvPr/>
          </p:nvSpPr>
          <p:spPr bwMode="auto">
            <a:xfrm>
              <a:off x="-1425575" y="-1633538"/>
              <a:ext cx="187325" cy="190500"/>
            </a:xfrm>
            <a:custGeom>
              <a:avLst/>
              <a:gdLst>
                <a:gd name="T0" fmla="*/ 2147483646 w 50"/>
                <a:gd name="T1" fmla="*/ 0 h 51"/>
                <a:gd name="T2" fmla="*/ 0 w 50"/>
                <a:gd name="T3" fmla="*/ 2147483646 h 51"/>
                <a:gd name="T4" fmla="*/ 2147483646 w 50"/>
                <a:gd name="T5" fmla="*/ 2147483646 h 51"/>
                <a:gd name="T6" fmla="*/ 2147483646 w 50"/>
                <a:gd name="T7" fmla="*/ 2147483646 h 51"/>
                <a:gd name="T8" fmla="*/ 2147483646 w 50"/>
                <a:gd name="T9" fmla="*/ 0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1">
                  <a:moveTo>
                    <a:pt x="26" y="0"/>
                  </a:moveTo>
                  <a:cubicBezTo>
                    <a:pt x="15" y="0"/>
                    <a:pt x="6" y="6"/>
                    <a:pt x="0" y="1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7" y="42"/>
                    <a:pt x="50" y="34"/>
                    <a:pt x="50" y="25"/>
                  </a:cubicBezTo>
                  <a:cubicBezTo>
                    <a:pt x="50" y="12"/>
                    <a:pt x="44" y="0"/>
                    <a:pt x="26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8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39" name="组合 238"/>
          <p:cNvGrpSpPr/>
          <p:nvPr/>
        </p:nvGrpSpPr>
        <p:grpSpPr bwMode="auto">
          <a:xfrm>
            <a:off x="4908550" y="1535113"/>
            <a:ext cx="339725" cy="339725"/>
            <a:chOff x="-2120900" y="2405063"/>
            <a:chExt cx="968375" cy="968375"/>
          </a:xfrm>
        </p:grpSpPr>
        <p:sp>
          <p:nvSpPr>
            <p:cNvPr id="20539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41" name="Oval 73"/>
            <p:cNvSpPr>
              <a:spLocks noChangeArrowheads="1"/>
            </p:cNvSpPr>
            <p:nvPr/>
          </p:nvSpPr>
          <p:spPr bwMode="auto">
            <a:xfrm>
              <a:off x="-2116373" y="2409587"/>
              <a:ext cx="959325" cy="959325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41" name="Freeform 74"/>
            <p:cNvSpPr/>
            <p:nvPr/>
          </p:nvSpPr>
          <p:spPr bwMode="auto">
            <a:xfrm>
              <a:off x="-1711325" y="2897188"/>
              <a:ext cx="153988" cy="142875"/>
            </a:xfrm>
            <a:custGeom>
              <a:avLst/>
              <a:gdLst>
                <a:gd name="T0" fmla="*/ 2147483646 w 41"/>
                <a:gd name="T1" fmla="*/ 0 h 38"/>
                <a:gd name="T2" fmla="*/ 0 w 41"/>
                <a:gd name="T3" fmla="*/ 0 h 38"/>
                <a:gd name="T4" fmla="*/ 2147483646 w 41"/>
                <a:gd name="T5" fmla="*/ 2147483646 h 38"/>
                <a:gd name="T6" fmla="*/ 2147483646 w 41"/>
                <a:gd name="T7" fmla="*/ 2147483646 h 38"/>
                <a:gd name="T8" fmla="*/ 2147483646 w 41"/>
                <a:gd name="T9" fmla="*/ 0 h 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38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0" y="34"/>
                    <a:pt x="41" y="29"/>
                    <a:pt x="41" y="25"/>
                  </a:cubicBezTo>
                  <a:cubicBezTo>
                    <a:pt x="41" y="7"/>
                    <a:pt x="25" y="0"/>
                    <a:pt x="9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2" name="Freeform 75"/>
            <p:cNvSpPr/>
            <p:nvPr/>
          </p:nvSpPr>
          <p:spPr bwMode="auto">
            <a:xfrm>
              <a:off x="-1746250" y="2693988"/>
              <a:ext cx="173038" cy="146050"/>
            </a:xfrm>
            <a:custGeom>
              <a:avLst/>
              <a:gdLst>
                <a:gd name="T0" fmla="*/ 2147483646 w 46"/>
                <a:gd name="T1" fmla="*/ 0 h 39"/>
                <a:gd name="T2" fmla="*/ 0 w 46"/>
                <a:gd name="T3" fmla="*/ 2147483646 h 39"/>
                <a:gd name="T4" fmla="*/ 2147483646 w 46"/>
                <a:gd name="T5" fmla="*/ 2147483646 h 39"/>
                <a:gd name="T6" fmla="*/ 2147483646 w 46"/>
                <a:gd name="T7" fmla="*/ 2147483646 h 39"/>
                <a:gd name="T8" fmla="*/ 2147483646 w 46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" h="39">
                  <a:moveTo>
                    <a:pt x="24" y="0"/>
                  </a:moveTo>
                  <a:cubicBezTo>
                    <a:pt x="15" y="0"/>
                    <a:pt x="5" y="4"/>
                    <a:pt x="0" y="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9" y="36"/>
                    <a:pt x="46" y="30"/>
                    <a:pt x="46" y="19"/>
                  </a:cubicBezTo>
                  <a:cubicBezTo>
                    <a:pt x="46" y="9"/>
                    <a:pt x="40" y="0"/>
                    <a:pt x="24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3" name="Freeform 76"/>
            <p:cNvSpPr>
              <a:spLocks noEditPoints="1"/>
            </p:cNvSpPr>
            <p:nvPr/>
          </p:nvSpPr>
          <p:spPr bwMode="auto">
            <a:xfrm>
              <a:off x="-1779588" y="2674938"/>
              <a:ext cx="600075" cy="682625"/>
            </a:xfrm>
            <a:custGeom>
              <a:avLst/>
              <a:gdLst>
                <a:gd name="T0" fmla="*/ 2147483646 w 160"/>
                <a:gd name="T1" fmla="*/ 2147483646 h 182"/>
                <a:gd name="T2" fmla="*/ 2147483646 w 160"/>
                <a:gd name="T3" fmla="*/ 2147483646 h 182"/>
                <a:gd name="T4" fmla="*/ 2147483646 w 160"/>
                <a:gd name="T5" fmla="*/ 2147483646 h 182"/>
                <a:gd name="T6" fmla="*/ 2147483646 w 160"/>
                <a:gd name="T7" fmla="*/ 2147483646 h 182"/>
                <a:gd name="T8" fmla="*/ 2147483646 w 160"/>
                <a:gd name="T9" fmla="*/ 2147483646 h 182"/>
                <a:gd name="T10" fmla="*/ 2147483646 w 160"/>
                <a:gd name="T11" fmla="*/ 2147483646 h 182"/>
                <a:gd name="T12" fmla="*/ 0 w 160"/>
                <a:gd name="T13" fmla="*/ 2147483646 h 182"/>
                <a:gd name="T14" fmla="*/ 2147483646 w 160"/>
                <a:gd name="T15" fmla="*/ 2147483646 h 182"/>
                <a:gd name="T16" fmla="*/ 2147483646 w 160"/>
                <a:gd name="T17" fmla="*/ 2147483646 h 182"/>
                <a:gd name="T18" fmla="*/ 2147483646 w 160"/>
                <a:gd name="T19" fmla="*/ 2147483646 h 182"/>
                <a:gd name="T20" fmla="*/ 2147483646 w 160"/>
                <a:gd name="T21" fmla="*/ 0 h 182"/>
                <a:gd name="T22" fmla="*/ 2147483646 w 160"/>
                <a:gd name="T23" fmla="*/ 2147483646 h 182"/>
                <a:gd name="T24" fmla="*/ 2147483646 w 160"/>
                <a:gd name="T25" fmla="*/ 0 h 1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0" h="182">
                  <a:moveTo>
                    <a:pt x="63" y="1"/>
                  </a:moveTo>
                  <a:cubicBezTo>
                    <a:pt x="69" y="6"/>
                    <a:pt x="72" y="14"/>
                    <a:pt x="72" y="21"/>
                  </a:cubicBezTo>
                  <a:cubicBezTo>
                    <a:pt x="72" y="35"/>
                    <a:pt x="64" y="46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64" y="55"/>
                    <a:pt x="76" y="67"/>
                    <a:pt x="76" y="85"/>
                  </a:cubicBezTo>
                  <a:cubicBezTo>
                    <a:pt x="76" y="105"/>
                    <a:pt x="61" y="123"/>
                    <a:pt x="32" y="123"/>
                  </a:cubicBezTo>
                  <a:cubicBezTo>
                    <a:pt x="18" y="123"/>
                    <a:pt x="6" y="118"/>
                    <a:pt x="0" y="114"/>
                  </a:cubicBezTo>
                  <a:cubicBezTo>
                    <a:pt x="67" y="182"/>
                    <a:pt x="67" y="182"/>
                    <a:pt x="67" y="182"/>
                  </a:cubicBezTo>
                  <a:cubicBezTo>
                    <a:pt x="111" y="172"/>
                    <a:pt x="146" y="139"/>
                    <a:pt x="160" y="97"/>
                  </a:cubicBezTo>
                  <a:cubicBezTo>
                    <a:pt x="63" y="1"/>
                    <a:pt x="63" y="1"/>
                    <a:pt x="63" y="1"/>
                  </a:cubicBezTo>
                  <a:moveTo>
                    <a:pt x="63" y="0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4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46" name="组合 245"/>
          <p:cNvGrpSpPr/>
          <p:nvPr/>
        </p:nvGrpSpPr>
        <p:grpSpPr bwMode="auto">
          <a:xfrm>
            <a:off x="5505450" y="3019425"/>
            <a:ext cx="336550" cy="334963"/>
            <a:chOff x="1989137" y="-1925638"/>
            <a:chExt cx="960438" cy="958850"/>
          </a:xfrm>
        </p:grpSpPr>
        <p:sp>
          <p:nvSpPr>
            <p:cNvPr id="247" name="Oval 56"/>
            <p:cNvSpPr>
              <a:spLocks noChangeArrowheads="1"/>
            </p:cNvSpPr>
            <p:nvPr/>
          </p:nvSpPr>
          <p:spPr bwMode="auto">
            <a:xfrm>
              <a:off x="1989137" y="-1925638"/>
              <a:ext cx="960438" cy="958850"/>
            </a:xfrm>
            <a:prstGeom prst="ellips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36" name="Freeform 57"/>
            <p:cNvSpPr/>
            <p:nvPr/>
          </p:nvSpPr>
          <p:spPr bwMode="auto">
            <a:xfrm>
              <a:off x="2300287" y="-1685925"/>
              <a:ext cx="635000" cy="688975"/>
            </a:xfrm>
            <a:custGeom>
              <a:avLst/>
              <a:gdLst>
                <a:gd name="T0" fmla="*/ 2147483646 w 169"/>
                <a:gd name="T1" fmla="*/ 0 h 184"/>
                <a:gd name="T2" fmla="*/ 2147483646 w 169"/>
                <a:gd name="T3" fmla="*/ 2147483646 h 184"/>
                <a:gd name="T4" fmla="*/ 2147483646 w 169"/>
                <a:gd name="T5" fmla="*/ 2147483646 h 184"/>
                <a:gd name="T6" fmla="*/ 2147483646 w 169"/>
                <a:gd name="T7" fmla="*/ 2147483646 h 184"/>
                <a:gd name="T8" fmla="*/ 2147483646 w 169"/>
                <a:gd name="T9" fmla="*/ 2147483646 h 184"/>
                <a:gd name="T10" fmla="*/ 2147483646 w 169"/>
                <a:gd name="T11" fmla="*/ 2147483646 h 184"/>
                <a:gd name="T12" fmla="*/ 2147483646 w 169"/>
                <a:gd name="T13" fmla="*/ 2147483646 h 184"/>
                <a:gd name="T14" fmla="*/ 2147483646 w 169"/>
                <a:gd name="T15" fmla="*/ 2147483646 h 184"/>
                <a:gd name="T16" fmla="*/ 0 w 169"/>
                <a:gd name="T17" fmla="*/ 2147483646 h 184"/>
                <a:gd name="T18" fmla="*/ 2147483646 w 169"/>
                <a:gd name="T19" fmla="*/ 2147483646 h 184"/>
                <a:gd name="T20" fmla="*/ 2147483646 w 169"/>
                <a:gd name="T21" fmla="*/ 2147483646 h 184"/>
                <a:gd name="T22" fmla="*/ 2147483646 w 169"/>
                <a:gd name="T23" fmla="*/ 0 h 18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9" h="184">
                  <a:moveTo>
                    <a:pt x="73" y="0"/>
                  </a:move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184"/>
                    <a:pt x="91" y="184"/>
                    <a:pt x="91" y="184"/>
                  </a:cubicBezTo>
                  <a:cubicBezTo>
                    <a:pt x="129" y="169"/>
                    <a:pt x="158" y="136"/>
                    <a:pt x="169" y="96"/>
                  </a:cubicBezTo>
                  <a:cubicBezTo>
                    <a:pt x="73" y="0"/>
                    <a:pt x="73" y="0"/>
                    <a:pt x="73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37" name="Freeform 58"/>
            <p:cNvSpPr/>
            <p:nvPr/>
          </p:nvSpPr>
          <p:spPr bwMode="auto">
            <a:xfrm>
              <a:off x="2365375" y="-1622425"/>
              <a:ext cx="152400" cy="236538"/>
            </a:xfrm>
            <a:custGeom>
              <a:avLst/>
              <a:gdLst>
                <a:gd name="T0" fmla="*/ 2147483646 w 41"/>
                <a:gd name="T1" fmla="*/ 0 h 63"/>
                <a:gd name="T2" fmla="*/ 2147483646 w 41"/>
                <a:gd name="T3" fmla="*/ 0 h 63"/>
                <a:gd name="T4" fmla="*/ 2147483646 w 41"/>
                <a:gd name="T5" fmla="*/ 2147483646 h 63"/>
                <a:gd name="T6" fmla="*/ 0 w 41"/>
                <a:gd name="T7" fmla="*/ 2147483646 h 63"/>
                <a:gd name="T8" fmla="*/ 0 w 41"/>
                <a:gd name="T9" fmla="*/ 2147483646 h 63"/>
                <a:gd name="T10" fmla="*/ 2147483646 w 41"/>
                <a:gd name="T11" fmla="*/ 2147483646 h 63"/>
                <a:gd name="T12" fmla="*/ 2147483646 w 41"/>
                <a:gd name="T13" fmla="*/ 2147483646 h 63"/>
                <a:gd name="T14" fmla="*/ 2147483646 w 41"/>
                <a:gd name="T15" fmla="*/ 0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6" y="7"/>
                    <a:pt x="33" y="13"/>
                    <a:pt x="30" y="19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3"/>
                    <a:pt x="40" y="6"/>
                    <a:pt x="41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38" name="Freeform 59"/>
            <p:cNvSpPr>
              <a:spLocks noEditPoints="1"/>
            </p:cNvSpPr>
            <p:nvPr/>
          </p:nvSpPr>
          <p:spPr bwMode="auto">
            <a:xfrm>
              <a:off x="2300287" y="-1685925"/>
              <a:ext cx="338138" cy="479425"/>
            </a:xfrm>
            <a:custGeom>
              <a:avLst/>
              <a:gdLst>
                <a:gd name="T0" fmla="*/ 2147483646 w 90"/>
                <a:gd name="T1" fmla="*/ 2147483646 h 128"/>
                <a:gd name="T2" fmla="*/ 2147483646 w 90"/>
                <a:gd name="T3" fmla="*/ 2147483646 h 128"/>
                <a:gd name="T4" fmla="*/ 0 w 90"/>
                <a:gd name="T5" fmla="*/ 2147483646 h 128"/>
                <a:gd name="T6" fmla="*/ 0 w 90"/>
                <a:gd name="T7" fmla="*/ 2147483646 h 128"/>
                <a:gd name="T8" fmla="*/ 2147483646 w 90"/>
                <a:gd name="T9" fmla="*/ 0 h 128"/>
                <a:gd name="T10" fmla="*/ 2147483646 w 90"/>
                <a:gd name="T11" fmla="*/ 0 h 128"/>
                <a:gd name="T12" fmla="*/ 2147483646 w 90"/>
                <a:gd name="T13" fmla="*/ 2147483646 h 128"/>
                <a:gd name="T14" fmla="*/ 2147483646 w 90"/>
                <a:gd name="T15" fmla="*/ 2147483646 h 128"/>
                <a:gd name="T16" fmla="*/ 2147483646 w 90"/>
                <a:gd name="T17" fmla="*/ 2147483646 h 128"/>
                <a:gd name="T18" fmla="*/ 2147483646 w 90"/>
                <a:gd name="T19" fmla="*/ 2147483646 h 128"/>
                <a:gd name="T20" fmla="*/ 2147483646 w 90"/>
                <a:gd name="T21" fmla="*/ 2147483646 h 128"/>
                <a:gd name="T22" fmla="*/ 2147483646 w 90"/>
                <a:gd name="T23" fmla="*/ 2147483646 h 128"/>
                <a:gd name="T24" fmla="*/ 2147483646 w 90"/>
                <a:gd name="T25" fmla="*/ 2147483646 h 128"/>
                <a:gd name="T26" fmla="*/ 2147483646 w 90"/>
                <a:gd name="T27" fmla="*/ 2147483646 h 128"/>
                <a:gd name="T28" fmla="*/ 2147483646 w 90"/>
                <a:gd name="T29" fmla="*/ 2147483646 h 128"/>
                <a:gd name="T30" fmla="*/ 2147483646 w 90"/>
                <a:gd name="T31" fmla="*/ 2147483646 h 128"/>
                <a:gd name="T32" fmla="*/ 2147483646 w 90"/>
                <a:gd name="T33" fmla="*/ 2147483646 h 128"/>
                <a:gd name="T34" fmla="*/ 2147483646 w 90"/>
                <a:gd name="T35" fmla="*/ 2147483646 h 128"/>
                <a:gd name="T36" fmla="*/ 2147483646 w 90"/>
                <a:gd name="T37" fmla="*/ 2147483646 h 128"/>
                <a:gd name="T38" fmla="*/ 2147483646 w 90"/>
                <a:gd name="T39" fmla="*/ 2147483646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0" h="128">
                  <a:moveTo>
                    <a:pt x="57" y="128"/>
                  </a:move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lnTo>
                    <a:pt x="57" y="128"/>
                  </a:lnTo>
                  <a:close/>
                  <a:moveTo>
                    <a:pt x="57" y="80"/>
                  </a:moveTo>
                  <a:cubicBezTo>
                    <a:pt x="57" y="37"/>
                    <a:pt x="57" y="37"/>
                    <a:pt x="57" y="37"/>
                  </a:cubicBezTo>
                  <a:cubicBezTo>
                    <a:pt x="57" y="30"/>
                    <a:pt x="57" y="23"/>
                    <a:pt x="58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3" y="24"/>
                    <a:pt x="50" y="30"/>
                    <a:pt x="47" y="36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80"/>
                    <a:pt x="17" y="80"/>
                    <a:pt x="17" y="80"/>
                  </a:cubicBezTo>
                  <a:lnTo>
                    <a:pt x="5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51" name="组合 250"/>
          <p:cNvGrpSpPr/>
          <p:nvPr/>
        </p:nvGrpSpPr>
        <p:grpSpPr bwMode="auto">
          <a:xfrm>
            <a:off x="5854700" y="2286000"/>
            <a:ext cx="306388" cy="304800"/>
            <a:chOff x="4205288" y="-1533525"/>
            <a:chExt cx="958850" cy="958850"/>
          </a:xfrm>
        </p:grpSpPr>
        <p:sp>
          <p:nvSpPr>
            <p:cNvPr id="20530" name="AutoShape 81"/>
            <p:cNvSpPr>
              <a:spLocks noChangeAspect="1" noChangeArrowheads="1" noTextEdit="1"/>
            </p:cNvSpPr>
            <p:nvPr/>
          </p:nvSpPr>
          <p:spPr bwMode="auto">
            <a:xfrm>
              <a:off x="4208463" y="-1530350"/>
              <a:ext cx="955675" cy="955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3" name="Oval 83"/>
            <p:cNvSpPr>
              <a:spLocks noChangeArrowheads="1"/>
            </p:cNvSpPr>
            <p:nvPr/>
          </p:nvSpPr>
          <p:spPr bwMode="auto">
            <a:xfrm>
              <a:off x="4205288" y="-1533525"/>
              <a:ext cx="958850" cy="958850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32" name="Freeform 84"/>
            <p:cNvSpPr/>
            <p:nvPr/>
          </p:nvSpPr>
          <p:spPr bwMode="auto">
            <a:xfrm>
              <a:off x="4541838" y="-1293813"/>
              <a:ext cx="611188" cy="704850"/>
            </a:xfrm>
            <a:custGeom>
              <a:avLst/>
              <a:gdLst>
                <a:gd name="T0" fmla="*/ 2147483646 w 163"/>
                <a:gd name="T1" fmla="*/ 0 h 188"/>
                <a:gd name="T2" fmla="*/ 2147483646 w 163"/>
                <a:gd name="T3" fmla="*/ 2147483646 h 188"/>
                <a:gd name="T4" fmla="*/ 2147483646 w 163"/>
                <a:gd name="T5" fmla="*/ 2147483646 h 188"/>
                <a:gd name="T6" fmla="*/ 2147483646 w 163"/>
                <a:gd name="T7" fmla="*/ 2147483646 h 188"/>
                <a:gd name="T8" fmla="*/ 2147483646 w 163"/>
                <a:gd name="T9" fmla="*/ 2147483646 h 188"/>
                <a:gd name="T10" fmla="*/ 2147483646 w 163"/>
                <a:gd name="T11" fmla="*/ 2147483646 h 188"/>
                <a:gd name="T12" fmla="*/ 2147483646 w 163"/>
                <a:gd name="T13" fmla="*/ 2147483646 h 188"/>
                <a:gd name="T14" fmla="*/ 2147483646 w 163"/>
                <a:gd name="T15" fmla="*/ 2147483646 h 188"/>
                <a:gd name="T16" fmla="*/ 0 w 163"/>
                <a:gd name="T17" fmla="*/ 2147483646 h 188"/>
                <a:gd name="T18" fmla="*/ 2147483646 w 163"/>
                <a:gd name="T19" fmla="*/ 2147483646 h 188"/>
                <a:gd name="T20" fmla="*/ 2147483646 w 163"/>
                <a:gd name="T21" fmla="*/ 2147483646 h 188"/>
                <a:gd name="T22" fmla="*/ 2147483646 w 163"/>
                <a:gd name="T23" fmla="*/ 0 h 18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3" h="188">
                  <a:moveTo>
                    <a:pt x="74" y="0"/>
                  </a:moveTo>
                  <a:cubicBezTo>
                    <a:pt x="74" y="14"/>
                    <a:pt x="74" y="14"/>
                    <a:pt x="74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5" y="46"/>
                    <a:pt x="28" y="46"/>
                    <a:pt x="32" y="46"/>
                  </a:cubicBezTo>
                  <a:cubicBezTo>
                    <a:pt x="42" y="46"/>
                    <a:pt x="51" y="48"/>
                    <a:pt x="59" y="53"/>
                  </a:cubicBezTo>
                  <a:cubicBezTo>
                    <a:pt x="68" y="58"/>
                    <a:pt x="76" y="69"/>
                    <a:pt x="76" y="85"/>
                  </a:cubicBezTo>
                  <a:cubicBezTo>
                    <a:pt x="76" y="110"/>
                    <a:pt x="57" y="128"/>
                    <a:pt x="30" y="128"/>
                  </a:cubicBezTo>
                  <a:cubicBezTo>
                    <a:pt x="17" y="128"/>
                    <a:pt x="6" y="124"/>
                    <a:pt x="0" y="120"/>
                  </a:cubicBezTo>
                  <a:cubicBezTo>
                    <a:pt x="68" y="188"/>
                    <a:pt x="68" y="188"/>
                    <a:pt x="68" y="188"/>
                  </a:cubicBezTo>
                  <a:cubicBezTo>
                    <a:pt x="116" y="177"/>
                    <a:pt x="153" y="138"/>
                    <a:pt x="163" y="90"/>
                  </a:cubicBezTo>
                  <a:cubicBezTo>
                    <a:pt x="74" y="0"/>
                    <a:pt x="74" y="0"/>
                    <a:pt x="74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33" name="Freeform 85"/>
            <p:cNvSpPr/>
            <p:nvPr/>
          </p:nvSpPr>
          <p:spPr bwMode="auto">
            <a:xfrm>
              <a:off x="4568826" y="-1073150"/>
              <a:ext cx="193675" cy="173038"/>
            </a:xfrm>
            <a:custGeom>
              <a:avLst/>
              <a:gdLst>
                <a:gd name="T0" fmla="*/ 2147483646 w 52"/>
                <a:gd name="T1" fmla="*/ 0 h 46"/>
                <a:gd name="T2" fmla="*/ 0 w 52"/>
                <a:gd name="T3" fmla="*/ 2147483646 h 46"/>
                <a:gd name="T4" fmla="*/ 2147483646 w 52"/>
                <a:gd name="T5" fmla="*/ 2147483646 h 46"/>
                <a:gd name="T6" fmla="*/ 2147483646 w 52"/>
                <a:gd name="T7" fmla="*/ 2147483646 h 46"/>
                <a:gd name="T8" fmla="*/ 2147483646 w 52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2" h="46">
                  <a:moveTo>
                    <a:pt x="17" y="0"/>
                  </a:moveTo>
                  <a:cubicBezTo>
                    <a:pt x="10" y="0"/>
                    <a:pt x="5" y="1"/>
                    <a:pt x="0" y="1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50" y="42"/>
                    <a:pt x="52" y="36"/>
                    <a:pt x="52" y="28"/>
                  </a:cubicBezTo>
                  <a:cubicBezTo>
                    <a:pt x="52" y="12"/>
                    <a:pt x="42" y="0"/>
                    <a:pt x="17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34" name="Freeform 86"/>
            <p:cNvSpPr/>
            <p:nvPr/>
          </p:nvSpPr>
          <p:spPr bwMode="auto">
            <a:xfrm>
              <a:off x="4541838" y="-1293813"/>
              <a:ext cx="284163" cy="479425"/>
            </a:xfrm>
            <a:custGeom>
              <a:avLst/>
              <a:gdLst>
                <a:gd name="T0" fmla="*/ 2147483646 w 76"/>
                <a:gd name="T1" fmla="*/ 2147483646 h 128"/>
                <a:gd name="T2" fmla="*/ 2147483646 w 76"/>
                <a:gd name="T3" fmla="*/ 2147483646 h 128"/>
                <a:gd name="T4" fmla="*/ 2147483646 w 76"/>
                <a:gd name="T5" fmla="*/ 2147483646 h 128"/>
                <a:gd name="T6" fmla="*/ 2147483646 w 76"/>
                <a:gd name="T7" fmla="*/ 2147483646 h 128"/>
                <a:gd name="T8" fmla="*/ 2147483646 w 76"/>
                <a:gd name="T9" fmla="*/ 2147483646 h 128"/>
                <a:gd name="T10" fmla="*/ 2147483646 w 76"/>
                <a:gd name="T11" fmla="*/ 2147483646 h 128"/>
                <a:gd name="T12" fmla="*/ 2147483646 w 76"/>
                <a:gd name="T13" fmla="*/ 2147483646 h 128"/>
                <a:gd name="T14" fmla="*/ 0 w 76"/>
                <a:gd name="T15" fmla="*/ 2147483646 h 128"/>
                <a:gd name="T16" fmla="*/ 2147483646 w 76"/>
                <a:gd name="T17" fmla="*/ 2147483646 h 128"/>
                <a:gd name="T18" fmla="*/ 2147483646 w 76"/>
                <a:gd name="T19" fmla="*/ 2147483646 h 128"/>
                <a:gd name="T20" fmla="*/ 2147483646 w 76"/>
                <a:gd name="T21" fmla="*/ 2147483646 h 128"/>
                <a:gd name="T22" fmla="*/ 2147483646 w 76"/>
                <a:gd name="T23" fmla="*/ 2147483646 h 128"/>
                <a:gd name="T24" fmla="*/ 2147483646 w 76"/>
                <a:gd name="T25" fmla="*/ 2147483646 h 128"/>
                <a:gd name="T26" fmla="*/ 2147483646 w 76"/>
                <a:gd name="T27" fmla="*/ 0 h 128"/>
                <a:gd name="T28" fmla="*/ 2147483646 w 76"/>
                <a:gd name="T29" fmla="*/ 0 h 128"/>
                <a:gd name="T30" fmla="*/ 2147483646 w 76"/>
                <a:gd name="T31" fmla="*/ 2147483646 h 12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6" h="128">
                  <a:moveTo>
                    <a:pt x="74" y="14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5" y="46"/>
                    <a:pt x="28" y="46"/>
                    <a:pt x="32" y="46"/>
                  </a:cubicBezTo>
                  <a:cubicBezTo>
                    <a:pt x="42" y="46"/>
                    <a:pt x="51" y="48"/>
                    <a:pt x="59" y="53"/>
                  </a:cubicBezTo>
                  <a:cubicBezTo>
                    <a:pt x="68" y="58"/>
                    <a:pt x="76" y="69"/>
                    <a:pt x="76" y="85"/>
                  </a:cubicBezTo>
                  <a:cubicBezTo>
                    <a:pt x="76" y="110"/>
                    <a:pt x="57" y="128"/>
                    <a:pt x="30" y="128"/>
                  </a:cubicBezTo>
                  <a:cubicBezTo>
                    <a:pt x="17" y="128"/>
                    <a:pt x="6" y="124"/>
                    <a:pt x="0" y="120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9" y="110"/>
                    <a:pt x="19" y="114"/>
                    <a:pt x="30" y="114"/>
                  </a:cubicBezTo>
                  <a:cubicBezTo>
                    <a:pt x="46" y="114"/>
                    <a:pt x="59" y="104"/>
                    <a:pt x="59" y="87"/>
                  </a:cubicBezTo>
                  <a:cubicBezTo>
                    <a:pt x="59" y="71"/>
                    <a:pt x="49" y="59"/>
                    <a:pt x="24" y="59"/>
                  </a:cubicBezTo>
                  <a:cubicBezTo>
                    <a:pt x="17" y="59"/>
                    <a:pt x="12" y="60"/>
                    <a:pt x="7" y="6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4" y="0"/>
                    <a:pt x="74" y="0"/>
                    <a:pt x="74" y="0"/>
                  </a:cubicBez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4" name="组合 133"/>
          <p:cNvGrpSpPr/>
          <p:nvPr/>
        </p:nvGrpSpPr>
        <p:grpSpPr bwMode="auto">
          <a:xfrm>
            <a:off x="7796213" y="4051300"/>
            <a:ext cx="306387" cy="306388"/>
            <a:chOff x="1754188" y="-1558926"/>
            <a:chExt cx="960438" cy="960438"/>
          </a:xfrm>
        </p:grpSpPr>
        <p:sp>
          <p:nvSpPr>
            <p:cNvPr id="20525" name="Oval 91"/>
            <p:cNvSpPr>
              <a:spLocks noChangeArrowheads="1"/>
            </p:cNvSpPr>
            <p:nvPr/>
          </p:nvSpPr>
          <p:spPr bwMode="auto">
            <a:xfrm>
              <a:off x="1754188" y="-1558926"/>
              <a:ext cx="960438" cy="960438"/>
            </a:xfrm>
            <a:prstGeom prst="ellipse">
              <a:avLst/>
            </a:prstGeom>
            <a:solidFill>
              <a:srgbClr val="EC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20526" name="Freeform 92"/>
            <p:cNvSpPr/>
            <p:nvPr/>
          </p:nvSpPr>
          <p:spPr bwMode="auto">
            <a:xfrm>
              <a:off x="2125663" y="-1060451"/>
              <a:ext cx="198438" cy="139700"/>
            </a:xfrm>
            <a:custGeom>
              <a:avLst/>
              <a:gdLst>
                <a:gd name="T0" fmla="*/ 2147483646 w 53"/>
                <a:gd name="T1" fmla="*/ 0 h 37"/>
                <a:gd name="T2" fmla="*/ 2147483646 w 53"/>
                <a:gd name="T3" fmla="*/ 0 h 37"/>
                <a:gd name="T4" fmla="*/ 2147483646 w 53"/>
                <a:gd name="T5" fmla="*/ 2147483646 h 37"/>
                <a:gd name="T6" fmla="*/ 0 w 53"/>
                <a:gd name="T7" fmla="*/ 2147483646 h 37"/>
                <a:gd name="T8" fmla="*/ 2147483646 w 53"/>
                <a:gd name="T9" fmla="*/ 2147483646 h 37"/>
                <a:gd name="T10" fmla="*/ 2147483646 w 53"/>
                <a:gd name="T11" fmla="*/ 2147483646 h 37"/>
                <a:gd name="T12" fmla="*/ 2147483646 w 53"/>
                <a:gd name="T13" fmla="*/ 0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7"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46" y="8"/>
                    <a:pt x="36" y="13"/>
                    <a:pt x="24" y="13"/>
                  </a:cubicBezTo>
                  <a:cubicBezTo>
                    <a:pt x="14" y="13"/>
                    <a:pt x="6" y="10"/>
                    <a:pt x="0" y="4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5"/>
                    <a:pt x="36" y="34"/>
                    <a:pt x="37" y="33"/>
                  </a:cubicBezTo>
                  <a:cubicBezTo>
                    <a:pt x="45" y="25"/>
                    <a:pt x="51" y="14"/>
                    <a:pt x="53" y="0"/>
                  </a:cubicBezTo>
                </a:path>
              </a:pathLst>
            </a:custGeom>
            <a:solidFill>
              <a:srgbClr val="B12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7" name="Freeform 93"/>
            <p:cNvSpPr/>
            <p:nvPr/>
          </p:nvSpPr>
          <p:spPr bwMode="auto">
            <a:xfrm>
              <a:off x="2141538" y="-1270001"/>
              <a:ext cx="182563" cy="209550"/>
            </a:xfrm>
            <a:custGeom>
              <a:avLst/>
              <a:gdLst>
                <a:gd name="T0" fmla="*/ 2147483646 w 49"/>
                <a:gd name="T1" fmla="*/ 0 h 56"/>
                <a:gd name="T2" fmla="*/ 0 w 49"/>
                <a:gd name="T3" fmla="*/ 2147483646 h 56"/>
                <a:gd name="T4" fmla="*/ 2147483646 w 49"/>
                <a:gd name="T5" fmla="*/ 2147483646 h 56"/>
                <a:gd name="T6" fmla="*/ 2147483646 w 49"/>
                <a:gd name="T7" fmla="*/ 2147483646 h 56"/>
                <a:gd name="T8" fmla="*/ 2147483646 w 49"/>
                <a:gd name="T9" fmla="*/ 2147483646 h 56"/>
                <a:gd name="T10" fmla="*/ 2147483646 w 49"/>
                <a:gd name="T11" fmla="*/ 0 h 5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56">
                  <a:moveTo>
                    <a:pt x="24" y="0"/>
                  </a:moveTo>
                  <a:cubicBezTo>
                    <a:pt x="10" y="0"/>
                    <a:pt x="0" y="12"/>
                    <a:pt x="0" y="30"/>
                  </a:cubicBezTo>
                  <a:cubicBezTo>
                    <a:pt x="0" y="45"/>
                    <a:pt x="9" y="56"/>
                    <a:pt x="24" y="56"/>
                  </a:cubicBezTo>
                  <a:cubicBezTo>
                    <a:pt x="35" y="56"/>
                    <a:pt x="44" y="51"/>
                    <a:pt x="48" y="43"/>
                  </a:cubicBezTo>
                  <a:cubicBezTo>
                    <a:pt x="49" y="42"/>
                    <a:pt x="49" y="40"/>
                    <a:pt x="49" y="37"/>
                  </a:cubicBezTo>
                  <a:cubicBezTo>
                    <a:pt x="49" y="16"/>
                    <a:pt x="42" y="0"/>
                    <a:pt x="24" y="0"/>
                  </a:cubicBezTo>
                </a:path>
              </a:pathLst>
            </a:custGeom>
            <a:solidFill>
              <a:srgbClr val="B12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8" name="Freeform 94"/>
            <p:cNvSpPr/>
            <p:nvPr/>
          </p:nvSpPr>
          <p:spPr bwMode="auto">
            <a:xfrm>
              <a:off x="2119313" y="-1273176"/>
              <a:ext cx="569913" cy="660400"/>
            </a:xfrm>
            <a:custGeom>
              <a:avLst/>
              <a:gdLst>
                <a:gd name="T0" fmla="*/ 2147483646 w 152"/>
                <a:gd name="T1" fmla="*/ 0 h 176"/>
                <a:gd name="T2" fmla="*/ 2147483646 w 152"/>
                <a:gd name="T3" fmla="*/ 2147483646 h 176"/>
                <a:gd name="T4" fmla="*/ 2147483646 w 152"/>
                <a:gd name="T5" fmla="*/ 2147483646 h 176"/>
                <a:gd name="T6" fmla="*/ 2147483646 w 152"/>
                <a:gd name="T7" fmla="*/ 2147483646 h 176"/>
                <a:gd name="T8" fmla="*/ 2147483646 w 152"/>
                <a:gd name="T9" fmla="*/ 2147483646 h 176"/>
                <a:gd name="T10" fmla="*/ 0 w 152"/>
                <a:gd name="T11" fmla="*/ 2147483646 h 176"/>
                <a:gd name="T12" fmla="*/ 2147483646 w 152"/>
                <a:gd name="T13" fmla="*/ 2147483646 h 176"/>
                <a:gd name="T14" fmla="*/ 2147483646 w 152"/>
                <a:gd name="T15" fmla="*/ 2147483646 h 176"/>
                <a:gd name="T16" fmla="*/ 2147483646 w 152"/>
                <a:gd name="T17" fmla="*/ 0 h 17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2" h="176">
                  <a:moveTo>
                    <a:pt x="59" y="0"/>
                  </a:moveTo>
                  <a:cubicBezTo>
                    <a:pt x="67" y="9"/>
                    <a:pt x="72" y="23"/>
                    <a:pt x="72" y="40"/>
                  </a:cubicBezTo>
                  <a:cubicBezTo>
                    <a:pt x="72" y="68"/>
                    <a:pt x="63" y="87"/>
                    <a:pt x="51" y="98"/>
                  </a:cubicBezTo>
                  <a:cubicBezTo>
                    <a:pt x="42" y="108"/>
                    <a:pt x="29" y="113"/>
                    <a:pt x="15" y="115"/>
                  </a:cubicBezTo>
                  <a:cubicBezTo>
                    <a:pt x="11" y="116"/>
                    <a:pt x="7" y="116"/>
                    <a:pt x="3" y="116"/>
                  </a:cubicBezTo>
                  <a:cubicBezTo>
                    <a:pt x="2" y="116"/>
                    <a:pt x="1" y="116"/>
                    <a:pt x="0" y="116"/>
                  </a:cubicBezTo>
                  <a:cubicBezTo>
                    <a:pt x="61" y="176"/>
                    <a:pt x="61" y="176"/>
                    <a:pt x="61" y="176"/>
                  </a:cubicBezTo>
                  <a:cubicBezTo>
                    <a:pt x="104" y="166"/>
                    <a:pt x="138" y="134"/>
                    <a:pt x="152" y="93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B12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9" name="Freeform 95"/>
            <p:cNvSpPr>
              <a:spLocks noEditPoints="1"/>
            </p:cNvSpPr>
            <p:nvPr/>
          </p:nvSpPr>
          <p:spPr bwMode="auto">
            <a:xfrm>
              <a:off x="2081213" y="-1319213"/>
              <a:ext cx="307975" cy="481013"/>
            </a:xfrm>
            <a:custGeom>
              <a:avLst/>
              <a:gdLst>
                <a:gd name="T0" fmla="*/ 2147483646 w 82"/>
                <a:gd name="T1" fmla="*/ 2147483646 h 128"/>
                <a:gd name="T2" fmla="*/ 2147483646 w 82"/>
                <a:gd name="T3" fmla="*/ 2147483646 h 128"/>
                <a:gd name="T4" fmla="*/ 2147483646 w 82"/>
                <a:gd name="T5" fmla="*/ 2147483646 h 128"/>
                <a:gd name="T6" fmla="*/ 2147483646 w 82"/>
                <a:gd name="T7" fmla="*/ 2147483646 h 128"/>
                <a:gd name="T8" fmla="*/ 2147483646 w 82"/>
                <a:gd name="T9" fmla="*/ 2147483646 h 128"/>
                <a:gd name="T10" fmla="*/ 2147483646 w 82"/>
                <a:gd name="T11" fmla="*/ 2147483646 h 128"/>
                <a:gd name="T12" fmla="*/ 0 w 82"/>
                <a:gd name="T13" fmla="*/ 2147483646 h 128"/>
                <a:gd name="T14" fmla="*/ 2147483646 w 82"/>
                <a:gd name="T15" fmla="*/ 0 h 128"/>
                <a:gd name="T16" fmla="*/ 2147483646 w 82"/>
                <a:gd name="T17" fmla="*/ 2147483646 h 128"/>
                <a:gd name="T18" fmla="*/ 2147483646 w 82"/>
                <a:gd name="T19" fmla="*/ 2147483646 h 128"/>
                <a:gd name="T20" fmla="*/ 2147483646 w 82"/>
                <a:gd name="T21" fmla="*/ 2147483646 h 128"/>
                <a:gd name="T22" fmla="*/ 2147483646 w 82"/>
                <a:gd name="T23" fmla="*/ 2147483646 h 128"/>
                <a:gd name="T24" fmla="*/ 2147483646 w 82"/>
                <a:gd name="T25" fmla="*/ 2147483646 h 128"/>
                <a:gd name="T26" fmla="*/ 2147483646 w 82"/>
                <a:gd name="T27" fmla="*/ 2147483646 h 128"/>
                <a:gd name="T28" fmla="*/ 2147483646 w 82"/>
                <a:gd name="T29" fmla="*/ 2147483646 h 128"/>
                <a:gd name="T30" fmla="*/ 2147483646 w 82"/>
                <a:gd name="T31" fmla="*/ 2147483646 h 128"/>
                <a:gd name="T32" fmla="*/ 2147483646 w 82"/>
                <a:gd name="T33" fmla="*/ 2147483646 h 128"/>
                <a:gd name="T34" fmla="*/ 2147483646 w 82"/>
                <a:gd name="T35" fmla="*/ 2147483646 h 128"/>
                <a:gd name="T36" fmla="*/ 2147483646 w 82"/>
                <a:gd name="T37" fmla="*/ 2147483646 h 1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2" h="128">
                  <a:moveTo>
                    <a:pt x="10" y="114"/>
                  </a:moveTo>
                  <a:cubicBezTo>
                    <a:pt x="14" y="115"/>
                    <a:pt x="18" y="114"/>
                    <a:pt x="24" y="114"/>
                  </a:cubicBezTo>
                  <a:cubicBezTo>
                    <a:pt x="33" y="112"/>
                    <a:pt x="42" y="108"/>
                    <a:pt x="49" y="102"/>
                  </a:cubicBezTo>
                  <a:cubicBezTo>
                    <a:pt x="57" y="94"/>
                    <a:pt x="63" y="83"/>
                    <a:pt x="65" y="69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8" y="77"/>
                    <a:pt x="48" y="82"/>
                    <a:pt x="36" y="82"/>
                  </a:cubicBezTo>
                  <a:cubicBezTo>
                    <a:pt x="14" y="82"/>
                    <a:pt x="0" y="65"/>
                    <a:pt x="0" y="44"/>
                  </a:cubicBezTo>
                  <a:cubicBezTo>
                    <a:pt x="0" y="21"/>
                    <a:pt x="17" y="0"/>
                    <a:pt x="42" y="0"/>
                  </a:cubicBezTo>
                  <a:cubicBezTo>
                    <a:pt x="67" y="0"/>
                    <a:pt x="82" y="21"/>
                    <a:pt x="82" y="52"/>
                  </a:cubicBezTo>
                  <a:cubicBezTo>
                    <a:pt x="82" y="80"/>
                    <a:pt x="73" y="99"/>
                    <a:pt x="61" y="110"/>
                  </a:cubicBezTo>
                  <a:cubicBezTo>
                    <a:pt x="52" y="120"/>
                    <a:pt x="39" y="125"/>
                    <a:pt x="25" y="127"/>
                  </a:cubicBezTo>
                  <a:cubicBezTo>
                    <a:pt x="19" y="128"/>
                    <a:pt x="14" y="128"/>
                    <a:pt x="10" y="128"/>
                  </a:cubicBezTo>
                  <a:lnTo>
                    <a:pt x="10" y="114"/>
                  </a:lnTo>
                  <a:close/>
                  <a:moveTo>
                    <a:pt x="16" y="43"/>
                  </a:moveTo>
                  <a:cubicBezTo>
                    <a:pt x="16" y="58"/>
                    <a:pt x="25" y="69"/>
                    <a:pt x="40" y="69"/>
                  </a:cubicBezTo>
                  <a:cubicBezTo>
                    <a:pt x="51" y="69"/>
                    <a:pt x="60" y="64"/>
                    <a:pt x="64" y="56"/>
                  </a:cubicBezTo>
                  <a:cubicBezTo>
                    <a:pt x="65" y="55"/>
                    <a:pt x="65" y="53"/>
                    <a:pt x="65" y="50"/>
                  </a:cubicBezTo>
                  <a:cubicBezTo>
                    <a:pt x="65" y="29"/>
                    <a:pt x="58" y="13"/>
                    <a:pt x="40" y="13"/>
                  </a:cubicBezTo>
                  <a:cubicBezTo>
                    <a:pt x="26" y="13"/>
                    <a:pt x="16" y="25"/>
                    <a:pt x="16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5" name="组合 134"/>
          <p:cNvGrpSpPr/>
          <p:nvPr/>
        </p:nvGrpSpPr>
        <p:grpSpPr bwMode="auto">
          <a:xfrm>
            <a:off x="7454900" y="4051300"/>
            <a:ext cx="306388" cy="306388"/>
            <a:chOff x="495300" y="-1558926"/>
            <a:chExt cx="958850" cy="960438"/>
          </a:xfrm>
        </p:grpSpPr>
        <p:sp>
          <p:nvSpPr>
            <p:cNvPr id="20521" name="Oval 96"/>
            <p:cNvSpPr>
              <a:spLocks noChangeArrowheads="1"/>
            </p:cNvSpPr>
            <p:nvPr/>
          </p:nvSpPr>
          <p:spPr bwMode="auto">
            <a:xfrm>
              <a:off x="495300" y="-1558926"/>
              <a:ext cx="958850" cy="960438"/>
            </a:xfrm>
            <a:prstGeom prst="ellipse">
              <a:avLst/>
            </a:prstGeom>
            <a:solidFill>
              <a:srgbClr val="BF43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20522" name="Freeform 97"/>
            <p:cNvSpPr/>
            <p:nvPr/>
          </p:nvSpPr>
          <p:spPr bwMode="auto">
            <a:xfrm>
              <a:off x="854075" y="-1281113"/>
              <a:ext cx="577850" cy="660400"/>
            </a:xfrm>
            <a:custGeom>
              <a:avLst/>
              <a:gdLst>
                <a:gd name="T0" fmla="*/ 2147483646 w 154"/>
                <a:gd name="T1" fmla="*/ 0 h 176"/>
                <a:gd name="T2" fmla="*/ 2147483646 w 154"/>
                <a:gd name="T3" fmla="*/ 0 h 176"/>
                <a:gd name="T4" fmla="*/ 2147483646 w 154"/>
                <a:gd name="T5" fmla="*/ 2147483646 h 176"/>
                <a:gd name="T6" fmla="*/ 2147483646 w 154"/>
                <a:gd name="T7" fmla="*/ 2147483646 h 176"/>
                <a:gd name="T8" fmla="*/ 2147483646 w 154"/>
                <a:gd name="T9" fmla="*/ 2147483646 h 176"/>
                <a:gd name="T10" fmla="*/ 2147483646 w 154"/>
                <a:gd name="T11" fmla="*/ 2147483646 h 176"/>
                <a:gd name="T12" fmla="*/ 2147483646 w 154"/>
                <a:gd name="T13" fmla="*/ 2147483646 h 176"/>
                <a:gd name="T14" fmla="*/ 0 w 154"/>
                <a:gd name="T15" fmla="*/ 2147483646 h 176"/>
                <a:gd name="T16" fmla="*/ 0 w 154"/>
                <a:gd name="T17" fmla="*/ 2147483646 h 176"/>
                <a:gd name="T18" fmla="*/ 2147483646 w 154"/>
                <a:gd name="T19" fmla="*/ 2147483646 h 176"/>
                <a:gd name="T20" fmla="*/ 2147483646 w 154"/>
                <a:gd name="T21" fmla="*/ 2147483646 h 176"/>
                <a:gd name="T22" fmla="*/ 2147483646 w 154"/>
                <a:gd name="T23" fmla="*/ 0 h 1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4" h="176">
                  <a:moveTo>
                    <a:pt x="60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6" y="5"/>
                    <a:pt x="69" y="13"/>
                    <a:pt x="69" y="20"/>
                  </a:cubicBezTo>
                  <a:cubicBezTo>
                    <a:pt x="69" y="31"/>
                    <a:pt x="64" y="42"/>
                    <a:pt x="49" y="49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64" y="56"/>
                    <a:pt x="73" y="67"/>
                    <a:pt x="73" y="82"/>
                  </a:cubicBezTo>
                  <a:cubicBezTo>
                    <a:pt x="73" y="104"/>
                    <a:pt x="55" y="118"/>
                    <a:pt x="32" y="118"/>
                  </a:cubicBezTo>
                  <a:cubicBezTo>
                    <a:pt x="18" y="118"/>
                    <a:pt x="7" y="114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70" y="176"/>
                    <a:pt x="70" y="176"/>
                    <a:pt x="70" y="176"/>
                  </a:cubicBezTo>
                  <a:cubicBezTo>
                    <a:pt x="110" y="164"/>
                    <a:pt x="141" y="133"/>
                    <a:pt x="154" y="93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rgbClr val="8F3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3" name="Freeform 98"/>
            <p:cNvSpPr/>
            <p:nvPr/>
          </p:nvSpPr>
          <p:spPr bwMode="auto">
            <a:xfrm>
              <a:off x="881063" y="-1066801"/>
              <a:ext cx="187325" cy="182563"/>
            </a:xfrm>
            <a:custGeom>
              <a:avLst/>
              <a:gdLst>
                <a:gd name="T0" fmla="*/ 2147483646 w 50"/>
                <a:gd name="T1" fmla="*/ 0 h 49"/>
                <a:gd name="T2" fmla="*/ 2147483646 w 50"/>
                <a:gd name="T3" fmla="*/ 2147483646 h 49"/>
                <a:gd name="T4" fmla="*/ 2147483646 w 50"/>
                <a:gd name="T5" fmla="*/ 2147483646 h 49"/>
                <a:gd name="T6" fmla="*/ 2147483646 w 50"/>
                <a:gd name="T7" fmla="*/ 2147483646 h 49"/>
                <a:gd name="T8" fmla="*/ 2147483646 w 50"/>
                <a:gd name="T9" fmla="*/ 0 h 4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49">
                  <a:moveTo>
                    <a:pt x="23" y="0"/>
                  </a:moveTo>
                  <a:cubicBezTo>
                    <a:pt x="8" y="4"/>
                    <a:pt x="1" y="13"/>
                    <a:pt x="1" y="25"/>
                  </a:cubicBezTo>
                  <a:cubicBezTo>
                    <a:pt x="0" y="38"/>
                    <a:pt x="9" y="49"/>
                    <a:pt x="25" y="49"/>
                  </a:cubicBezTo>
                  <a:cubicBezTo>
                    <a:pt x="40" y="49"/>
                    <a:pt x="50" y="39"/>
                    <a:pt x="50" y="27"/>
                  </a:cubicBezTo>
                  <a:cubicBezTo>
                    <a:pt x="50" y="12"/>
                    <a:pt x="39" y="4"/>
                    <a:pt x="23" y="0"/>
                  </a:cubicBezTo>
                </a:path>
              </a:pathLst>
            </a:custGeom>
            <a:solidFill>
              <a:srgbClr val="8F3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4" name="Freeform 99"/>
            <p:cNvSpPr>
              <a:spLocks noEditPoints="1"/>
            </p:cNvSpPr>
            <p:nvPr/>
          </p:nvSpPr>
          <p:spPr bwMode="auto">
            <a:xfrm>
              <a:off x="820738" y="-1319213"/>
              <a:ext cx="307975" cy="481013"/>
            </a:xfrm>
            <a:custGeom>
              <a:avLst/>
              <a:gdLst>
                <a:gd name="T0" fmla="*/ 0 w 82"/>
                <a:gd name="T1" fmla="*/ 2147483646 h 128"/>
                <a:gd name="T2" fmla="*/ 2147483646 w 82"/>
                <a:gd name="T3" fmla="*/ 2147483646 h 128"/>
                <a:gd name="T4" fmla="*/ 2147483646 w 82"/>
                <a:gd name="T5" fmla="*/ 2147483646 h 128"/>
                <a:gd name="T6" fmla="*/ 2147483646 w 82"/>
                <a:gd name="T7" fmla="*/ 2147483646 h 128"/>
                <a:gd name="T8" fmla="*/ 2147483646 w 82"/>
                <a:gd name="T9" fmla="*/ 0 h 128"/>
                <a:gd name="T10" fmla="*/ 2147483646 w 82"/>
                <a:gd name="T11" fmla="*/ 2147483646 h 128"/>
                <a:gd name="T12" fmla="*/ 2147483646 w 82"/>
                <a:gd name="T13" fmla="*/ 2147483646 h 128"/>
                <a:gd name="T14" fmla="*/ 2147483646 w 82"/>
                <a:gd name="T15" fmla="*/ 2147483646 h 128"/>
                <a:gd name="T16" fmla="*/ 2147483646 w 82"/>
                <a:gd name="T17" fmla="*/ 2147483646 h 128"/>
                <a:gd name="T18" fmla="*/ 2147483646 w 82"/>
                <a:gd name="T19" fmla="*/ 2147483646 h 128"/>
                <a:gd name="T20" fmla="*/ 0 w 82"/>
                <a:gd name="T21" fmla="*/ 2147483646 h 128"/>
                <a:gd name="T22" fmla="*/ 2147483646 w 82"/>
                <a:gd name="T23" fmla="*/ 2147483646 h 128"/>
                <a:gd name="T24" fmla="*/ 2147483646 w 82"/>
                <a:gd name="T25" fmla="*/ 2147483646 h 128"/>
                <a:gd name="T26" fmla="*/ 2147483646 w 82"/>
                <a:gd name="T27" fmla="*/ 2147483646 h 128"/>
                <a:gd name="T28" fmla="*/ 2147483646 w 82"/>
                <a:gd name="T29" fmla="*/ 2147483646 h 128"/>
                <a:gd name="T30" fmla="*/ 2147483646 w 82"/>
                <a:gd name="T31" fmla="*/ 2147483646 h 128"/>
                <a:gd name="T32" fmla="*/ 2147483646 w 82"/>
                <a:gd name="T33" fmla="*/ 2147483646 h 128"/>
                <a:gd name="T34" fmla="*/ 2147483646 w 82"/>
                <a:gd name="T35" fmla="*/ 2147483646 h 128"/>
                <a:gd name="T36" fmla="*/ 2147483646 w 82"/>
                <a:gd name="T37" fmla="*/ 2147483646 h 128"/>
                <a:gd name="T38" fmla="*/ 2147483646 w 82"/>
                <a:gd name="T39" fmla="*/ 2147483646 h 128"/>
                <a:gd name="T40" fmla="*/ 2147483646 w 82"/>
                <a:gd name="T41" fmla="*/ 2147483646 h 1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128">
                  <a:moveTo>
                    <a:pt x="0" y="94"/>
                  </a:moveTo>
                  <a:cubicBezTo>
                    <a:pt x="0" y="79"/>
                    <a:pt x="9" y="68"/>
                    <a:pt x="24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0" y="54"/>
                    <a:pt x="4" y="44"/>
                    <a:pt x="4" y="33"/>
                  </a:cubicBezTo>
                  <a:cubicBezTo>
                    <a:pt x="4" y="13"/>
                    <a:pt x="21" y="0"/>
                    <a:pt x="42" y="0"/>
                  </a:cubicBezTo>
                  <a:cubicBezTo>
                    <a:pt x="66" y="0"/>
                    <a:pt x="78" y="15"/>
                    <a:pt x="78" y="30"/>
                  </a:cubicBezTo>
                  <a:cubicBezTo>
                    <a:pt x="78" y="41"/>
                    <a:pt x="73" y="52"/>
                    <a:pt x="58" y="59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73" y="66"/>
                    <a:pt x="82" y="77"/>
                    <a:pt x="82" y="92"/>
                  </a:cubicBezTo>
                  <a:cubicBezTo>
                    <a:pt x="82" y="114"/>
                    <a:pt x="64" y="128"/>
                    <a:pt x="41" y="128"/>
                  </a:cubicBezTo>
                  <a:cubicBezTo>
                    <a:pt x="15" y="128"/>
                    <a:pt x="0" y="113"/>
                    <a:pt x="0" y="94"/>
                  </a:cubicBezTo>
                  <a:close/>
                  <a:moveTo>
                    <a:pt x="66" y="94"/>
                  </a:moveTo>
                  <a:cubicBezTo>
                    <a:pt x="66" y="79"/>
                    <a:pt x="55" y="71"/>
                    <a:pt x="39" y="67"/>
                  </a:cubicBezTo>
                  <a:cubicBezTo>
                    <a:pt x="24" y="71"/>
                    <a:pt x="17" y="80"/>
                    <a:pt x="17" y="92"/>
                  </a:cubicBezTo>
                  <a:cubicBezTo>
                    <a:pt x="16" y="105"/>
                    <a:pt x="25" y="116"/>
                    <a:pt x="41" y="116"/>
                  </a:cubicBezTo>
                  <a:cubicBezTo>
                    <a:pt x="56" y="116"/>
                    <a:pt x="66" y="106"/>
                    <a:pt x="66" y="94"/>
                  </a:cubicBezTo>
                  <a:close/>
                  <a:moveTo>
                    <a:pt x="20" y="32"/>
                  </a:moveTo>
                  <a:cubicBezTo>
                    <a:pt x="20" y="44"/>
                    <a:pt x="29" y="51"/>
                    <a:pt x="43" y="55"/>
                  </a:cubicBezTo>
                  <a:cubicBezTo>
                    <a:pt x="54" y="51"/>
                    <a:pt x="62" y="43"/>
                    <a:pt x="62" y="32"/>
                  </a:cubicBezTo>
                  <a:cubicBezTo>
                    <a:pt x="62" y="22"/>
                    <a:pt x="56" y="12"/>
                    <a:pt x="41" y="12"/>
                  </a:cubicBezTo>
                  <a:cubicBezTo>
                    <a:pt x="28" y="12"/>
                    <a:pt x="20" y="21"/>
                    <a:pt x="20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" name="组合 132"/>
          <p:cNvGrpSpPr/>
          <p:nvPr/>
        </p:nvGrpSpPr>
        <p:grpSpPr bwMode="auto">
          <a:xfrm>
            <a:off x="6729413" y="1193800"/>
            <a:ext cx="304800" cy="304800"/>
            <a:chOff x="3014663" y="-2817813"/>
            <a:chExt cx="960438" cy="958850"/>
          </a:xfrm>
        </p:grpSpPr>
        <p:sp>
          <p:nvSpPr>
            <p:cNvPr id="20516" name="Oval 104"/>
            <p:cNvSpPr>
              <a:spLocks noChangeArrowheads="1"/>
            </p:cNvSpPr>
            <p:nvPr/>
          </p:nvSpPr>
          <p:spPr bwMode="auto">
            <a:xfrm>
              <a:off x="3014663" y="-2817813"/>
              <a:ext cx="960438" cy="958850"/>
            </a:xfrm>
            <a:prstGeom prst="ellipse">
              <a:avLst/>
            </a:prstGeom>
            <a:solidFill>
              <a:srgbClr val="FF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20517" name="Freeform 105"/>
            <p:cNvSpPr/>
            <p:nvPr/>
          </p:nvSpPr>
          <p:spPr bwMode="auto">
            <a:xfrm>
              <a:off x="3375025" y="-2578101"/>
              <a:ext cx="592138" cy="708025"/>
            </a:xfrm>
            <a:custGeom>
              <a:avLst/>
              <a:gdLst>
                <a:gd name="T0" fmla="*/ 2147483646 w 158"/>
                <a:gd name="T1" fmla="*/ 0 h 189"/>
                <a:gd name="T2" fmla="*/ 2147483646 w 158"/>
                <a:gd name="T3" fmla="*/ 2147483646 h 189"/>
                <a:gd name="T4" fmla="*/ 2147483646 w 158"/>
                <a:gd name="T5" fmla="*/ 2147483646 h 189"/>
                <a:gd name="T6" fmla="*/ 0 w 158"/>
                <a:gd name="T7" fmla="*/ 2147483646 h 189"/>
                <a:gd name="T8" fmla="*/ 2147483646 w 158"/>
                <a:gd name="T9" fmla="*/ 2147483646 h 189"/>
                <a:gd name="T10" fmla="*/ 2147483646 w 158"/>
                <a:gd name="T11" fmla="*/ 2147483646 h 189"/>
                <a:gd name="T12" fmla="*/ 2147483646 w 158"/>
                <a:gd name="T13" fmla="*/ 0 h 18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8" h="189">
                  <a:moveTo>
                    <a:pt x="71" y="0"/>
                  </a:moveTo>
                  <a:cubicBezTo>
                    <a:pt x="71" y="11"/>
                    <a:pt x="71" y="11"/>
                    <a:pt x="71" y="11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61" y="189"/>
                    <a:pt x="61" y="189"/>
                    <a:pt x="61" y="189"/>
                  </a:cubicBezTo>
                  <a:cubicBezTo>
                    <a:pt x="110" y="177"/>
                    <a:pt x="149" y="137"/>
                    <a:pt x="158" y="87"/>
                  </a:cubicBezTo>
                  <a:cubicBezTo>
                    <a:pt x="71" y="0"/>
                    <a:pt x="71" y="0"/>
                    <a:pt x="71" y="0"/>
                  </a:cubicBezTo>
                </a:path>
              </a:pathLst>
            </a:custGeom>
            <a:solidFill>
              <a:srgbClr val="BF4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18" name="Freeform 106"/>
            <p:cNvSpPr/>
            <p:nvPr/>
          </p:nvSpPr>
          <p:spPr bwMode="auto">
            <a:xfrm>
              <a:off x="3348038" y="-2525713"/>
              <a:ext cx="225425" cy="153988"/>
            </a:xfrm>
            <a:custGeom>
              <a:avLst/>
              <a:gdLst>
                <a:gd name="T0" fmla="*/ 2147483646 w 142"/>
                <a:gd name="T1" fmla="*/ 0 h 97"/>
                <a:gd name="T2" fmla="*/ 0 w 142"/>
                <a:gd name="T3" fmla="*/ 0 h 97"/>
                <a:gd name="T4" fmla="*/ 2147483646 w 142"/>
                <a:gd name="T5" fmla="*/ 2147483646 h 97"/>
                <a:gd name="T6" fmla="*/ 2147483646 w 142"/>
                <a:gd name="T7" fmla="*/ 2147483646 h 97"/>
                <a:gd name="T8" fmla="*/ 2147483646 w 142"/>
                <a:gd name="T9" fmla="*/ 0 h 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2" h="97">
                  <a:moveTo>
                    <a:pt x="142" y="0"/>
                  </a:moveTo>
                  <a:lnTo>
                    <a:pt x="0" y="0"/>
                  </a:lnTo>
                  <a:lnTo>
                    <a:pt x="97" y="97"/>
                  </a:lnTo>
                  <a:lnTo>
                    <a:pt x="142" y="2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BF4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19" name="Freeform 107"/>
            <p:cNvSpPr/>
            <p:nvPr/>
          </p:nvSpPr>
          <p:spPr bwMode="auto">
            <a:xfrm>
              <a:off x="3348038" y="-2525713"/>
              <a:ext cx="225425" cy="153988"/>
            </a:xfrm>
            <a:custGeom>
              <a:avLst/>
              <a:gdLst>
                <a:gd name="T0" fmla="*/ 2147483646 w 142"/>
                <a:gd name="T1" fmla="*/ 0 h 97"/>
                <a:gd name="T2" fmla="*/ 0 w 142"/>
                <a:gd name="T3" fmla="*/ 0 h 97"/>
                <a:gd name="T4" fmla="*/ 2147483646 w 142"/>
                <a:gd name="T5" fmla="*/ 2147483646 h 97"/>
                <a:gd name="T6" fmla="*/ 2147483646 w 142"/>
                <a:gd name="T7" fmla="*/ 2147483646 h 97"/>
                <a:gd name="T8" fmla="*/ 2147483646 w 142"/>
                <a:gd name="T9" fmla="*/ 0 h 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2" h="97">
                  <a:moveTo>
                    <a:pt x="142" y="0"/>
                  </a:moveTo>
                  <a:lnTo>
                    <a:pt x="0" y="0"/>
                  </a:lnTo>
                  <a:lnTo>
                    <a:pt x="97" y="97"/>
                  </a:lnTo>
                  <a:lnTo>
                    <a:pt x="142" y="2"/>
                  </a:lnTo>
                  <a:lnTo>
                    <a:pt x="1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0" name="Freeform 108"/>
            <p:cNvSpPr/>
            <p:nvPr/>
          </p:nvSpPr>
          <p:spPr bwMode="auto">
            <a:xfrm>
              <a:off x="3348038" y="-2578101"/>
              <a:ext cx="293688" cy="479425"/>
            </a:xfrm>
            <a:custGeom>
              <a:avLst/>
              <a:gdLst>
                <a:gd name="T0" fmla="*/ 2147483646 w 185"/>
                <a:gd name="T1" fmla="*/ 0 h 302"/>
                <a:gd name="T2" fmla="*/ 2147483646 w 185"/>
                <a:gd name="T3" fmla="*/ 2147483646 h 302"/>
                <a:gd name="T4" fmla="*/ 2147483646 w 185"/>
                <a:gd name="T5" fmla="*/ 2147483646 h 302"/>
                <a:gd name="T6" fmla="*/ 2147483646 w 185"/>
                <a:gd name="T7" fmla="*/ 2147483646 h 302"/>
                <a:gd name="T8" fmla="*/ 2147483646 w 185"/>
                <a:gd name="T9" fmla="*/ 2147483646 h 302"/>
                <a:gd name="T10" fmla="*/ 2147483646 w 185"/>
                <a:gd name="T11" fmla="*/ 2147483646 h 302"/>
                <a:gd name="T12" fmla="*/ 0 w 185"/>
                <a:gd name="T13" fmla="*/ 2147483646 h 302"/>
                <a:gd name="T14" fmla="*/ 0 w 185"/>
                <a:gd name="T15" fmla="*/ 0 h 302"/>
                <a:gd name="T16" fmla="*/ 2147483646 w 185"/>
                <a:gd name="T17" fmla="*/ 0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5" h="302">
                  <a:moveTo>
                    <a:pt x="185" y="0"/>
                  </a:moveTo>
                  <a:lnTo>
                    <a:pt x="185" y="26"/>
                  </a:lnTo>
                  <a:lnTo>
                    <a:pt x="57" y="302"/>
                  </a:lnTo>
                  <a:lnTo>
                    <a:pt x="17" y="302"/>
                  </a:lnTo>
                  <a:lnTo>
                    <a:pt x="142" y="35"/>
                  </a:lnTo>
                  <a:lnTo>
                    <a:pt x="142" y="33"/>
                  </a:lnTo>
                  <a:lnTo>
                    <a:pt x="0" y="33"/>
                  </a:lnTo>
                  <a:lnTo>
                    <a:pt x="0" y="0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82" name="组合 281"/>
          <p:cNvGrpSpPr/>
          <p:nvPr/>
        </p:nvGrpSpPr>
        <p:grpSpPr bwMode="auto">
          <a:xfrm>
            <a:off x="6042025" y="2641600"/>
            <a:ext cx="306388" cy="304800"/>
            <a:chOff x="1754188" y="-2817813"/>
            <a:chExt cx="960438" cy="958850"/>
          </a:xfrm>
        </p:grpSpPr>
        <p:sp>
          <p:nvSpPr>
            <p:cNvPr id="20512" name="Oval 100"/>
            <p:cNvSpPr>
              <a:spLocks noChangeArrowheads="1"/>
            </p:cNvSpPr>
            <p:nvPr/>
          </p:nvSpPr>
          <p:spPr bwMode="auto">
            <a:xfrm>
              <a:off x="1754188" y="-2817813"/>
              <a:ext cx="960438" cy="958850"/>
            </a:xfrm>
            <a:prstGeom prst="ellipse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20513" name="Freeform 101"/>
            <p:cNvSpPr/>
            <p:nvPr/>
          </p:nvSpPr>
          <p:spPr bwMode="auto">
            <a:xfrm>
              <a:off x="2136775" y="-2365376"/>
              <a:ext cx="192088" cy="217488"/>
            </a:xfrm>
            <a:custGeom>
              <a:avLst/>
              <a:gdLst>
                <a:gd name="T0" fmla="*/ 2147483646 w 51"/>
                <a:gd name="T1" fmla="*/ 0 h 58"/>
                <a:gd name="T2" fmla="*/ 2147483646 w 51"/>
                <a:gd name="T3" fmla="*/ 2147483646 h 58"/>
                <a:gd name="T4" fmla="*/ 0 w 51"/>
                <a:gd name="T5" fmla="*/ 2147483646 h 58"/>
                <a:gd name="T6" fmla="*/ 2147483646 w 51"/>
                <a:gd name="T7" fmla="*/ 2147483646 h 58"/>
                <a:gd name="T8" fmla="*/ 2147483646 w 51"/>
                <a:gd name="T9" fmla="*/ 2147483646 h 58"/>
                <a:gd name="T10" fmla="*/ 2147483646 w 51"/>
                <a:gd name="T11" fmla="*/ 0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58">
                  <a:moveTo>
                    <a:pt x="26" y="0"/>
                  </a:moveTo>
                  <a:cubicBezTo>
                    <a:pt x="16" y="0"/>
                    <a:pt x="7" y="6"/>
                    <a:pt x="2" y="15"/>
                  </a:cubicBezTo>
                  <a:cubicBezTo>
                    <a:pt x="1" y="17"/>
                    <a:pt x="0" y="19"/>
                    <a:pt x="0" y="23"/>
                  </a:cubicBezTo>
                  <a:cubicBezTo>
                    <a:pt x="1" y="43"/>
                    <a:pt x="10" y="58"/>
                    <a:pt x="27" y="58"/>
                  </a:cubicBezTo>
                  <a:cubicBezTo>
                    <a:pt x="42" y="58"/>
                    <a:pt x="51" y="46"/>
                    <a:pt x="51" y="28"/>
                  </a:cubicBezTo>
                  <a:cubicBezTo>
                    <a:pt x="51" y="11"/>
                    <a:pt x="41" y="0"/>
                    <a:pt x="26" y="0"/>
                  </a:cubicBezTo>
                </a:path>
              </a:pathLst>
            </a:custGeom>
            <a:solidFill>
              <a:srgbClr val="B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14" name="Freeform 102"/>
            <p:cNvSpPr/>
            <p:nvPr/>
          </p:nvSpPr>
          <p:spPr bwMode="auto">
            <a:xfrm>
              <a:off x="2133600" y="-2578101"/>
              <a:ext cx="566738" cy="693738"/>
            </a:xfrm>
            <a:custGeom>
              <a:avLst/>
              <a:gdLst>
                <a:gd name="T0" fmla="*/ 2147483646 w 151"/>
                <a:gd name="T1" fmla="*/ 0 h 185"/>
                <a:gd name="T2" fmla="*/ 2147483646 w 151"/>
                <a:gd name="T3" fmla="*/ 2147483646 h 185"/>
                <a:gd name="T4" fmla="*/ 2147483646 w 151"/>
                <a:gd name="T5" fmla="*/ 2147483646 h 185"/>
                <a:gd name="T6" fmla="*/ 2147483646 w 151"/>
                <a:gd name="T7" fmla="*/ 2147483646 h 185"/>
                <a:gd name="T8" fmla="*/ 2147483646 w 151"/>
                <a:gd name="T9" fmla="*/ 2147483646 h 185"/>
                <a:gd name="T10" fmla="*/ 2147483646 w 151"/>
                <a:gd name="T11" fmla="*/ 2147483646 h 185"/>
                <a:gd name="T12" fmla="*/ 2147483646 w 151"/>
                <a:gd name="T13" fmla="*/ 2147483646 h 185"/>
                <a:gd name="T14" fmla="*/ 2147483646 w 151"/>
                <a:gd name="T15" fmla="*/ 2147483646 h 185"/>
                <a:gd name="T16" fmla="*/ 2147483646 w 151"/>
                <a:gd name="T17" fmla="*/ 2147483646 h 185"/>
                <a:gd name="T18" fmla="*/ 0 w 151"/>
                <a:gd name="T19" fmla="*/ 2147483646 h 185"/>
                <a:gd name="T20" fmla="*/ 2147483646 w 151"/>
                <a:gd name="T21" fmla="*/ 2147483646 h 185"/>
                <a:gd name="T22" fmla="*/ 2147483646 w 151"/>
                <a:gd name="T23" fmla="*/ 2147483646 h 185"/>
                <a:gd name="T24" fmla="*/ 2147483646 w 151"/>
                <a:gd name="T25" fmla="*/ 0 h 1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51" h="185">
                  <a:moveTo>
                    <a:pt x="57" y="0"/>
                  </a:moveTo>
                  <a:cubicBezTo>
                    <a:pt x="57" y="14"/>
                    <a:pt x="57" y="14"/>
                    <a:pt x="57" y="14"/>
                  </a:cubicBezTo>
                  <a:cubicBezTo>
                    <a:pt x="56" y="14"/>
                    <a:pt x="55" y="14"/>
                    <a:pt x="54" y="14"/>
                  </a:cubicBezTo>
                  <a:cubicBezTo>
                    <a:pt x="51" y="14"/>
                    <a:pt x="48" y="14"/>
                    <a:pt x="45" y="14"/>
                  </a:cubicBezTo>
                  <a:cubicBezTo>
                    <a:pt x="19" y="19"/>
                    <a:pt x="5" y="38"/>
                    <a:pt x="2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8" y="51"/>
                    <a:pt x="19" y="44"/>
                    <a:pt x="32" y="44"/>
                  </a:cubicBezTo>
                  <a:cubicBezTo>
                    <a:pt x="54" y="44"/>
                    <a:pt x="69" y="60"/>
                    <a:pt x="69" y="84"/>
                  </a:cubicBezTo>
                  <a:cubicBezTo>
                    <a:pt x="69" y="107"/>
                    <a:pt x="54" y="128"/>
                    <a:pt x="28" y="128"/>
                  </a:cubicBezTo>
                  <a:cubicBezTo>
                    <a:pt x="17" y="128"/>
                    <a:pt x="7" y="124"/>
                    <a:pt x="0" y="117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109" y="171"/>
                    <a:pt x="141" y="137"/>
                    <a:pt x="151" y="94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B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15" name="Freeform 103"/>
            <p:cNvSpPr>
              <a:spLocks noEditPoints="1"/>
            </p:cNvSpPr>
            <p:nvPr/>
          </p:nvSpPr>
          <p:spPr bwMode="auto">
            <a:xfrm>
              <a:off x="2078038" y="-2578101"/>
              <a:ext cx="314325" cy="479425"/>
            </a:xfrm>
            <a:custGeom>
              <a:avLst/>
              <a:gdLst>
                <a:gd name="T0" fmla="*/ 2147483646 w 84"/>
                <a:gd name="T1" fmla="*/ 2147483646 h 128"/>
                <a:gd name="T2" fmla="*/ 2147483646 w 84"/>
                <a:gd name="T3" fmla="*/ 2147483646 h 128"/>
                <a:gd name="T4" fmla="*/ 2147483646 w 84"/>
                <a:gd name="T5" fmla="*/ 2147483646 h 128"/>
                <a:gd name="T6" fmla="*/ 2147483646 w 84"/>
                <a:gd name="T7" fmla="*/ 2147483646 h 128"/>
                <a:gd name="T8" fmla="*/ 2147483646 w 84"/>
                <a:gd name="T9" fmla="*/ 2147483646 h 128"/>
                <a:gd name="T10" fmla="*/ 2147483646 w 84"/>
                <a:gd name="T11" fmla="*/ 2147483646 h 128"/>
                <a:gd name="T12" fmla="*/ 2147483646 w 84"/>
                <a:gd name="T13" fmla="*/ 2147483646 h 128"/>
                <a:gd name="T14" fmla="*/ 0 w 84"/>
                <a:gd name="T15" fmla="*/ 2147483646 h 128"/>
                <a:gd name="T16" fmla="*/ 2147483646 w 84"/>
                <a:gd name="T17" fmla="*/ 2147483646 h 128"/>
                <a:gd name="T18" fmla="*/ 2147483646 w 84"/>
                <a:gd name="T19" fmla="*/ 2147483646 h 128"/>
                <a:gd name="T20" fmla="*/ 2147483646 w 84"/>
                <a:gd name="T21" fmla="*/ 0 h 128"/>
                <a:gd name="T22" fmla="*/ 2147483646 w 84"/>
                <a:gd name="T23" fmla="*/ 2147483646 h 128"/>
                <a:gd name="T24" fmla="*/ 2147483646 w 84"/>
                <a:gd name="T25" fmla="*/ 2147483646 h 128"/>
                <a:gd name="T26" fmla="*/ 2147483646 w 84"/>
                <a:gd name="T27" fmla="*/ 2147483646 h 128"/>
                <a:gd name="T28" fmla="*/ 2147483646 w 84"/>
                <a:gd name="T29" fmla="*/ 2147483646 h 128"/>
                <a:gd name="T30" fmla="*/ 2147483646 w 84"/>
                <a:gd name="T31" fmla="*/ 2147483646 h 128"/>
                <a:gd name="T32" fmla="*/ 2147483646 w 84"/>
                <a:gd name="T33" fmla="*/ 2147483646 h 128"/>
                <a:gd name="T34" fmla="*/ 2147483646 w 84"/>
                <a:gd name="T35" fmla="*/ 2147483646 h 1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84" h="128">
                  <a:moveTo>
                    <a:pt x="72" y="14"/>
                  </a:moveTo>
                  <a:cubicBezTo>
                    <a:pt x="69" y="14"/>
                    <a:pt x="64" y="14"/>
                    <a:pt x="60" y="14"/>
                  </a:cubicBezTo>
                  <a:cubicBezTo>
                    <a:pt x="34" y="19"/>
                    <a:pt x="20" y="38"/>
                    <a:pt x="17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23" y="51"/>
                    <a:pt x="34" y="44"/>
                    <a:pt x="47" y="44"/>
                  </a:cubicBezTo>
                  <a:cubicBezTo>
                    <a:pt x="69" y="44"/>
                    <a:pt x="84" y="60"/>
                    <a:pt x="84" y="84"/>
                  </a:cubicBezTo>
                  <a:cubicBezTo>
                    <a:pt x="84" y="107"/>
                    <a:pt x="69" y="128"/>
                    <a:pt x="43" y="128"/>
                  </a:cubicBezTo>
                  <a:cubicBezTo>
                    <a:pt x="17" y="128"/>
                    <a:pt x="0" y="107"/>
                    <a:pt x="0" y="75"/>
                  </a:cubicBezTo>
                  <a:cubicBezTo>
                    <a:pt x="0" y="51"/>
                    <a:pt x="9" y="31"/>
                    <a:pt x="21" y="19"/>
                  </a:cubicBezTo>
                  <a:cubicBezTo>
                    <a:pt x="31" y="9"/>
                    <a:pt x="44" y="3"/>
                    <a:pt x="60" y="1"/>
                  </a:cubicBezTo>
                  <a:cubicBezTo>
                    <a:pt x="65" y="0"/>
                    <a:pt x="69" y="0"/>
                    <a:pt x="72" y="0"/>
                  </a:cubicBezTo>
                  <a:lnTo>
                    <a:pt x="72" y="14"/>
                  </a:lnTo>
                  <a:close/>
                  <a:moveTo>
                    <a:pt x="67" y="85"/>
                  </a:moveTo>
                  <a:cubicBezTo>
                    <a:pt x="67" y="68"/>
                    <a:pt x="57" y="57"/>
                    <a:pt x="42" y="57"/>
                  </a:cubicBezTo>
                  <a:cubicBezTo>
                    <a:pt x="32" y="57"/>
                    <a:pt x="23" y="63"/>
                    <a:pt x="18" y="72"/>
                  </a:cubicBezTo>
                  <a:cubicBezTo>
                    <a:pt x="17" y="74"/>
                    <a:pt x="16" y="76"/>
                    <a:pt x="16" y="80"/>
                  </a:cubicBezTo>
                  <a:cubicBezTo>
                    <a:pt x="17" y="100"/>
                    <a:pt x="26" y="115"/>
                    <a:pt x="43" y="115"/>
                  </a:cubicBezTo>
                  <a:cubicBezTo>
                    <a:pt x="58" y="115"/>
                    <a:pt x="67" y="103"/>
                    <a:pt x="67" y="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2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3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2" presetClass="entr" presetSubtype="4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300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8" dur="3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2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3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3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3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2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300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0" dur="3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2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300" fill="hold"/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300" fill="hold"/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3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2" presetClass="entr" presetSubtype="4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300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2" dur="3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2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3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3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3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2" presetClass="entr" presetSubtype="1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300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4" dur="3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4" fill="hold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2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3" presetClass="entr" presetSubtype="16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3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300" fill="hold"/>
                                        <p:tgtEl>
                                          <p:spTgt spid="2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3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1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5" dur="2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3" presetClass="entr" presetSubtype="16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30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30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30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2" presetClass="entr" presetSubtype="1" fill="hold" grpId="0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300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94" dur="3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4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2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nodeType="withEffect">
                                  <p:stCondLst>
                                    <p:cond delay="52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3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3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3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2" presetClass="entr" presetSubtype="4" fill="hold" grpId="0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3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06" dur="3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22" presetClass="entr" presetSubtype="1" fill="hold" nodeType="withEffect">
                                  <p:stCondLst>
                                    <p:cond delay="575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9" dur="2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57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3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3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19" grpId="0"/>
      <p:bldP spid="120" grpId="0"/>
      <p:bldP spid="121" grpId="0"/>
      <p:bldP spid="122" grpId="0"/>
      <p:bldP spid="123" grpId="0"/>
      <p:bldP spid="12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eft Brace 65"/>
          <p:cNvSpPr/>
          <p:nvPr/>
        </p:nvSpPr>
        <p:spPr>
          <a:xfrm>
            <a:off x="3373438" y="1336675"/>
            <a:ext cx="692150" cy="2530475"/>
          </a:xfrm>
          <a:prstGeom prst="leftBrace">
            <a:avLst>
              <a:gd name="adj1" fmla="val 42848"/>
              <a:gd name="adj2" fmla="val 50000"/>
            </a:avLst>
          </a:prstGeom>
          <a:noFill/>
          <a:ln w="57150" cap="flat" cmpd="sng" algn="ctr">
            <a:solidFill>
              <a:srgbClr val="173E49">
                <a:alpha val="50196"/>
              </a:srgbClr>
            </a:solidFill>
            <a:prstDash val="solid"/>
          </a:ln>
          <a:effectLst/>
        </p:spPr>
        <p:txBody>
          <a:bodyPr lIns="93234" tIns="46616" rIns="93234" bIns="46616" anchor="ctr"/>
          <a:lstStyle/>
          <a:p>
            <a:pPr algn="ctr" defTabSz="12179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>
              <a:solidFill>
                <a:srgbClr val="292929"/>
              </a:solidFill>
              <a:latin typeface="+mn-lt"/>
              <a:ea typeface="+mn-ea"/>
            </a:endParaRPr>
          </a:p>
        </p:txBody>
      </p:sp>
      <p:grpSp>
        <p:nvGrpSpPr>
          <p:cNvPr id="9" name="组合 8"/>
          <p:cNvGrpSpPr/>
          <p:nvPr/>
        </p:nvGrpSpPr>
        <p:grpSpPr bwMode="auto">
          <a:xfrm>
            <a:off x="539750" y="1652588"/>
            <a:ext cx="2860675" cy="1944687"/>
            <a:chOff x="539552" y="1652731"/>
            <a:chExt cx="2860573" cy="1945244"/>
          </a:xfrm>
        </p:grpSpPr>
        <p:grpSp>
          <p:nvGrpSpPr>
            <p:cNvPr id="21558" name="组合 2"/>
            <p:cNvGrpSpPr/>
            <p:nvPr/>
          </p:nvGrpSpPr>
          <p:grpSpPr bwMode="auto">
            <a:xfrm>
              <a:off x="539552" y="1652731"/>
              <a:ext cx="2860573" cy="1945243"/>
              <a:chOff x="539552" y="1652731"/>
              <a:chExt cx="2860573" cy="1945243"/>
            </a:xfrm>
          </p:grpSpPr>
          <p:sp>
            <p:nvSpPr>
              <p:cNvPr id="10" name="Oval 2"/>
              <p:cNvSpPr/>
              <p:nvPr/>
            </p:nvSpPr>
            <p:spPr bwMode="auto">
              <a:xfrm>
                <a:off x="539552" y="1652731"/>
                <a:ext cx="2860573" cy="1945244"/>
              </a:xfrm>
              <a:custGeom>
                <a:avLst/>
                <a:gdLst>
                  <a:gd name="connsiteX0" fmla="*/ 1568924 w 2529861"/>
                  <a:gd name="connsiteY0" fmla="*/ 0 h 1722978"/>
                  <a:gd name="connsiteX1" fmla="*/ 2148497 w 2529861"/>
                  <a:gd name="connsiteY1" fmla="*/ 579573 h 1722978"/>
                  <a:gd name="connsiteX2" fmla="*/ 2129199 w 2529861"/>
                  <a:gd name="connsiteY2" fmla="*/ 720614 h 1722978"/>
                  <a:gd name="connsiteX3" fmla="*/ 2529861 w 2529861"/>
                  <a:gd name="connsiteY3" fmla="*/ 1185090 h 1722978"/>
                  <a:gd name="connsiteX4" fmla="*/ 1974323 w 2529861"/>
                  <a:gd name="connsiteY4" fmla="*/ 1722978 h 1722978"/>
                  <a:gd name="connsiteX5" fmla="*/ 1974313 w 2529861"/>
                  <a:gd name="connsiteY5" fmla="*/ 1722977 h 1722978"/>
                  <a:gd name="connsiteX6" fmla="*/ 563842 w 2529861"/>
                  <a:gd name="connsiteY6" fmla="*/ 1722977 h 1722978"/>
                  <a:gd name="connsiteX7" fmla="*/ 563832 w 2529861"/>
                  <a:gd name="connsiteY7" fmla="*/ 1722978 h 1722978"/>
                  <a:gd name="connsiteX8" fmla="*/ 0 w 2529861"/>
                  <a:gd name="connsiteY8" fmla="*/ 1159146 h 1722978"/>
                  <a:gd name="connsiteX9" fmla="*/ 298654 w 2529861"/>
                  <a:gd name="connsiteY9" fmla="*/ 664433 h 1722978"/>
                  <a:gd name="connsiteX10" fmla="*/ 297788 w 2529861"/>
                  <a:gd name="connsiteY10" fmla="*/ 655847 h 1722978"/>
                  <a:gd name="connsiteX11" fmla="*/ 712726 w 2529861"/>
                  <a:gd name="connsiteY11" fmla="*/ 240909 h 1722978"/>
                  <a:gd name="connsiteX12" fmla="*/ 1025124 w 2529861"/>
                  <a:gd name="connsiteY12" fmla="*/ 385461 h 1722978"/>
                  <a:gd name="connsiteX13" fmla="*/ 1568924 w 2529861"/>
                  <a:gd name="connsiteY13" fmla="*/ 0 h 1722978"/>
                  <a:gd name="connsiteX0-1" fmla="*/ 1568924 w 2529861"/>
                  <a:gd name="connsiteY0-2" fmla="*/ 0 h 1746510"/>
                  <a:gd name="connsiteX1-3" fmla="*/ 2148497 w 2529861"/>
                  <a:gd name="connsiteY1-4" fmla="*/ 579573 h 1746510"/>
                  <a:gd name="connsiteX2-5" fmla="*/ 2129199 w 2529861"/>
                  <a:gd name="connsiteY2-6" fmla="*/ 720614 h 1746510"/>
                  <a:gd name="connsiteX3-7" fmla="*/ 2529861 w 2529861"/>
                  <a:gd name="connsiteY3-8" fmla="*/ 1185090 h 1746510"/>
                  <a:gd name="connsiteX4-9" fmla="*/ 1974323 w 2529861"/>
                  <a:gd name="connsiteY4-10" fmla="*/ 1722978 h 1746510"/>
                  <a:gd name="connsiteX5-11" fmla="*/ 1815470 w 2529861"/>
                  <a:gd name="connsiteY5-12" fmla="*/ 1746510 h 1746510"/>
                  <a:gd name="connsiteX6-13" fmla="*/ 563842 w 2529861"/>
                  <a:gd name="connsiteY6-14" fmla="*/ 1722977 h 1746510"/>
                  <a:gd name="connsiteX7-15" fmla="*/ 563832 w 2529861"/>
                  <a:gd name="connsiteY7-16" fmla="*/ 1722978 h 1746510"/>
                  <a:gd name="connsiteX8-17" fmla="*/ 0 w 2529861"/>
                  <a:gd name="connsiteY8-18" fmla="*/ 1159146 h 1746510"/>
                  <a:gd name="connsiteX9-19" fmla="*/ 298654 w 2529861"/>
                  <a:gd name="connsiteY9-20" fmla="*/ 664433 h 1746510"/>
                  <a:gd name="connsiteX10-21" fmla="*/ 297788 w 2529861"/>
                  <a:gd name="connsiteY10-22" fmla="*/ 655847 h 1746510"/>
                  <a:gd name="connsiteX11-23" fmla="*/ 712726 w 2529861"/>
                  <a:gd name="connsiteY11-24" fmla="*/ 240909 h 1746510"/>
                  <a:gd name="connsiteX12-25" fmla="*/ 1025124 w 2529861"/>
                  <a:gd name="connsiteY12-26" fmla="*/ 385461 h 1746510"/>
                  <a:gd name="connsiteX13-27" fmla="*/ 1568924 w 2529861"/>
                  <a:gd name="connsiteY13-28" fmla="*/ 0 h 1746510"/>
                  <a:gd name="connsiteX0-29" fmla="*/ 1568924 w 2529901"/>
                  <a:gd name="connsiteY0-30" fmla="*/ 0 h 1746510"/>
                  <a:gd name="connsiteX1-31" fmla="*/ 2148497 w 2529901"/>
                  <a:gd name="connsiteY1-32" fmla="*/ 579573 h 1746510"/>
                  <a:gd name="connsiteX2-33" fmla="*/ 2129199 w 2529901"/>
                  <a:gd name="connsiteY2-34" fmla="*/ 720614 h 1746510"/>
                  <a:gd name="connsiteX3-35" fmla="*/ 2529861 w 2529901"/>
                  <a:gd name="connsiteY3-36" fmla="*/ 1185090 h 1746510"/>
                  <a:gd name="connsiteX4-37" fmla="*/ 2109634 w 2529901"/>
                  <a:gd name="connsiteY4-38" fmla="*/ 1734744 h 1746510"/>
                  <a:gd name="connsiteX5-39" fmla="*/ 1815470 w 2529901"/>
                  <a:gd name="connsiteY5-40" fmla="*/ 1746510 h 1746510"/>
                  <a:gd name="connsiteX6-41" fmla="*/ 563842 w 2529901"/>
                  <a:gd name="connsiteY6-42" fmla="*/ 1722977 h 1746510"/>
                  <a:gd name="connsiteX7-43" fmla="*/ 563832 w 2529901"/>
                  <a:gd name="connsiteY7-44" fmla="*/ 1722978 h 1746510"/>
                  <a:gd name="connsiteX8-45" fmla="*/ 0 w 2529901"/>
                  <a:gd name="connsiteY8-46" fmla="*/ 1159146 h 1746510"/>
                  <a:gd name="connsiteX9-47" fmla="*/ 298654 w 2529901"/>
                  <a:gd name="connsiteY9-48" fmla="*/ 664433 h 1746510"/>
                  <a:gd name="connsiteX10-49" fmla="*/ 297788 w 2529901"/>
                  <a:gd name="connsiteY10-50" fmla="*/ 655847 h 1746510"/>
                  <a:gd name="connsiteX11-51" fmla="*/ 712726 w 2529901"/>
                  <a:gd name="connsiteY11-52" fmla="*/ 240909 h 1746510"/>
                  <a:gd name="connsiteX12-53" fmla="*/ 1025124 w 2529901"/>
                  <a:gd name="connsiteY12-54" fmla="*/ 385461 h 1746510"/>
                  <a:gd name="connsiteX13-55" fmla="*/ 1568924 w 2529901"/>
                  <a:gd name="connsiteY13-56" fmla="*/ 0 h 1746510"/>
                  <a:gd name="connsiteX0-57" fmla="*/ 1568924 w 2529901"/>
                  <a:gd name="connsiteY0-58" fmla="*/ 0 h 1746510"/>
                  <a:gd name="connsiteX1-59" fmla="*/ 2148497 w 2529901"/>
                  <a:gd name="connsiteY1-60" fmla="*/ 579573 h 1746510"/>
                  <a:gd name="connsiteX2-61" fmla="*/ 2129199 w 2529901"/>
                  <a:gd name="connsiteY2-62" fmla="*/ 720614 h 1746510"/>
                  <a:gd name="connsiteX3-63" fmla="*/ 2529861 w 2529901"/>
                  <a:gd name="connsiteY3-64" fmla="*/ 1185090 h 1746510"/>
                  <a:gd name="connsiteX4-65" fmla="*/ 2109634 w 2529901"/>
                  <a:gd name="connsiteY4-66" fmla="*/ 1734744 h 1746510"/>
                  <a:gd name="connsiteX5-67" fmla="*/ 1833120 w 2529901"/>
                  <a:gd name="connsiteY5-68" fmla="*/ 1746510 h 1746510"/>
                  <a:gd name="connsiteX6-69" fmla="*/ 563842 w 2529901"/>
                  <a:gd name="connsiteY6-70" fmla="*/ 1722977 h 1746510"/>
                  <a:gd name="connsiteX7-71" fmla="*/ 563832 w 2529901"/>
                  <a:gd name="connsiteY7-72" fmla="*/ 1722978 h 1746510"/>
                  <a:gd name="connsiteX8-73" fmla="*/ 0 w 2529901"/>
                  <a:gd name="connsiteY8-74" fmla="*/ 1159146 h 1746510"/>
                  <a:gd name="connsiteX9-75" fmla="*/ 298654 w 2529901"/>
                  <a:gd name="connsiteY9-76" fmla="*/ 664433 h 1746510"/>
                  <a:gd name="connsiteX10-77" fmla="*/ 297788 w 2529901"/>
                  <a:gd name="connsiteY10-78" fmla="*/ 655847 h 1746510"/>
                  <a:gd name="connsiteX11-79" fmla="*/ 712726 w 2529901"/>
                  <a:gd name="connsiteY11-80" fmla="*/ 240909 h 1746510"/>
                  <a:gd name="connsiteX12-81" fmla="*/ 1025124 w 2529901"/>
                  <a:gd name="connsiteY12-82" fmla="*/ 385461 h 1746510"/>
                  <a:gd name="connsiteX13-83" fmla="*/ 1568924 w 2529901"/>
                  <a:gd name="connsiteY13-84" fmla="*/ 0 h 1746510"/>
                  <a:gd name="connsiteX0-85" fmla="*/ 1568924 w 2529901"/>
                  <a:gd name="connsiteY0-86" fmla="*/ 0 h 1740627"/>
                  <a:gd name="connsiteX1-87" fmla="*/ 2148497 w 2529901"/>
                  <a:gd name="connsiteY1-88" fmla="*/ 579573 h 1740627"/>
                  <a:gd name="connsiteX2-89" fmla="*/ 2129199 w 2529901"/>
                  <a:gd name="connsiteY2-90" fmla="*/ 720614 h 1740627"/>
                  <a:gd name="connsiteX3-91" fmla="*/ 2529861 w 2529901"/>
                  <a:gd name="connsiteY3-92" fmla="*/ 1185090 h 1740627"/>
                  <a:gd name="connsiteX4-93" fmla="*/ 2109634 w 2529901"/>
                  <a:gd name="connsiteY4-94" fmla="*/ 1734744 h 1740627"/>
                  <a:gd name="connsiteX5-95" fmla="*/ 2109625 w 2529901"/>
                  <a:gd name="connsiteY5-96" fmla="*/ 1740627 h 1740627"/>
                  <a:gd name="connsiteX6-97" fmla="*/ 563842 w 2529901"/>
                  <a:gd name="connsiteY6-98" fmla="*/ 1722977 h 1740627"/>
                  <a:gd name="connsiteX7-99" fmla="*/ 563832 w 2529901"/>
                  <a:gd name="connsiteY7-100" fmla="*/ 1722978 h 1740627"/>
                  <a:gd name="connsiteX8-101" fmla="*/ 0 w 2529901"/>
                  <a:gd name="connsiteY8-102" fmla="*/ 1159146 h 1740627"/>
                  <a:gd name="connsiteX9-103" fmla="*/ 298654 w 2529901"/>
                  <a:gd name="connsiteY9-104" fmla="*/ 664433 h 1740627"/>
                  <a:gd name="connsiteX10-105" fmla="*/ 297788 w 2529901"/>
                  <a:gd name="connsiteY10-106" fmla="*/ 655847 h 1740627"/>
                  <a:gd name="connsiteX11-107" fmla="*/ 712726 w 2529901"/>
                  <a:gd name="connsiteY11-108" fmla="*/ 240909 h 1740627"/>
                  <a:gd name="connsiteX12-109" fmla="*/ 1025124 w 2529901"/>
                  <a:gd name="connsiteY12-110" fmla="*/ 385461 h 1740627"/>
                  <a:gd name="connsiteX13-111" fmla="*/ 1568924 w 2529901"/>
                  <a:gd name="connsiteY13-112" fmla="*/ 0 h 1740627"/>
                  <a:gd name="connsiteX0-113" fmla="*/ 1568924 w 2529897"/>
                  <a:gd name="connsiteY0-114" fmla="*/ 0 h 1740627"/>
                  <a:gd name="connsiteX1-115" fmla="*/ 2148497 w 2529897"/>
                  <a:gd name="connsiteY1-116" fmla="*/ 579573 h 1740627"/>
                  <a:gd name="connsiteX2-117" fmla="*/ 2129199 w 2529897"/>
                  <a:gd name="connsiteY2-118" fmla="*/ 720614 h 1740627"/>
                  <a:gd name="connsiteX3-119" fmla="*/ 2529861 w 2529897"/>
                  <a:gd name="connsiteY3-120" fmla="*/ 1185090 h 1740627"/>
                  <a:gd name="connsiteX4-121" fmla="*/ 2109634 w 2529897"/>
                  <a:gd name="connsiteY4-122" fmla="*/ 1734744 h 1740627"/>
                  <a:gd name="connsiteX5-123" fmla="*/ 2109625 w 2529897"/>
                  <a:gd name="connsiteY5-124" fmla="*/ 1740627 h 1740627"/>
                  <a:gd name="connsiteX6-125" fmla="*/ 563842 w 2529897"/>
                  <a:gd name="connsiteY6-126" fmla="*/ 1722977 h 1740627"/>
                  <a:gd name="connsiteX7-127" fmla="*/ 563832 w 2529897"/>
                  <a:gd name="connsiteY7-128" fmla="*/ 1722978 h 1740627"/>
                  <a:gd name="connsiteX8-129" fmla="*/ 0 w 2529897"/>
                  <a:gd name="connsiteY8-130" fmla="*/ 1159146 h 1740627"/>
                  <a:gd name="connsiteX9-131" fmla="*/ 298654 w 2529897"/>
                  <a:gd name="connsiteY9-132" fmla="*/ 664433 h 1740627"/>
                  <a:gd name="connsiteX10-133" fmla="*/ 297788 w 2529897"/>
                  <a:gd name="connsiteY10-134" fmla="*/ 655847 h 1740627"/>
                  <a:gd name="connsiteX11-135" fmla="*/ 712726 w 2529897"/>
                  <a:gd name="connsiteY11-136" fmla="*/ 240909 h 1740627"/>
                  <a:gd name="connsiteX12-137" fmla="*/ 1025124 w 2529897"/>
                  <a:gd name="connsiteY12-138" fmla="*/ 385461 h 1740627"/>
                  <a:gd name="connsiteX13-139" fmla="*/ 1568924 w 2529897"/>
                  <a:gd name="connsiteY13-140" fmla="*/ 0 h 1740627"/>
                  <a:gd name="connsiteX0-141" fmla="*/ 1568924 w 2529876"/>
                  <a:gd name="connsiteY0-142" fmla="*/ 0 h 1771910"/>
                  <a:gd name="connsiteX1-143" fmla="*/ 2148497 w 2529876"/>
                  <a:gd name="connsiteY1-144" fmla="*/ 579573 h 1771910"/>
                  <a:gd name="connsiteX2-145" fmla="*/ 2129199 w 2529876"/>
                  <a:gd name="connsiteY2-146" fmla="*/ 720614 h 1771910"/>
                  <a:gd name="connsiteX3-147" fmla="*/ 2529861 w 2529876"/>
                  <a:gd name="connsiteY3-148" fmla="*/ 1185090 h 1771910"/>
                  <a:gd name="connsiteX4-149" fmla="*/ 2109634 w 2529876"/>
                  <a:gd name="connsiteY4-150" fmla="*/ 1734744 h 1771910"/>
                  <a:gd name="connsiteX5-151" fmla="*/ 2006939 w 2529876"/>
                  <a:gd name="connsiteY5-152" fmla="*/ 1723513 h 1771910"/>
                  <a:gd name="connsiteX6-153" fmla="*/ 563842 w 2529876"/>
                  <a:gd name="connsiteY6-154" fmla="*/ 1722977 h 1771910"/>
                  <a:gd name="connsiteX7-155" fmla="*/ 563832 w 2529876"/>
                  <a:gd name="connsiteY7-156" fmla="*/ 1722978 h 1771910"/>
                  <a:gd name="connsiteX8-157" fmla="*/ 0 w 2529876"/>
                  <a:gd name="connsiteY8-158" fmla="*/ 1159146 h 1771910"/>
                  <a:gd name="connsiteX9-159" fmla="*/ 298654 w 2529876"/>
                  <a:gd name="connsiteY9-160" fmla="*/ 664433 h 1771910"/>
                  <a:gd name="connsiteX10-161" fmla="*/ 297788 w 2529876"/>
                  <a:gd name="connsiteY10-162" fmla="*/ 655847 h 1771910"/>
                  <a:gd name="connsiteX11-163" fmla="*/ 712726 w 2529876"/>
                  <a:gd name="connsiteY11-164" fmla="*/ 240909 h 1771910"/>
                  <a:gd name="connsiteX12-165" fmla="*/ 1025124 w 2529876"/>
                  <a:gd name="connsiteY12-166" fmla="*/ 385461 h 1771910"/>
                  <a:gd name="connsiteX13-167" fmla="*/ 1568924 w 2529876"/>
                  <a:gd name="connsiteY13-168" fmla="*/ 0 h 1771910"/>
                  <a:gd name="connsiteX0-169" fmla="*/ 1568924 w 2530344"/>
                  <a:gd name="connsiteY0-170" fmla="*/ 0 h 1785519"/>
                  <a:gd name="connsiteX1-171" fmla="*/ 2148497 w 2530344"/>
                  <a:gd name="connsiteY1-172" fmla="*/ 579573 h 1785519"/>
                  <a:gd name="connsiteX2-173" fmla="*/ 2129199 w 2530344"/>
                  <a:gd name="connsiteY2-174" fmla="*/ 720614 h 1785519"/>
                  <a:gd name="connsiteX3-175" fmla="*/ 2529861 w 2530344"/>
                  <a:gd name="connsiteY3-176" fmla="*/ 1185090 h 1785519"/>
                  <a:gd name="connsiteX4-177" fmla="*/ 2206616 w 2530344"/>
                  <a:gd name="connsiteY4-178" fmla="*/ 1751858 h 1785519"/>
                  <a:gd name="connsiteX5-179" fmla="*/ 2006939 w 2530344"/>
                  <a:gd name="connsiteY5-180" fmla="*/ 1723513 h 1785519"/>
                  <a:gd name="connsiteX6-181" fmla="*/ 563842 w 2530344"/>
                  <a:gd name="connsiteY6-182" fmla="*/ 1722977 h 1785519"/>
                  <a:gd name="connsiteX7-183" fmla="*/ 563832 w 2530344"/>
                  <a:gd name="connsiteY7-184" fmla="*/ 1722978 h 1785519"/>
                  <a:gd name="connsiteX8-185" fmla="*/ 0 w 2530344"/>
                  <a:gd name="connsiteY8-186" fmla="*/ 1159146 h 1785519"/>
                  <a:gd name="connsiteX9-187" fmla="*/ 298654 w 2530344"/>
                  <a:gd name="connsiteY9-188" fmla="*/ 664433 h 1785519"/>
                  <a:gd name="connsiteX10-189" fmla="*/ 297788 w 2530344"/>
                  <a:gd name="connsiteY10-190" fmla="*/ 655847 h 1785519"/>
                  <a:gd name="connsiteX11-191" fmla="*/ 712726 w 2530344"/>
                  <a:gd name="connsiteY11-192" fmla="*/ 240909 h 1785519"/>
                  <a:gd name="connsiteX12-193" fmla="*/ 1025124 w 2530344"/>
                  <a:gd name="connsiteY12-194" fmla="*/ 385461 h 1785519"/>
                  <a:gd name="connsiteX13-195" fmla="*/ 1568924 w 2530344"/>
                  <a:gd name="connsiteY13-196" fmla="*/ 0 h 1785519"/>
                  <a:gd name="connsiteX0-197" fmla="*/ 1568924 w 2531971"/>
                  <a:gd name="connsiteY0-198" fmla="*/ 0 h 1731597"/>
                  <a:gd name="connsiteX1-199" fmla="*/ 2148497 w 2531971"/>
                  <a:gd name="connsiteY1-200" fmla="*/ 579573 h 1731597"/>
                  <a:gd name="connsiteX2-201" fmla="*/ 2129199 w 2531971"/>
                  <a:gd name="connsiteY2-202" fmla="*/ 720614 h 1731597"/>
                  <a:gd name="connsiteX3-203" fmla="*/ 2529861 w 2531971"/>
                  <a:gd name="connsiteY3-204" fmla="*/ 1185090 h 1731597"/>
                  <a:gd name="connsiteX4-205" fmla="*/ 2275074 w 2531971"/>
                  <a:gd name="connsiteY4-206" fmla="*/ 1671990 h 1731597"/>
                  <a:gd name="connsiteX5-207" fmla="*/ 2006939 w 2531971"/>
                  <a:gd name="connsiteY5-208" fmla="*/ 1723513 h 1731597"/>
                  <a:gd name="connsiteX6-209" fmla="*/ 563842 w 2531971"/>
                  <a:gd name="connsiteY6-210" fmla="*/ 1722977 h 1731597"/>
                  <a:gd name="connsiteX7-211" fmla="*/ 563832 w 2531971"/>
                  <a:gd name="connsiteY7-212" fmla="*/ 1722978 h 1731597"/>
                  <a:gd name="connsiteX8-213" fmla="*/ 0 w 2531971"/>
                  <a:gd name="connsiteY8-214" fmla="*/ 1159146 h 1731597"/>
                  <a:gd name="connsiteX9-215" fmla="*/ 298654 w 2531971"/>
                  <a:gd name="connsiteY9-216" fmla="*/ 664433 h 1731597"/>
                  <a:gd name="connsiteX10-217" fmla="*/ 297788 w 2531971"/>
                  <a:gd name="connsiteY10-218" fmla="*/ 655847 h 1731597"/>
                  <a:gd name="connsiteX11-219" fmla="*/ 712726 w 2531971"/>
                  <a:gd name="connsiteY11-220" fmla="*/ 240909 h 1731597"/>
                  <a:gd name="connsiteX12-221" fmla="*/ 1025124 w 2531971"/>
                  <a:gd name="connsiteY12-222" fmla="*/ 385461 h 1731597"/>
                  <a:gd name="connsiteX13-223" fmla="*/ 1568924 w 2531971"/>
                  <a:gd name="connsiteY13-224" fmla="*/ 0 h 1731597"/>
                  <a:gd name="connsiteX0-225" fmla="*/ 1568924 w 2532220"/>
                  <a:gd name="connsiteY0-226" fmla="*/ 0 h 1729698"/>
                  <a:gd name="connsiteX1-227" fmla="*/ 2148497 w 2532220"/>
                  <a:gd name="connsiteY1-228" fmla="*/ 579573 h 1729698"/>
                  <a:gd name="connsiteX2-229" fmla="*/ 2129199 w 2532220"/>
                  <a:gd name="connsiteY2-230" fmla="*/ 720614 h 1729698"/>
                  <a:gd name="connsiteX3-231" fmla="*/ 2529861 w 2532220"/>
                  <a:gd name="connsiteY3-232" fmla="*/ 1185090 h 1729698"/>
                  <a:gd name="connsiteX4-233" fmla="*/ 2275074 w 2532220"/>
                  <a:gd name="connsiteY4-234" fmla="*/ 1671990 h 1729698"/>
                  <a:gd name="connsiteX5-235" fmla="*/ 2006939 w 2532220"/>
                  <a:gd name="connsiteY5-236" fmla="*/ 1723513 h 1729698"/>
                  <a:gd name="connsiteX6-237" fmla="*/ 563842 w 2532220"/>
                  <a:gd name="connsiteY6-238" fmla="*/ 1722977 h 1729698"/>
                  <a:gd name="connsiteX7-239" fmla="*/ 563832 w 2532220"/>
                  <a:gd name="connsiteY7-240" fmla="*/ 1722978 h 1729698"/>
                  <a:gd name="connsiteX8-241" fmla="*/ 0 w 2532220"/>
                  <a:gd name="connsiteY8-242" fmla="*/ 1159146 h 1729698"/>
                  <a:gd name="connsiteX9-243" fmla="*/ 298654 w 2532220"/>
                  <a:gd name="connsiteY9-244" fmla="*/ 664433 h 1729698"/>
                  <a:gd name="connsiteX10-245" fmla="*/ 297788 w 2532220"/>
                  <a:gd name="connsiteY10-246" fmla="*/ 655847 h 1729698"/>
                  <a:gd name="connsiteX11-247" fmla="*/ 712726 w 2532220"/>
                  <a:gd name="connsiteY11-248" fmla="*/ 240909 h 1729698"/>
                  <a:gd name="connsiteX12-249" fmla="*/ 1025124 w 2532220"/>
                  <a:gd name="connsiteY12-250" fmla="*/ 385461 h 1729698"/>
                  <a:gd name="connsiteX13-251" fmla="*/ 1568924 w 2532220"/>
                  <a:gd name="connsiteY13-252" fmla="*/ 0 h 1729698"/>
                  <a:gd name="connsiteX0-253" fmla="*/ 1568924 w 2534386"/>
                  <a:gd name="connsiteY0-254" fmla="*/ 0 h 1724739"/>
                  <a:gd name="connsiteX1-255" fmla="*/ 2148497 w 2534386"/>
                  <a:gd name="connsiteY1-256" fmla="*/ 579573 h 1724739"/>
                  <a:gd name="connsiteX2-257" fmla="*/ 2129199 w 2534386"/>
                  <a:gd name="connsiteY2-258" fmla="*/ 720614 h 1724739"/>
                  <a:gd name="connsiteX3-259" fmla="*/ 2529861 w 2534386"/>
                  <a:gd name="connsiteY3-260" fmla="*/ 1185090 h 1724739"/>
                  <a:gd name="connsiteX4-261" fmla="*/ 2275074 w 2534386"/>
                  <a:gd name="connsiteY4-262" fmla="*/ 1671990 h 1724739"/>
                  <a:gd name="connsiteX5-263" fmla="*/ 2006939 w 2534386"/>
                  <a:gd name="connsiteY5-264" fmla="*/ 1723513 h 1724739"/>
                  <a:gd name="connsiteX6-265" fmla="*/ 563842 w 2534386"/>
                  <a:gd name="connsiteY6-266" fmla="*/ 1722977 h 1724739"/>
                  <a:gd name="connsiteX7-267" fmla="*/ 563832 w 2534386"/>
                  <a:gd name="connsiteY7-268" fmla="*/ 1722978 h 1724739"/>
                  <a:gd name="connsiteX8-269" fmla="*/ 0 w 2534386"/>
                  <a:gd name="connsiteY8-270" fmla="*/ 1159146 h 1724739"/>
                  <a:gd name="connsiteX9-271" fmla="*/ 298654 w 2534386"/>
                  <a:gd name="connsiteY9-272" fmla="*/ 664433 h 1724739"/>
                  <a:gd name="connsiteX10-273" fmla="*/ 297788 w 2534386"/>
                  <a:gd name="connsiteY10-274" fmla="*/ 655847 h 1724739"/>
                  <a:gd name="connsiteX11-275" fmla="*/ 712726 w 2534386"/>
                  <a:gd name="connsiteY11-276" fmla="*/ 240909 h 1724739"/>
                  <a:gd name="connsiteX12-277" fmla="*/ 1025124 w 2534386"/>
                  <a:gd name="connsiteY12-278" fmla="*/ 385461 h 1724739"/>
                  <a:gd name="connsiteX13-279" fmla="*/ 1568924 w 2534386"/>
                  <a:gd name="connsiteY13-280" fmla="*/ 0 h 1724739"/>
                  <a:gd name="connsiteX0-281" fmla="*/ 1568924 w 2533901"/>
                  <a:gd name="connsiteY0-282" fmla="*/ 0 h 1732182"/>
                  <a:gd name="connsiteX1-283" fmla="*/ 2148497 w 2533901"/>
                  <a:gd name="connsiteY1-284" fmla="*/ 579573 h 1732182"/>
                  <a:gd name="connsiteX2-285" fmla="*/ 2129199 w 2533901"/>
                  <a:gd name="connsiteY2-286" fmla="*/ 720614 h 1732182"/>
                  <a:gd name="connsiteX3-287" fmla="*/ 2529861 w 2533901"/>
                  <a:gd name="connsiteY3-288" fmla="*/ 1185090 h 1732182"/>
                  <a:gd name="connsiteX4-289" fmla="*/ 2269370 w 2533901"/>
                  <a:gd name="connsiteY4-290" fmla="*/ 1694810 h 1732182"/>
                  <a:gd name="connsiteX5-291" fmla="*/ 2006939 w 2533901"/>
                  <a:gd name="connsiteY5-292" fmla="*/ 1723513 h 1732182"/>
                  <a:gd name="connsiteX6-293" fmla="*/ 563842 w 2533901"/>
                  <a:gd name="connsiteY6-294" fmla="*/ 1722977 h 1732182"/>
                  <a:gd name="connsiteX7-295" fmla="*/ 563832 w 2533901"/>
                  <a:gd name="connsiteY7-296" fmla="*/ 1722978 h 1732182"/>
                  <a:gd name="connsiteX8-297" fmla="*/ 0 w 2533901"/>
                  <a:gd name="connsiteY8-298" fmla="*/ 1159146 h 1732182"/>
                  <a:gd name="connsiteX9-299" fmla="*/ 298654 w 2533901"/>
                  <a:gd name="connsiteY9-300" fmla="*/ 664433 h 1732182"/>
                  <a:gd name="connsiteX10-301" fmla="*/ 297788 w 2533901"/>
                  <a:gd name="connsiteY10-302" fmla="*/ 655847 h 1732182"/>
                  <a:gd name="connsiteX11-303" fmla="*/ 712726 w 2533901"/>
                  <a:gd name="connsiteY11-304" fmla="*/ 240909 h 1732182"/>
                  <a:gd name="connsiteX12-305" fmla="*/ 1025124 w 2533901"/>
                  <a:gd name="connsiteY12-306" fmla="*/ 385461 h 1732182"/>
                  <a:gd name="connsiteX13-307" fmla="*/ 1568924 w 2533901"/>
                  <a:gd name="connsiteY13-308" fmla="*/ 0 h 1732182"/>
                  <a:gd name="connsiteX0-309" fmla="*/ 1568924 w 2533901"/>
                  <a:gd name="connsiteY0-310" fmla="*/ 0 h 1732182"/>
                  <a:gd name="connsiteX1-311" fmla="*/ 2148497 w 2533901"/>
                  <a:gd name="connsiteY1-312" fmla="*/ 579573 h 1732182"/>
                  <a:gd name="connsiteX2-313" fmla="*/ 2129199 w 2533901"/>
                  <a:gd name="connsiteY2-314" fmla="*/ 720614 h 1732182"/>
                  <a:gd name="connsiteX3-315" fmla="*/ 2529861 w 2533901"/>
                  <a:gd name="connsiteY3-316" fmla="*/ 1185090 h 1732182"/>
                  <a:gd name="connsiteX4-317" fmla="*/ 2269370 w 2533901"/>
                  <a:gd name="connsiteY4-318" fmla="*/ 1694810 h 1732182"/>
                  <a:gd name="connsiteX5-319" fmla="*/ 2006939 w 2533901"/>
                  <a:gd name="connsiteY5-320" fmla="*/ 1723513 h 1732182"/>
                  <a:gd name="connsiteX6-321" fmla="*/ 563842 w 2533901"/>
                  <a:gd name="connsiteY6-322" fmla="*/ 1722977 h 1732182"/>
                  <a:gd name="connsiteX7-323" fmla="*/ 563832 w 2533901"/>
                  <a:gd name="connsiteY7-324" fmla="*/ 1722978 h 1732182"/>
                  <a:gd name="connsiteX8-325" fmla="*/ 0 w 2533901"/>
                  <a:gd name="connsiteY8-326" fmla="*/ 1159146 h 1732182"/>
                  <a:gd name="connsiteX9-327" fmla="*/ 298654 w 2533901"/>
                  <a:gd name="connsiteY9-328" fmla="*/ 664433 h 1732182"/>
                  <a:gd name="connsiteX10-329" fmla="*/ 297788 w 2533901"/>
                  <a:gd name="connsiteY10-330" fmla="*/ 655847 h 1732182"/>
                  <a:gd name="connsiteX11-331" fmla="*/ 712726 w 2533901"/>
                  <a:gd name="connsiteY11-332" fmla="*/ 240909 h 1732182"/>
                  <a:gd name="connsiteX12-333" fmla="*/ 1025124 w 2533901"/>
                  <a:gd name="connsiteY12-334" fmla="*/ 385461 h 1732182"/>
                  <a:gd name="connsiteX13-335" fmla="*/ 1568924 w 2533901"/>
                  <a:gd name="connsiteY13-336" fmla="*/ 0 h 1732182"/>
                  <a:gd name="connsiteX0-337" fmla="*/ 1568924 w 2533280"/>
                  <a:gd name="connsiteY0-338" fmla="*/ 0 h 1724739"/>
                  <a:gd name="connsiteX1-339" fmla="*/ 2148497 w 2533280"/>
                  <a:gd name="connsiteY1-340" fmla="*/ 579573 h 1724739"/>
                  <a:gd name="connsiteX2-341" fmla="*/ 2129199 w 2533280"/>
                  <a:gd name="connsiteY2-342" fmla="*/ 720614 h 1724739"/>
                  <a:gd name="connsiteX3-343" fmla="*/ 2529861 w 2533280"/>
                  <a:gd name="connsiteY3-344" fmla="*/ 1185090 h 1724739"/>
                  <a:gd name="connsiteX4-345" fmla="*/ 2269370 w 2533280"/>
                  <a:gd name="connsiteY4-346" fmla="*/ 1694810 h 1724739"/>
                  <a:gd name="connsiteX5-347" fmla="*/ 2006939 w 2533280"/>
                  <a:gd name="connsiteY5-348" fmla="*/ 1723513 h 1724739"/>
                  <a:gd name="connsiteX6-349" fmla="*/ 563842 w 2533280"/>
                  <a:gd name="connsiteY6-350" fmla="*/ 1722977 h 1724739"/>
                  <a:gd name="connsiteX7-351" fmla="*/ 563832 w 2533280"/>
                  <a:gd name="connsiteY7-352" fmla="*/ 1722978 h 1724739"/>
                  <a:gd name="connsiteX8-353" fmla="*/ 0 w 2533280"/>
                  <a:gd name="connsiteY8-354" fmla="*/ 1159146 h 1724739"/>
                  <a:gd name="connsiteX9-355" fmla="*/ 298654 w 2533280"/>
                  <a:gd name="connsiteY9-356" fmla="*/ 664433 h 1724739"/>
                  <a:gd name="connsiteX10-357" fmla="*/ 297788 w 2533280"/>
                  <a:gd name="connsiteY10-358" fmla="*/ 655847 h 1724739"/>
                  <a:gd name="connsiteX11-359" fmla="*/ 712726 w 2533280"/>
                  <a:gd name="connsiteY11-360" fmla="*/ 240909 h 1724739"/>
                  <a:gd name="connsiteX12-361" fmla="*/ 1025124 w 2533280"/>
                  <a:gd name="connsiteY12-362" fmla="*/ 385461 h 1724739"/>
                  <a:gd name="connsiteX13-363" fmla="*/ 1568924 w 2533280"/>
                  <a:gd name="connsiteY13-364" fmla="*/ 0 h 1724739"/>
                  <a:gd name="connsiteX0-365" fmla="*/ 1568924 w 2533181"/>
                  <a:gd name="connsiteY0-366" fmla="*/ 0 h 1724739"/>
                  <a:gd name="connsiteX1-367" fmla="*/ 2148497 w 2533181"/>
                  <a:gd name="connsiteY1-368" fmla="*/ 579573 h 1724739"/>
                  <a:gd name="connsiteX2-369" fmla="*/ 2129199 w 2533181"/>
                  <a:gd name="connsiteY2-370" fmla="*/ 720614 h 1724739"/>
                  <a:gd name="connsiteX3-371" fmla="*/ 2529861 w 2533181"/>
                  <a:gd name="connsiteY3-372" fmla="*/ 1185090 h 1724739"/>
                  <a:gd name="connsiteX4-373" fmla="*/ 2269370 w 2533181"/>
                  <a:gd name="connsiteY4-374" fmla="*/ 1694810 h 1724739"/>
                  <a:gd name="connsiteX5-375" fmla="*/ 2006939 w 2533181"/>
                  <a:gd name="connsiteY5-376" fmla="*/ 1723513 h 1724739"/>
                  <a:gd name="connsiteX6-377" fmla="*/ 563842 w 2533181"/>
                  <a:gd name="connsiteY6-378" fmla="*/ 1722977 h 1724739"/>
                  <a:gd name="connsiteX7-379" fmla="*/ 563832 w 2533181"/>
                  <a:gd name="connsiteY7-380" fmla="*/ 1722978 h 1724739"/>
                  <a:gd name="connsiteX8-381" fmla="*/ 0 w 2533181"/>
                  <a:gd name="connsiteY8-382" fmla="*/ 1159146 h 1724739"/>
                  <a:gd name="connsiteX9-383" fmla="*/ 298654 w 2533181"/>
                  <a:gd name="connsiteY9-384" fmla="*/ 664433 h 1724739"/>
                  <a:gd name="connsiteX10-385" fmla="*/ 297788 w 2533181"/>
                  <a:gd name="connsiteY10-386" fmla="*/ 655847 h 1724739"/>
                  <a:gd name="connsiteX11-387" fmla="*/ 712726 w 2533181"/>
                  <a:gd name="connsiteY11-388" fmla="*/ 240909 h 1724739"/>
                  <a:gd name="connsiteX12-389" fmla="*/ 1025124 w 2533181"/>
                  <a:gd name="connsiteY12-390" fmla="*/ 385461 h 1724739"/>
                  <a:gd name="connsiteX13-391" fmla="*/ 1568924 w 2533181"/>
                  <a:gd name="connsiteY13-392" fmla="*/ 0 h 1724739"/>
                  <a:gd name="connsiteX0-393" fmla="*/ 1568924 w 2535695"/>
                  <a:gd name="connsiteY0-394" fmla="*/ 0 h 1724739"/>
                  <a:gd name="connsiteX1-395" fmla="*/ 2148497 w 2535695"/>
                  <a:gd name="connsiteY1-396" fmla="*/ 579573 h 1724739"/>
                  <a:gd name="connsiteX2-397" fmla="*/ 2129199 w 2535695"/>
                  <a:gd name="connsiteY2-398" fmla="*/ 720614 h 1724739"/>
                  <a:gd name="connsiteX3-399" fmla="*/ 2529861 w 2535695"/>
                  <a:gd name="connsiteY3-400" fmla="*/ 1185090 h 1724739"/>
                  <a:gd name="connsiteX4-401" fmla="*/ 2269370 w 2535695"/>
                  <a:gd name="connsiteY4-402" fmla="*/ 1694810 h 1724739"/>
                  <a:gd name="connsiteX5-403" fmla="*/ 2006939 w 2535695"/>
                  <a:gd name="connsiteY5-404" fmla="*/ 1723513 h 1724739"/>
                  <a:gd name="connsiteX6-405" fmla="*/ 563842 w 2535695"/>
                  <a:gd name="connsiteY6-406" fmla="*/ 1722977 h 1724739"/>
                  <a:gd name="connsiteX7-407" fmla="*/ 563832 w 2535695"/>
                  <a:gd name="connsiteY7-408" fmla="*/ 1722978 h 1724739"/>
                  <a:gd name="connsiteX8-409" fmla="*/ 0 w 2535695"/>
                  <a:gd name="connsiteY8-410" fmla="*/ 1159146 h 1724739"/>
                  <a:gd name="connsiteX9-411" fmla="*/ 298654 w 2535695"/>
                  <a:gd name="connsiteY9-412" fmla="*/ 664433 h 1724739"/>
                  <a:gd name="connsiteX10-413" fmla="*/ 297788 w 2535695"/>
                  <a:gd name="connsiteY10-414" fmla="*/ 655847 h 1724739"/>
                  <a:gd name="connsiteX11-415" fmla="*/ 712726 w 2535695"/>
                  <a:gd name="connsiteY11-416" fmla="*/ 240909 h 1724739"/>
                  <a:gd name="connsiteX12-417" fmla="*/ 1025124 w 2535695"/>
                  <a:gd name="connsiteY12-418" fmla="*/ 385461 h 1724739"/>
                  <a:gd name="connsiteX13-419" fmla="*/ 1568924 w 2535695"/>
                  <a:gd name="connsiteY13-420" fmla="*/ 0 h 1724739"/>
                  <a:gd name="connsiteX0-421" fmla="*/ 1568924 w 2535950"/>
                  <a:gd name="connsiteY0-422" fmla="*/ 0 h 1724739"/>
                  <a:gd name="connsiteX1-423" fmla="*/ 2148497 w 2535950"/>
                  <a:gd name="connsiteY1-424" fmla="*/ 579573 h 1724739"/>
                  <a:gd name="connsiteX2-425" fmla="*/ 2129199 w 2535950"/>
                  <a:gd name="connsiteY2-426" fmla="*/ 720614 h 1724739"/>
                  <a:gd name="connsiteX3-427" fmla="*/ 2529861 w 2535950"/>
                  <a:gd name="connsiteY3-428" fmla="*/ 1185090 h 1724739"/>
                  <a:gd name="connsiteX4-429" fmla="*/ 2269370 w 2535950"/>
                  <a:gd name="connsiteY4-430" fmla="*/ 1694810 h 1724739"/>
                  <a:gd name="connsiteX5-431" fmla="*/ 2006939 w 2535950"/>
                  <a:gd name="connsiteY5-432" fmla="*/ 1723513 h 1724739"/>
                  <a:gd name="connsiteX6-433" fmla="*/ 563842 w 2535950"/>
                  <a:gd name="connsiteY6-434" fmla="*/ 1722977 h 1724739"/>
                  <a:gd name="connsiteX7-435" fmla="*/ 563832 w 2535950"/>
                  <a:gd name="connsiteY7-436" fmla="*/ 1722978 h 1724739"/>
                  <a:gd name="connsiteX8-437" fmla="*/ 0 w 2535950"/>
                  <a:gd name="connsiteY8-438" fmla="*/ 1159146 h 1724739"/>
                  <a:gd name="connsiteX9-439" fmla="*/ 298654 w 2535950"/>
                  <a:gd name="connsiteY9-440" fmla="*/ 664433 h 1724739"/>
                  <a:gd name="connsiteX10-441" fmla="*/ 297788 w 2535950"/>
                  <a:gd name="connsiteY10-442" fmla="*/ 655847 h 1724739"/>
                  <a:gd name="connsiteX11-443" fmla="*/ 712726 w 2535950"/>
                  <a:gd name="connsiteY11-444" fmla="*/ 240909 h 1724739"/>
                  <a:gd name="connsiteX12-445" fmla="*/ 1025124 w 2535950"/>
                  <a:gd name="connsiteY12-446" fmla="*/ 385461 h 1724739"/>
                  <a:gd name="connsiteX13-447" fmla="*/ 1568924 w 2535950"/>
                  <a:gd name="connsiteY13-448" fmla="*/ 0 h 172473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2535950" h="1724739">
                    <a:moveTo>
                      <a:pt x="1568924" y="0"/>
                    </a:moveTo>
                    <a:cubicBezTo>
                      <a:pt x="1889013" y="0"/>
                      <a:pt x="2148497" y="259484"/>
                      <a:pt x="2148497" y="579573"/>
                    </a:cubicBezTo>
                    <a:cubicBezTo>
                      <a:pt x="2148497" y="628390"/>
                      <a:pt x="2142461" y="675798"/>
                      <a:pt x="2129199" y="720614"/>
                    </a:cubicBezTo>
                    <a:cubicBezTo>
                      <a:pt x="2337950" y="784181"/>
                      <a:pt x="2503725" y="1023147"/>
                      <a:pt x="2529861" y="1185090"/>
                    </a:cubicBezTo>
                    <a:cubicBezTo>
                      <a:pt x="2563028" y="1390599"/>
                      <a:pt x="2458528" y="1621203"/>
                      <a:pt x="2269370" y="1694810"/>
                    </a:cubicBezTo>
                    <a:cubicBezTo>
                      <a:pt x="2200511" y="1721605"/>
                      <a:pt x="2006942" y="1723513"/>
                      <a:pt x="2006939" y="1723513"/>
                    </a:cubicBezTo>
                    <a:cubicBezTo>
                      <a:pt x="1491678" y="1717630"/>
                      <a:pt x="1079103" y="1728860"/>
                      <a:pt x="563842" y="1722977"/>
                    </a:cubicBezTo>
                    <a:cubicBezTo>
                      <a:pt x="563839" y="1722978"/>
                      <a:pt x="563836" y="1722978"/>
                      <a:pt x="563832" y="1722978"/>
                    </a:cubicBezTo>
                    <a:cubicBezTo>
                      <a:pt x="252436" y="1722978"/>
                      <a:pt x="0" y="1470542"/>
                      <a:pt x="0" y="1159146"/>
                    </a:cubicBezTo>
                    <a:cubicBezTo>
                      <a:pt x="0" y="944117"/>
                      <a:pt x="120370" y="757203"/>
                      <a:pt x="298654" y="664433"/>
                    </a:cubicBezTo>
                    <a:cubicBezTo>
                      <a:pt x="297817" y="661589"/>
                      <a:pt x="297788" y="658721"/>
                      <a:pt x="297788" y="655847"/>
                    </a:cubicBezTo>
                    <a:cubicBezTo>
                      <a:pt x="297788" y="426683"/>
                      <a:pt x="483562" y="240909"/>
                      <a:pt x="712726" y="240909"/>
                    </a:cubicBezTo>
                    <a:cubicBezTo>
                      <a:pt x="838046" y="240909"/>
                      <a:pt x="950390" y="296465"/>
                      <a:pt x="1025124" y="385461"/>
                    </a:cubicBezTo>
                    <a:cubicBezTo>
                      <a:pt x="1102977" y="160464"/>
                      <a:pt x="1317212" y="0"/>
                      <a:pt x="1568924" y="0"/>
                    </a:cubicBez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" name="Rectangle 29"/>
              <p:cNvSpPr/>
              <p:nvPr/>
            </p:nvSpPr>
            <p:spPr>
              <a:xfrm>
                <a:off x="1834906" y="1862341"/>
                <a:ext cx="936592" cy="249308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36" name="Rectangle 29"/>
              <p:cNvSpPr/>
              <p:nvPr/>
            </p:nvSpPr>
            <p:spPr>
              <a:xfrm>
                <a:off x="2484171" y="2819877"/>
                <a:ext cx="915954" cy="562136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</a:t>
                </a:r>
                <a:r>
                  <a:rPr lang="zh-CN" altLang="en-US" sz="1200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文字</a:t>
                </a:r>
                <a:endParaRPr lang="en-US" altLang="zh-CN" sz="12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</a:t>
                </a:r>
                <a:r>
                  <a:rPr lang="zh-CN" altLang="en-US" sz="1200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37" name="Rectangle 29"/>
              <p:cNvSpPr/>
              <p:nvPr/>
            </p:nvSpPr>
            <p:spPr>
              <a:xfrm>
                <a:off x="539552" y="2848460"/>
                <a:ext cx="915955" cy="563724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</a:t>
                </a:r>
                <a:r>
                  <a:rPr lang="zh-CN" altLang="en-US" sz="1200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文字</a:t>
                </a:r>
                <a:endParaRPr lang="en-US" altLang="zh-CN" sz="12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</a:t>
                </a:r>
                <a:r>
                  <a:rPr lang="zh-CN" altLang="en-US" sz="1200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7" name="Freeform 33"/>
            <p:cNvSpPr/>
            <p:nvPr/>
          </p:nvSpPr>
          <p:spPr bwMode="white">
            <a:xfrm>
              <a:off x="871328" y="2375250"/>
              <a:ext cx="2119236" cy="487503"/>
            </a:xfrm>
            <a:custGeom>
              <a:avLst/>
              <a:gdLst>
                <a:gd name="connsiteX0" fmla="*/ 0 w 2358998"/>
                <a:gd name="connsiteY0" fmla="*/ 0 h 514830"/>
                <a:gd name="connsiteX1" fmla="*/ 1214077 w 2358998"/>
                <a:gd name="connsiteY1" fmla="*/ 514830 h 514830"/>
                <a:gd name="connsiteX2" fmla="*/ 2358998 w 2358998"/>
                <a:gd name="connsiteY2" fmla="*/ 92208 h 514830"/>
                <a:gd name="connsiteX3" fmla="*/ 2343630 w 2358998"/>
                <a:gd name="connsiteY3" fmla="*/ 46104 h 514830"/>
                <a:gd name="connsiteX4" fmla="*/ 1229445 w 2358998"/>
                <a:gd name="connsiteY4" fmla="*/ 453358 h 514830"/>
                <a:gd name="connsiteX5" fmla="*/ 0 w 2358998"/>
                <a:gd name="connsiteY5" fmla="*/ 0 h 514830"/>
                <a:gd name="connsiteX0-1" fmla="*/ 0 w 2358998"/>
                <a:gd name="connsiteY0-2" fmla="*/ 0 h 514830"/>
                <a:gd name="connsiteX1-3" fmla="*/ 1214077 w 2358998"/>
                <a:gd name="connsiteY1-4" fmla="*/ 514830 h 514830"/>
                <a:gd name="connsiteX2-5" fmla="*/ 2358998 w 2358998"/>
                <a:gd name="connsiteY2-6" fmla="*/ 92208 h 514830"/>
                <a:gd name="connsiteX3-7" fmla="*/ 2343630 w 2358998"/>
                <a:gd name="connsiteY3-8" fmla="*/ 46104 h 514830"/>
                <a:gd name="connsiteX4-9" fmla="*/ 1229445 w 2358998"/>
                <a:gd name="connsiteY4-10" fmla="*/ 453358 h 514830"/>
                <a:gd name="connsiteX5-11" fmla="*/ 614089 w 2358998"/>
                <a:gd name="connsiteY5-12" fmla="*/ 222837 h 514830"/>
                <a:gd name="connsiteX6" fmla="*/ 0 w 2358998"/>
                <a:gd name="connsiteY6" fmla="*/ 0 h 514830"/>
                <a:gd name="connsiteX0-13" fmla="*/ 0 w 2358998"/>
                <a:gd name="connsiteY0-14" fmla="*/ 46104 h 560934"/>
                <a:gd name="connsiteX1-15" fmla="*/ 1214077 w 2358998"/>
                <a:gd name="connsiteY1-16" fmla="*/ 560934 h 560934"/>
                <a:gd name="connsiteX2-17" fmla="*/ 2358998 w 2358998"/>
                <a:gd name="connsiteY2-18" fmla="*/ 138312 h 560934"/>
                <a:gd name="connsiteX3-19" fmla="*/ 2343630 w 2358998"/>
                <a:gd name="connsiteY3-20" fmla="*/ 92208 h 560934"/>
                <a:gd name="connsiteX4-21" fmla="*/ 1229445 w 2358998"/>
                <a:gd name="connsiteY4-22" fmla="*/ 499462 h 560934"/>
                <a:gd name="connsiteX5-23" fmla="*/ 14979 w 2358998"/>
                <a:gd name="connsiteY5-24" fmla="*/ 0 h 560934"/>
                <a:gd name="connsiteX6-25" fmla="*/ 0 w 2358998"/>
                <a:gd name="connsiteY6-26" fmla="*/ 46104 h 560934"/>
                <a:gd name="connsiteX0-27" fmla="*/ 0 w 2372923"/>
                <a:gd name="connsiteY0-28" fmla="*/ 46104 h 560934"/>
                <a:gd name="connsiteX1-29" fmla="*/ 1214077 w 2372923"/>
                <a:gd name="connsiteY1-30" fmla="*/ 560934 h 560934"/>
                <a:gd name="connsiteX2-31" fmla="*/ 2372923 w 2372923"/>
                <a:gd name="connsiteY2-32" fmla="*/ 138312 h 560934"/>
                <a:gd name="connsiteX3-33" fmla="*/ 2343630 w 2372923"/>
                <a:gd name="connsiteY3-34" fmla="*/ 92208 h 560934"/>
                <a:gd name="connsiteX4-35" fmla="*/ 1229445 w 2372923"/>
                <a:gd name="connsiteY4-36" fmla="*/ 499462 h 560934"/>
                <a:gd name="connsiteX5-37" fmla="*/ 14979 w 2372923"/>
                <a:gd name="connsiteY5-38" fmla="*/ 0 h 560934"/>
                <a:gd name="connsiteX6-39" fmla="*/ 0 w 2372923"/>
                <a:gd name="connsiteY6-40" fmla="*/ 46104 h 560934"/>
                <a:gd name="connsiteX0-41" fmla="*/ 0 w 2372923"/>
                <a:gd name="connsiteY0-42" fmla="*/ 46104 h 563315"/>
                <a:gd name="connsiteX1-43" fmla="*/ 1228002 w 2372923"/>
                <a:gd name="connsiteY1-44" fmla="*/ 563315 h 563315"/>
                <a:gd name="connsiteX2-45" fmla="*/ 2372923 w 2372923"/>
                <a:gd name="connsiteY2-46" fmla="*/ 138312 h 563315"/>
                <a:gd name="connsiteX3-47" fmla="*/ 2343630 w 2372923"/>
                <a:gd name="connsiteY3-48" fmla="*/ 92208 h 563315"/>
                <a:gd name="connsiteX4-49" fmla="*/ 1229445 w 2372923"/>
                <a:gd name="connsiteY4-50" fmla="*/ 499462 h 563315"/>
                <a:gd name="connsiteX5-51" fmla="*/ 14979 w 2372923"/>
                <a:gd name="connsiteY5-52" fmla="*/ 0 h 563315"/>
                <a:gd name="connsiteX6-53" fmla="*/ 0 w 2372923"/>
                <a:gd name="connsiteY6-54" fmla="*/ 46104 h 563315"/>
                <a:gd name="connsiteX0-55" fmla="*/ 43204 w 2357944"/>
                <a:gd name="connsiteY0-56" fmla="*/ 70689 h 563315"/>
                <a:gd name="connsiteX1-57" fmla="*/ 1213023 w 2357944"/>
                <a:gd name="connsiteY1-58" fmla="*/ 563315 h 563315"/>
                <a:gd name="connsiteX2-59" fmla="*/ 2357944 w 2357944"/>
                <a:gd name="connsiteY2-60" fmla="*/ 138312 h 563315"/>
                <a:gd name="connsiteX3-61" fmla="*/ 2328651 w 2357944"/>
                <a:gd name="connsiteY3-62" fmla="*/ 92208 h 563315"/>
                <a:gd name="connsiteX4-63" fmla="*/ 1214466 w 2357944"/>
                <a:gd name="connsiteY4-64" fmla="*/ 499462 h 563315"/>
                <a:gd name="connsiteX5-65" fmla="*/ 0 w 2357944"/>
                <a:gd name="connsiteY5-66" fmla="*/ 0 h 563315"/>
                <a:gd name="connsiteX6-67" fmla="*/ 43204 w 2357944"/>
                <a:gd name="connsiteY6-68" fmla="*/ 70689 h 563315"/>
                <a:gd name="connsiteX0-69" fmla="*/ 0 w 2314740"/>
                <a:gd name="connsiteY0-70" fmla="*/ 46103 h 538729"/>
                <a:gd name="connsiteX1-71" fmla="*/ 1169819 w 2314740"/>
                <a:gd name="connsiteY1-72" fmla="*/ 538729 h 538729"/>
                <a:gd name="connsiteX2-73" fmla="*/ 2314740 w 2314740"/>
                <a:gd name="connsiteY2-74" fmla="*/ 113726 h 538729"/>
                <a:gd name="connsiteX3-75" fmla="*/ 2285447 w 2314740"/>
                <a:gd name="connsiteY3-76" fmla="*/ 67622 h 538729"/>
                <a:gd name="connsiteX4-77" fmla="*/ 1171262 w 2314740"/>
                <a:gd name="connsiteY4-78" fmla="*/ 474876 h 538729"/>
                <a:gd name="connsiteX5-79" fmla="*/ 14979 w 2314740"/>
                <a:gd name="connsiteY5-80" fmla="*/ 0 h 538729"/>
                <a:gd name="connsiteX6-81" fmla="*/ 0 w 2314740"/>
                <a:gd name="connsiteY6-82" fmla="*/ 46103 h 538729"/>
                <a:gd name="connsiteX0-83" fmla="*/ 0 w 2314740"/>
                <a:gd name="connsiteY0-84" fmla="*/ 46103 h 538729"/>
                <a:gd name="connsiteX1-85" fmla="*/ 1169819 w 2314740"/>
                <a:gd name="connsiteY1-86" fmla="*/ 538729 h 538729"/>
                <a:gd name="connsiteX2-87" fmla="*/ 2314740 w 2314740"/>
                <a:gd name="connsiteY2-88" fmla="*/ 113726 h 538729"/>
                <a:gd name="connsiteX3-89" fmla="*/ 2237532 w 2314740"/>
                <a:gd name="connsiteY3-90" fmla="*/ 88695 h 538729"/>
                <a:gd name="connsiteX4-91" fmla="*/ 1171262 w 2314740"/>
                <a:gd name="connsiteY4-92" fmla="*/ 474876 h 538729"/>
                <a:gd name="connsiteX5-93" fmla="*/ 14979 w 2314740"/>
                <a:gd name="connsiteY5-94" fmla="*/ 0 h 538729"/>
                <a:gd name="connsiteX6-95" fmla="*/ 0 w 2314740"/>
                <a:gd name="connsiteY6-96" fmla="*/ 46103 h 538729"/>
                <a:gd name="connsiteX0-97" fmla="*/ 0 w 2283937"/>
                <a:gd name="connsiteY0-98" fmla="*/ 46103 h 538729"/>
                <a:gd name="connsiteX1-99" fmla="*/ 1169819 w 2283937"/>
                <a:gd name="connsiteY1-100" fmla="*/ 538729 h 538729"/>
                <a:gd name="connsiteX2-101" fmla="*/ 2283937 w 2283937"/>
                <a:gd name="connsiteY2-102" fmla="*/ 124262 h 538729"/>
                <a:gd name="connsiteX3-103" fmla="*/ 2237532 w 2283937"/>
                <a:gd name="connsiteY3-104" fmla="*/ 88695 h 538729"/>
                <a:gd name="connsiteX4-105" fmla="*/ 1171262 w 2283937"/>
                <a:gd name="connsiteY4-106" fmla="*/ 474876 h 538729"/>
                <a:gd name="connsiteX5-107" fmla="*/ 14979 w 2283937"/>
                <a:gd name="connsiteY5-108" fmla="*/ 0 h 538729"/>
                <a:gd name="connsiteX6-109" fmla="*/ 0 w 2283937"/>
                <a:gd name="connsiteY6-110" fmla="*/ 46103 h 53872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25" y="connsiteY6-26"/>
                </a:cxn>
              </a:cxnLst>
              <a:rect l="l" t="t" r="r" b="b"/>
              <a:pathLst>
                <a:path w="2283937" h="538729">
                  <a:moveTo>
                    <a:pt x="0" y="46103"/>
                  </a:moveTo>
                  <a:lnTo>
                    <a:pt x="1169819" y="538729"/>
                  </a:lnTo>
                  <a:lnTo>
                    <a:pt x="2283937" y="124262"/>
                  </a:lnTo>
                  <a:lnTo>
                    <a:pt x="2237532" y="88695"/>
                  </a:lnTo>
                  <a:lnTo>
                    <a:pt x="1171262" y="474876"/>
                  </a:lnTo>
                  <a:lnTo>
                    <a:pt x="14979" y="0"/>
                  </a:lnTo>
                  <a:lnTo>
                    <a:pt x="0" y="46103"/>
                  </a:lnTo>
                  <a:close/>
                </a:path>
              </a:pathLst>
            </a:custGeom>
            <a:solidFill>
              <a:srgbClr val="40BDB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Ins="45720" bIns="91440" anchor="b"/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1545">
                <a:defRPr/>
              </a:pPr>
              <a:endParaRPr lang="en-US" spc="-5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1560" name="组合 1"/>
            <p:cNvGrpSpPr/>
            <p:nvPr/>
          </p:nvGrpSpPr>
          <p:grpSpPr bwMode="auto">
            <a:xfrm>
              <a:off x="1302247" y="2016405"/>
              <a:ext cx="1270818" cy="1581570"/>
              <a:chOff x="1302247" y="2016405"/>
              <a:chExt cx="1270818" cy="1581570"/>
            </a:xfrm>
          </p:grpSpPr>
          <p:sp>
            <p:nvSpPr>
              <p:cNvPr id="18" name="Rectangle 34"/>
              <p:cNvSpPr/>
              <p:nvPr/>
            </p:nvSpPr>
            <p:spPr bwMode="auto">
              <a:xfrm>
                <a:off x="1920628" y="2819877"/>
                <a:ext cx="57148" cy="778098"/>
              </a:xfrm>
              <a:prstGeom prst="rect">
                <a:avLst/>
              </a:prstGeom>
              <a:solidFill>
                <a:srgbClr val="40BDB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Ins="45720" bIns="91440" anchor="b"/>
              <a:lstStyle>
                <a:lvl1pPr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455930" indent="-28575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9131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3703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18275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2847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7419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1991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6563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altLang="zh-CN" sz="1800" smtClean="0">
                  <a:solidFill>
                    <a:prstClr val="black"/>
                  </a:solidFill>
                  <a:cs typeface="Segoe UI" panose="020B0502040204020203" pitchFamily="34" charset="0"/>
                </a:endParaRPr>
              </a:p>
            </p:txBody>
          </p:sp>
          <p:pic>
            <p:nvPicPr>
              <p:cNvPr id="21562" name="Picture 32"/>
              <p:cNvPicPr>
                <a:picLocks noChangeAspect="1" noChangeArrowheads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2247" y="2016405"/>
                <a:ext cx="1270818" cy="13559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3" name="Freeform 24"/>
              <p:cNvSpPr/>
              <p:nvPr/>
            </p:nvSpPr>
            <p:spPr bwMode="auto">
              <a:xfrm>
                <a:off x="2074611" y="3250213"/>
                <a:ext cx="258753" cy="125448"/>
              </a:xfrm>
              <a:custGeom>
                <a:avLst/>
                <a:gdLst>
                  <a:gd name="connsiteX0" fmla="*/ 0 w 285750"/>
                  <a:gd name="connsiteY0" fmla="*/ 0 h 138113"/>
                  <a:gd name="connsiteX1" fmla="*/ 33338 w 285750"/>
                  <a:gd name="connsiteY1" fmla="*/ 138113 h 138113"/>
                  <a:gd name="connsiteX2" fmla="*/ 285750 w 285750"/>
                  <a:gd name="connsiteY2" fmla="*/ 107157 h 138113"/>
                  <a:gd name="connsiteX3" fmla="*/ 50007 w 285750"/>
                  <a:gd name="connsiteY3" fmla="*/ 54769 h 138113"/>
                  <a:gd name="connsiteX4" fmla="*/ 0 w 285750"/>
                  <a:gd name="connsiteY4" fmla="*/ 0 h 138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0" h="138113">
                    <a:moveTo>
                      <a:pt x="0" y="0"/>
                    </a:moveTo>
                    <a:lnTo>
                      <a:pt x="33338" y="138113"/>
                    </a:lnTo>
                    <a:lnTo>
                      <a:pt x="285750" y="107157"/>
                    </a:lnTo>
                    <a:lnTo>
                      <a:pt x="50007" y="547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34" tIns="46616" rIns="46616" bIns="93234" anchor="b"/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defRPr/>
                </a:pPr>
                <a:endParaRPr lang="en-US" spc="-51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564" name="TextBox 37"/>
              <p:cNvSpPr txBox="1">
                <a:spLocks noChangeArrowheads="1"/>
              </p:cNvSpPr>
              <p:nvPr/>
            </p:nvSpPr>
            <p:spPr bwMode="auto">
              <a:xfrm>
                <a:off x="1707590" y="2417019"/>
                <a:ext cx="560154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455930" indent="-28575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9131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3703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18275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28473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74193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19913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65633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800" b="1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en-US" altLang="zh-CN" sz="1800" b="1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21508" name="组合 67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71" name="矩形 70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1554" name="组合 86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89" name="矩形 88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1556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57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9" name="组合 48"/>
          <p:cNvGrpSpPr/>
          <p:nvPr/>
        </p:nvGrpSpPr>
        <p:grpSpPr bwMode="auto">
          <a:xfrm>
            <a:off x="6288088" y="1544638"/>
            <a:ext cx="2103437" cy="1062037"/>
            <a:chOff x="6287381" y="1545047"/>
            <a:chExt cx="2103393" cy="1061601"/>
          </a:xfrm>
        </p:grpSpPr>
        <p:sp>
          <p:nvSpPr>
            <p:cNvPr id="21" name="Rectangle 67"/>
            <p:cNvSpPr/>
            <p:nvPr/>
          </p:nvSpPr>
          <p:spPr bwMode="auto">
            <a:xfrm>
              <a:off x="6287381" y="1545047"/>
              <a:ext cx="2103393" cy="1061601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076" name="Picture 4"/>
            <p:cNvPicPr>
              <a:picLocks noChangeAspect="1" noChangeArrowheads="1"/>
            </p:cNvPicPr>
            <p:nvPr/>
          </p:nvPicPr>
          <p:blipFill>
            <a:blip r:embed="rId2"/>
            <a:stretch>
              <a:fillRect/>
            </a:stretch>
          </p:blipFill>
          <p:spPr bwMode="auto">
            <a:xfrm>
              <a:off x="6931893" y="1627563"/>
              <a:ext cx="1352522" cy="899742"/>
            </a:xfrm>
            <a:prstGeom prst="rect">
              <a:avLst/>
            </a:prstGeom>
            <a:noFill/>
            <a:effectLst>
              <a:outerShdw blurRad="38100" sx="102000" sy="102000" algn="ctr" rotWithShape="0">
                <a:prstClr val="black">
                  <a:alpha val="2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545" name="Freeform 51"/>
            <p:cNvSpPr>
              <a:spLocks noEditPoints="1"/>
            </p:cNvSpPr>
            <p:nvPr/>
          </p:nvSpPr>
          <p:spPr bwMode="auto">
            <a:xfrm rot="10800000" flipH="1" flipV="1">
              <a:off x="6514294" y="2368090"/>
              <a:ext cx="118493" cy="10738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1546" name="组合 42"/>
            <p:cNvGrpSpPr/>
            <p:nvPr/>
          </p:nvGrpSpPr>
          <p:grpSpPr bwMode="auto">
            <a:xfrm>
              <a:off x="6363579" y="1865886"/>
              <a:ext cx="419923" cy="419923"/>
              <a:chOff x="-2916238" y="-728663"/>
              <a:chExt cx="2122488" cy="2122488"/>
            </a:xfrm>
          </p:grpSpPr>
          <p:sp>
            <p:nvSpPr>
              <p:cNvPr id="4" name="Freeform 6"/>
              <p:cNvSpPr/>
              <p:nvPr/>
            </p:nvSpPr>
            <p:spPr bwMode="auto">
              <a:xfrm>
                <a:off x="-2916238" y="-730159"/>
                <a:ext cx="2126304" cy="2125479"/>
              </a:xfrm>
              <a:custGeom>
                <a:avLst/>
                <a:gdLst>
                  <a:gd name="T0" fmla="*/ 566 w 566"/>
                  <a:gd name="T1" fmla="*/ 283 h 566"/>
                  <a:gd name="T2" fmla="*/ 373 w 566"/>
                  <a:gd name="T3" fmla="*/ 551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59 w 566"/>
                  <a:gd name="T11" fmla="*/ 22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8"/>
                      <a:pt x="485" y="514"/>
                      <a:pt x="373" y="551"/>
                    </a:cubicBezTo>
                    <a:cubicBezTo>
                      <a:pt x="345" y="561"/>
                      <a:pt x="314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19" y="0"/>
                      <a:pt x="532" y="96"/>
                      <a:pt x="559" y="224"/>
                    </a:cubicBezTo>
                    <a:cubicBezTo>
                      <a:pt x="564" y="243"/>
                      <a:pt x="566" y="263"/>
                      <a:pt x="566" y="283"/>
                    </a:cubicBezTo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1548" name="组合 41"/>
              <p:cNvGrpSpPr/>
              <p:nvPr/>
            </p:nvGrpSpPr>
            <p:grpSpPr bwMode="auto">
              <a:xfrm>
                <a:off x="-2293938" y="-131763"/>
                <a:ext cx="1500188" cy="1470025"/>
                <a:chOff x="-2293938" y="-131763"/>
                <a:chExt cx="1500188" cy="1470025"/>
              </a:xfrm>
            </p:grpSpPr>
            <p:sp>
              <p:nvSpPr>
                <p:cNvPr id="21550" name="Freeform 7"/>
                <p:cNvSpPr/>
                <p:nvPr/>
              </p:nvSpPr>
              <p:spPr bwMode="auto">
                <a:xfrm>
                  <a:off x="-2293938" y="171450"/>
                  <a:ext cx="409575" cy="377825"/>
                </a:xfrm>
                <a:custGeom>
                  <a:avLst/>
                  <a:gdLst>
                    <a:gd name="T0" fmla="*/ 0 w 109"/>
                    <a:gd name="T1" fmla="*/ 0 h 101"/>
                    <a:gd name="T2" fmla="*/ 2147483646 w 109"/>
                    <a:gd name="T3" fmla="*/ 2147483646 h 101"/>
                    <a:gd name="T4" fmla="*/ 2147483646 w 109"/>
                    <a:gd name="T5" fmla="*/ 2147483646 h 101"/>
                    <a:gd name="T6" fmla="*/ 2147483646 w 109"/>
                    <a:gd name="T7" fmla="*/ 2147483646 h 101"/>
                    <a:gd name="T8" fmla="*/ 0 w 109"/>
                    <a:gd name="T9" fmla="*/ 0 h 10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9" h="101">
                      <a:moveTo>
                        <a:pt x="0" y="0"/>
                      </a:moveTo>
                      <a:cubicBezTo>
                        <a:pt x="5" y="3"/>
                        <a:pt x="9" y="7"/>
                        <a:pt x="13" y="12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109" y="65"/>
                        <a:pt x="109" y="65"/>
                        <a:pt x="109" y="65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1551" name="Freeform 8"/>
                <p:cNvSpPr/>
                <p:nvPr/>
              </p:nvSpPr>
              <p:spPr bwMode="auto">
                <a:xfrm>
                  <a:off x="-2035174" y="-131763"/>
                  <a:ext cx="1241424" cy="1470025"/>
                </a:xfrm>
                <a:custGeom>
                  <a:avLst/>
                  <a:gdLst>
                    <a:gd name="T0" fmla="*/ 2147483646 w 331"/>
                    <a:gd name="T1" fmla="*/ 0 h 392"/>
                    <a:gd name="T2" fmla="*/ 2147483646 w 331"/>
                    <a:gd name="T3" fmla="*/ 2147483646 h 392"/>
                    <a:gd name="T4" fmla="*/ 2147483646 w 331"/>
                    <a:gd name="T5" fmla="*/ 2147483646 h 392"/>
                    <a:gd name="T6" fmla="*/ 2147483646 w 331"/>
                    <a:gd name="T7" fmla="*/ 2147483646 h 392"/>
                    <a:gd name="T8" fmla="*/ 2147483646 w 331"/>
                    <a:gd name="T9" fmla="*/ 2147483646 h 392"/>
                    <a:gd name="T10" fmla="*/ 2147483646 w 331"/>
                    <a:gd name="T11" fmla="*/ 2147483646 h 392"/>
                    <a:gd name="T12" fmla="*/ 2147483646 w 331"/>
                    <a:gd name="T13" fmla="*/ 2147483646 h 392"/>
                    <a:gd name="T14" fmla="*/ 2147483646 w 331"/>
                    <a:gd name="T15" fmla="*/ 2147483646 h 392"/>
                    <a:gd name="T16" fmla="*/ 2147483646 w 331"/>
                    <a:gd name="T17" fmla="*/ 2147483646 h 392"/>
                    <a:gd name="T18" fmla="*/ 2147483646 w 331"/>
                    <a:gd name="T19" fmla="*/ 2147483646 h 392"/>
                    <a:gd name="T20" fmla="*/ 2147483646 w 331"/>
                    <a:gd name="T21" fmla="*/ 2147483646 h 392"/>
                    <a:gd name="T22" fmla="*/ 2147483646 w 331"/>
                    <a:gd name="T23" fmla="*/ 2147483646 h 392"/>
                    <a:gd name="T24" fmla="*/ 2147483646 w 331"/>
                    <a:gd name="T25" fmla="*/ 2147483646 h 392"/>
                    <a:gd name="T26" fmla="*/ 2147483646 w 331"/>
                    <a:gd name="T27" fmla="*/ 2147483646 h 392"/>
                    <a:gd name="T28" fmla="*/ 2147483646 w 331"/>
                    <a:gd name="T29" fmla="*/ 2147483646 h 392"/>
                    <a:gd name="T30" fmla="*/ 2147483646 w 331"/>
                    <a:gd name="T31" fmla="*/ 2147483646 h 392"/>
                    <a:gd name="T32" fmla="*/ 2147483646 w 331"/>
                    <a:gd name="T33" fmla="*/ 2147483646 h 392"/>
                    <a:gd name="T34" fmla="*/ 2147483646 w 331"/>
                    <a:gd name="T35" fmla="*/ 2147483646 h 392"/>
                    <a:gd name="T36" fmla="*/ 2147483646 w 331"/>
                    <a:gd name="T37" fmla="*/ 2147483646 h 392"/>
                    <a:gd name="T38" fmla="*/ 2147483646 w 331"/>
                    <a:gd name="T39" fmla="*/ 2147483646 h 392"/>
                    <a:gd name="T40" fmla="*/ 2147483646 w 331"/>
                    <a:gd name="T41" fmla="*/ 2147483646 h 392"/>
                    <a:gd name="T42" fmla="*/ 2147483646 w 331"/>
                    <a:gd name="T43" fmla="*/ 2147483646 h 392"/>
                    <a:gd name="T44" fmla="*/ 2147483646 w 331"/>
                    <a:gd name="T45" fmla="*/ 2147483646 h 392"/>
                    <a:gd name="T46" fmla="*/ 0 w 331"/>
                    <a:gd name="T47" fmla="*/ 2147483646 h 392"/>
                    <a:gd name="T48" fmla="*/ 0 w 331"/>
                    <a:gd name="T49" fmla="*/ 2147483646 h 392"/>
                    <a:gd name="T50" fmla="*/ 2147483646 w 331"/>
                    <a:gd name="T51" fmla="*/ 2147483646 h 392"/>
                    <a:gd name="T52" fmla="*/ 2147483646 w 331"/>
                    <a:gd name="T53" fmla="*/ 2147483646 h 392"/>
                    <a:gd name="T54" fmla="*/ 2147483646 w 331"/>
                    <a:gd name="T55" fmla="*/ 2147483646 h 392"/>
                    <a:gd name="T56" fmla="*/ 2147483646 w 331"/>
                    <a:gd name="T57" fmla="*/ 2147483646 h 392"/>
                    <a:gd name="T58" fmla="*/ 2147483646 w 331"/>
                    <a:gd name="T59" fmla="*/ 0 h 39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331" h="392">
                      <a:moveTo>
                        <a:pt x="204" y="0"/>
                      </a:moveTo>
                      <a:cubicBezTo>
                        <a:pt x="227" y="17"/>
                        <a:pt x="232" y="48"/>
                        <a:pt x="216" y="71"/>
                      </a:cubicBezTo>
                      <a:cubicBezTo>
                        <a:pt x="57" y="295"/>
                        <a:pt x="57" y="295"/>
                        <a:pt x="57" y="295"/>
                      </a:cubicBezTo>
                      <a:cubicBezTo>
                        <a:pt x="57" y="296"/>
                        <a:pt x="56" y="296"/>
                        <a:pt x="56" y="297"/>
                      </a:cubicBezTo>
                      <a:cubicBezTo>
                        <a:pt x="55" y="298"/>
                        <a:pt x="55" y="298"/>
                        <a:pt x="55" y="298"/>
                      </a:cubicBezTo>
                      <a:cubicBezTo>
                        <a:pt x="55" y="298"/>
                        <a:pt x="55" y="299"/>
                        <a:pt x="54" y="299"/>
                      </a:cubicBezTo>
                      <a:cubicBezTo>
                        <a:pt x="52" y="301"/>
                        <a:pt x="51" y="303"/>
                        <a:pt x="49" y="305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47" y="306"/>
                        <a:pt x="47" y="306"/>
                        <a:pt x="47" y="306"/>
                      </a:cubicBezTo>
                      <a:cubicBezTo>
                        <a:pt x="47" y="306"/>
                        <a:pt x="47" y="306"/>
                        <a:pt x="46" y="306"/>
                      </a:cubicBezTo>
                      <a:cubicBezTo>
                        <a:pt x="46" y="307"/>
                        <a:pt x="46" y="307"/>
                        <a:pt x="46" y="307"/>
                      </a:cubicBezTo>
                      <a:cubicBezTo>
                        <a:pt x="44" y="308"/>
                        <a:pt x="43" y="309"/>
                        <a:pt x="41" y="310"/>
                      </a:cubicBezTo>
                      <a:cubicBezTo>
                        <a:pt x="40" y="310"/>
                        <a:pt x="40" y="310"/>
                        <a:pt x="40" y="311"/>
                      </a:cubicBezTo>
                      <a:cubicBezTo>
                        <a:pt x="37" y="312"/>
                        <a:pt x="35" y="313"/>
                        <a:pt x="33" y="314"/>
                      </a:cubicBezTo>
                      <a:cubicBezTo>
                        <a:pt x="32" y="314"/>
                        <a:pt x="32" y="314"/>
                        <a:pt x="31" y="314"/>
                      </a:cubicBezTo>
                      <a:cubicBezTo>
                        <a:pt x="29" y="315"/>
                        <a:pt x="27" y="315"/>
                        <a:pt x="26" y="316"/>
                      </a:cubicBezTo>
                      <a:cubicBezTo>
                        <a:pt x="25" y="316"/>
                        <a:pt x="24" y="316"/>
                        <a:pt x="23" y="316"/>
                      </a:cubicBezTo>
                      <a:cubicBezTo>
                        <a:pt x="21" y="316"/>
                        <a:pt x="19" y="316"/>
                        <a:pt x="18" y="316"/>
                      </a:cubicBezTo>
                      <a:cubicBezTo>
                        <a:pt x="15" y="316"/>
                        <a:pt x="15" y="316"/>
                        <a:pt x="15" y="316"/>
                      </a:cubicBezTo>
                      <a:cubicBezTo>
                        <a:pt x="13" y="316"/>
                        <a:pt x="11" y="316"/>
                        <a:pt x="9" y="316"/>
                      </a:cubicBezTo>
                      <a:cubicBezTo>
                        <a:pt x="9" y="316"/>
                        <a:pt x="8" y="316"/>
                        <a:pt x="7" y="316"/>
                      </a:cubicBezTo>
                      <a:cubicBezTo>
                        <a:pt x="6" y="315"/>
                        <a:pt x="4" y="315"/>
                        <a:pt x="3" y="315"/>
                      </a:cubicBezTo>
                      <a:cubicBezTo>
                        <a:pt x="2" y="314"/>
                        <a:pt x="1" y="314"/>
                        <a:pt x="0" y="314"/>
                      </a:cubicBezTo>
                      <a:cubicBezTo>
                        <a:pt x="0" y="314"/>
                        <a:pt x="0" y="314"/>
                        <a:pt x="0" y="314"/>
                      </a:cubicBezTo>
                      <a:cubicBezTo>
                        <a:pt x="138" y="392"/>
                        <a:pt x="138" y="392"/>
                        <a:pt x="138" y="392"/>
                      </a:cubicBezTo>
                      <a:cubicBezTo>
                        <a:pt x="250" y="355"/>
                        <a:pt x="331" y="249"/>
                        <a:pt x="331" y="124"/>
                      </a:cubicBezTo>
                      <a:cubicBezTo>
                        <a:pt x="331" y="104"/>
                        <a:pt x="329" y="84"/>
                        <a:pt x="324" y="65"/>
                      </a:cubicBezTo>
                      <a:cubicBezTo>
                        <a:pt x="324" y="65"/>
                        <a:pt x="324" y="65"/>
                        <a:pt x="324" y="65"/>
                      </a:cubicBezTo>
                      <a:cubicBezTo>
                        <a:pt x="204" y="0"/>
                        <a:pt x="204" y="0"/>
                        <a:pt x="204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sp>
            <p:nvSpPr>
              <p:cNvPr id="21549" name="Freeform 9"/>
              <p:cNvSpPr/>
              <p:nvPr/>
            </p:nvSpPr>
            <p:spPr bwMode="auto">
              <a:xfrm>
                <a:off x="-2605088" y="-166688"/>
                <a:ext cx="1439863" cy="1219200"/>
              </a:xfrm>
              <a:custGeom>
                <a:avLst/>
                <a:gdLst>
                  <a:gd name="T0" fmla="*/ 2147483646 w 384"/>
                  <a:gd name="T1" fmla="*/ 2147483646 h 325"/>
                  <a:gd name="T2" fmla="*/ 2147483646 w 384"/>
                  <a:gd name="T3" fmla="*/ 2147483646 h 325"/>
                  <a:gd name="T4" fmla="*/ 2147483646 w 384"/>
                  <a:gd name="T5" fmla="*/ 2147483646 h 325"/>
                  <a:gd name="T6" fmla="*/ 2147483646 w 384"/>
                  <a:gd name="T7" fmla="*/ 2147483646 h 325"/>
                  <a:gd name="T8" fmla="*/ 2147483646 w 384"/>
                  <a:gd name="T9" fmla="*/ 2147483646 h 325"/>
                  <a:gd name="T10" fmla="*/ 2147483646 w 384"/>
                  <a:gd name="T11" fmla="*/ 2147483646 h 325"/>
                  <a:gd name="T12" fmla="*/ 2147483646 w 384"/>
                  <a:gd name="T13" fmla="*/ 2147483646 h 325"/>
                  <a:gd name="T14" fmla="*/ 2147483646 w 384"/>
                  <a:gd name="T15" fmla="*/ 2147483646 h 325"/>
                  <a:gd name="T16" fmla="*/ 2147483646 w 384"/>
                  <a:gd name="T17" fmla="*/ 2147483646 h 325"/>
                  <a:gd name="T18" fmla="*/ 2147483646 w 384"/>
                  <a:gd name="T19" fmla="*/ 2147483646 h 325"/>
                  <a:gd name="T20" fmla="*/ 2147483646 w 384"/>
                  <a:gd name="T21" fmla="*/ 2147483646 h 325"/>
                  <a:gd name="T22" fmla="*/ 2147483646 w 384"/>
                  <a:gd name="T23" fmla="*/ 2147483646 h 325"/>
                  <a:gd name="T24" fmla="*/ 2147483646 w 384"/>
                  <a:gd name="T25" fmla="*/ 2147483646 h 325"/>
                  <a:gd name="T26" fmla="*/ 2147483646 w 384"/>
                  <a:gd name="T27" fmla="*/ 2147483646 h 325"/>
                  <a:gd name="T28" fmla="*/ 2147483646 w 384"/>
                  <a:gd name="T29" fmla="*/ 2147483646 h 325"/>
                  <a:gd name="T30" fmla="*/ 2147483646 w 384"/>
                  <a:gd name="T31" fmla="*/ 2147483646 h 325"/>
                  <a:gd name="T32" fmla="*/ 2147483646 w 384"/>
                  <a:gd name="T33" fmla="*/ 2147483646 h 325"/>
                  <a:gd name="T34" fmla="*/ 2147483646 w 384"/>
                  <a:gd name="T35" fmla="*/ 2147483646 h 325"/>
                  <a:gd name="T36" fmla="*/ 2147483646 w 384"/>
                  <a:gd name="T37" fmla="*/ 2147483646 h 325"/>
                  <a:gd name="T38" fmla="*/ 2147483646 w 384"/>
                  <a:gd name="T39" fmla="*/ 2147483646 h 325"/>
                  <a:gd name="T40" fmla="*/ 2147483646 w 384"/>
                  <a:gd name="T41" fmla="*/ 2147483646 h 325"/>
                  <a:gd name="T42" fmla="*/ 2147483646 w 384"/>
                  <a:gd name="T43" fmla="*/ 2147483646 h 325"/>
                  <a:gd name="T44" fmla="*/ 2147483646 w 384"/>
                  <a:gd name="T45" fmla="*/ 2147483646 h 325"/>
                  <a:gd name="T46" fmla="*/ 2147483646 w 384"/>
                  <a:gd name="T47" fmla="*/ 2147483646 h 325"/>
                  <a:gd name="T48" fmla="*/ 2147483646 w 384"/>
                  <a:gd name="T49" fmla="*/ 0 h 325"/>
                  <a:gd name="T50" fmla="*/ 2147483646 w 384"/>
                  <a:gd name="T51" fmla="*/ 2147483646 h 325"/>
                  <a:gd name="T52" fmla="*/ 2147483646 w 384"/>
                  <a:gd name="T53" fmla="*/ 2147483646 h 325"/>
                  <a:gd name="T54" fmla="*/ 2147483646 w 384"/>
                  <a:gd name="T55" fmla="*/ 2147483646 h 325"/>
                  <a:gd name="T56" fmla="*/ 2147483646 w 384"/>
                  <a:gd name="T57" fmla="*/ 2147483646 h 325"/>
                  <a:gd name="T58" fmla="*/ 2147483646 w 384"/>
                  <a:gd name="T59" fmla="*/ 2147483646 h 325"/>
                  <a:gd name="T60" fmla="*/ 2147483646 w 384"/>
                  <a:gd name="T61" fmla="*/ 2147483646 h 325"/>
                  <a:gd name="T62" fmla="*/ 2147483646 w 384"/>
                  <a:gd name="T63" fmla="*/ 2147483646 h 325"/>
                  <a:gd name="T64" fmla="*/ 2147483646 w 384"/>
                  <a:gd name="T65" fmla="*/ 2147483646 h 325"/>
                  <a:gd name="T66" fmla="*/ 2147483646 w 384"/>
                  <a:gd name="T67" fmla="*/ 2147483646 h 325"/>
                  <a:gd name="T68" fmla="*/ 2147483646 w 384"/>
                  <a:gd name="T69" fmla="*/ 2147483646 h 325"/>
                  <a:gd name="T70" fmla="*/ 2147483646 w 384"/>
                  <a:gd name="T71" fmla="*/ 2147483646 h 325"/>
                  <a:gd name="T72" fmla="*/ 2147483646 w 384"/>
                  <a:gd name="T73" fmla="*/ 2147483646 h 325"/>
                  <a:gd name="T74" fmla="*/ 2147483646 w 384"/>
                  <a:gd name="T75" fmla="*/ 2147483646 h 325"/>
                  <a:gd name="T76" fmla="*/ 2147483646 w 384"/>
                  <a:gd name="T77" fmla="*/ 2147483646 h 325"/>
                  <a:gd name="T78" fmla="*/ 2147483646 w 384"/>
                  <a:gd name="T79" fmla="*/ 2147483646 h 325"/>
                  <a:gd name="T80" fmla="*/ 2147483646 w 384"/>
                  <a:gd name="T81" fmla="*/ 2147483646 h 325"/>
                  <a:gd name="T82" fmla="*/ 2147483646 w 384"/>
                  <a:gd name="T83" fmla="*/ 2147483646 h 325"/>
                  <a:gd name="T84" fmla="*/ 2147483646 w 384"/>
                  <a:gd name="T85" fmla="*/ 2147483646 h 325"/>
                  <a:gd name="T86" fmla="*/ 2147483646 w 384"/>
                  <a:gd name="T87" fmla="*/ 2147483646 h 325"/>
                  <a:gd name="T88" fmla="*/ 2147483646 w 384"/>
                  <a:gd name="T89" fmla="*/ 2147483646 h 325"/>
                  <a:gd name="T90" fmla="*/ 2147483646 w 384"/>
                  <a:gd name="T91" fmla="*/ 2147483646 h 32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84" h="325">
                    <a:moveTo>
                      <a:pt x="167" y="325"/>
                    </a:moveTo>
                    <a:cubicBezTo>
                      <a:pt x="167" y="325"/>
                      <a:pt x="167" y="325"/>
                      <a:pt x="167" y="325"/>
                    </a:cubicBezTo>
                    <a:cubicBezTo>
                      <a:pt x="165" y="325"/>
                      <a:pt x="163" y="325"/>
                      <a:pt x="161" y="325"/>
                    </a:cubicBezTo>
                    <a:cubicBezTo>
                      <a:pt x="161" y="325"/>
                      <a:pt x="160" y="325"/>
                      <a:pt x="159" y="325"/>
                    </a:cubicBezTo>
                    <a:cubicBezTo>
                      <a:pt x="158" y="324"/>
                      <a:pt x="156" y="324"/>
                      <a:pt x="155" y="324"/>
                    </a:cubicBezTo>
                    <a:cubicBezTo>
                      <a:pt x="154" y="323"/>
                      <a:pt x="153" y="323"/>
                      <a:pt x="152" y="323"/>
                    </a:cubicBezTo>
                    <a:cubicBezTo>
                      <a:pt x="150" y="322"/>
                      <a:pt x="148" y="321"/>
                      <a:pt x="146" y="320"/>
                    </a:cubicBezTo>
                    <a:cubicBezTo>
                      <a:pt x="146" y="320"/>
                      <a:pt x="146" y="320"/>
                      <a:pt x="146" y="320"/>
                    </a:cubicBezTo>
                    <a:cubicBezTo>
                      <a:pt x="145" y="320"/>
                      <a:pt x="145" y="320"/>
                      <a:pt x="145" y="320"/>
                    </a:cubicBezTo>
                    <a:cubicBezTo>
                      <a:pt x="143" y="319"/>
                      <a:pt x="142" y="318"/>
                      <a:pt x="141" y="317"/>
                    </a:cubicBezTo>
                    <a:cubicBezTo>
                      <a:pt x="140" y="317"/>
                      <a:pt x="140" y="317"/>
                      <a:pt x="140" y="317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6" y="314"/>
                      <a:pt x="134" y="312"/>
                      <a:pt x="132" y="310"/>
                    </a:cubicBezTo>
                    <a:cubicBezTo>
                      <a:pt x="131" y="309"/>
                      <a:pt x="131" y="309"/>
                      <a:pt x="131" y="309"/>
                    </a:cubicBezTo>
                    <a:cubicBezTo>
                      <a:pt x="130" y="308"/>
                      <a:pt x="129" y="307"/>
                      <a:pt x="129" y="306"/>
                    </a:cubicBezTo>
                    <a:cubicBezTo>
                      <a:pt x="17" y="164"/>
                      <a:pt x="17" y="164"/>
                      <a:pt x="17" y="164"/>
                    </a:cubicBezTo>
                    <a:cubicBezTo>
                      <a:pt x="0" y="142"/>
                      <a:pt x="3" y="110"/>
                      <a:pt x="25" y="93"/>
                    </a:cubicBezTo>
                    <a:cubicBezTo>
                      <a:pt x="34" y="86"/>
                      <a:pt x="45" y="82"/>
                      <a:pt x="56" y="82"/>
                    </a:cubicBezTo>
                    <a:cubicBezTo>
                      <a:pt x="72" y="82"/>
                      <a:pt x="86" y="89"/>
                      <a:pt x="96" y="102"/>
                    </a:cubicBezTo>
                    <a:cubicBezTo>
                      <a:pt x="166" y="191"/>
                      <a:pt x="166" y="191"/>
                      <a:pt x="166" y="191"/>
                    </a:cubicBezTo>
                    <a:cubicBezTo>
                      <a:pt x="286" y="21"/>
                      <a:pt x="286" y="21"/>
                      <a:pt x="286" y="21"/>
                    </a:cubicBezTo>
                    <a:cubicBezTo>
                      <a:pt x="295" y="8"/>
                      <a:pt x="311" y="0"/>
                      <a:pt x="327" y="0"/>
                    </a:cubicBezTo>
                    <a:cubicBezTo>
                      <a:pt x="337" y="0"/>
                      <a:pt x="348" y="3"/>
                      <a:pt x="356" y="9"/>
                    </a:cubicBezTo>
                    <a:cubicBezTo>
                      <a:pt x="379" y="25"/>
                      <a:pt x="384" y="57"/>
                      <a:pt x="368" y="80"/>
                    </a:cubicBezTo>
                    <a:cubicBezTo>
                      <a:pt x="209" y="304"/>
                      <a:pt x="209" y="304"/>
                      <a:pt x="209" y="304"/>
                    </a:cubicBezTo>
                    <a:cubicBezTo>
                      <a:pt x="209" y="305"/>
                      <a:pt x="208" y="306"/>
                      <a:pt x="208" y="306"/>
                    </a:cubicBezTo>
                    <a:cubicBezTo>
                      <a:pt x="207" y="307"/>
                      <a:pt x="207" y="307"/>
                      <a:pt x="207" y="307"/>
                    </a:cubicBezTo>
                    <a:cubicBezTo>
                      <a:pt x="207" y="307"/>
                      <a:pt x="207" y="308"/>
                      <a:pt x="206" y="308"/>
                    </a:cubicBezTo>
                    <a:cubicBezTo>
                      <a:pt x="204" y="310"/>
                      <a:pt x="203" y="312"/>
                      <a:pt x="201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199" y="315"/>
                      <a:pt x="199" y="315"/>
                      <a:pt x="199" y="315"/>
                    </a:cubicBezTo>
                    <a:cubicBezTo>
                      <a:pt x="199" y="315"/>
                      <a:pt x="199" y="315"/>
                      <a:pt x="198" y="315"/>
                    </a:cubicBezTo>
                    <a:cubicBezTo>
                      <a:pt x="198" y="316"/>
                      <a:pt x="198" y="316"/>
                      <a:pt x="198" y="316"/>
                    </a:cubicBezTo>
                    <a:cubicBezTo>
                      <a:pt x="196" y="317"/>
                      <a:pt x="195" y="318"/>
                      <a:pt x="193" y="319"/>
                    </a:cubicBezTo>
                    <a:cubicBezTo>
                      <a:pt x="192" y="319"/>
                      <a:pt x="192" y="319"/>
                      <a:pt x="192" y="320"/>
                    </a:cubicBezTo>
                    <a:cubicBezTo>
                      <a:pt x="189" y="321"/>
                      <a:pt x="187" y="322"/>
                      <a:pt x="185" y="323"/>
                    </a:cubicBezTo>
                    <a:cubicBezTo>
                      <a:pt x="184" y="323"/>
                      <a:pt x="184" y="323"/>
                      <a:pt x="183" y="323"/>
                    </a:cubicBezTo>
                    <a:cubicBezTo>
                      <a:pt x="181" y="324"/>
                      <a:pt x="179" y="324"/>
                      <a:pt x="178" y="325"/>
                    </a:cubicBezTo>
                    <a:cubicBezTo>
                      <a:pt x="177" y="325"/>
                      <a:pt x="176" y="325"/>
                      <a:pt x="175" y="325"/>
                    </a:cubicBezTo>
                    <a:cubicBezTo>
                      <a:pt x="173" y="325"/>
                      <a:pt x="171" y="325"/>
                      <a:pt x="170" y="325"/>
                    </a:cubicBezTo>
                    <a:cubicBezTo>
                      <a:pt x="168" y="325"/>
                      <a:pt x="168" y="325"/>
                      <a:pt x="168" y="325"/>
                    </a:cubicBezTo>
                    <a:lnTo>
                      <a:pt x="167" y="3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7" name="组合 46"/>
          <p:cNvGrpSpPr/>
          <p:nvPr/>
        </p:nvGrpSpPr>
        <p:grpSpPr bwMode="auto">
          <a:xfrm>
            <a:off x="4121150" y="2647950"/>
            <a:ext cx="2117725" cy="1060450"/>
            <a:chOff x="4121719" y="2647157"/>
            <a:chExt cx="2116970" cy="1061601"/>
          </a:xfrm>
        </p:grpSpPr>
        <p:sp>
          <p:nvSpPr>
            <p:cNvPr id="24" name="Rectangle 70"/>
            <p:cNvSpPr/>
            <p:nvPr/>
          </p:nvSpPr>
          <p:spPr bwMode="auto">
            <a:xfrm>
              <a:off x="4121719" y="2647157"/>
              <a:ext cx="2116970" cy="1061601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4742211" y="2694834"/>
              <a:ext cx="1382219" cy="955124"/>
            </a:xfrm>
            <a:prstGeom prst="rect">
              <a:avLst/>
            </a:prstGeom>
            <a:noFill/>
            <a:effectLst>
              <a:outerShdw blurRad="38100" sx="102000" sy="102000" algn="ctr" rotWithShape="0">
                <a:prstClr val="black">
                  <a:alpha val="2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537" name="Freeform 51"/>
            <p:cNvSpPr>
              <a:spLocks noEditPoints="1"/>
            </p:cNvSpPr>
            <p:nvPr/>
          </p:nvSpPr>
          <p:spPr bwMode="auto">
            <a:xfrm rot="10800000" flipH="1" flipV="1">
              <a:off x="4360363" y="3451868"/>
              <a:ext cx="118493" cy="10738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1538" name="组合 45"/>
            <p:cNvGrpSpPr/>
            <p:nvPr/>
          </p:nvGrpSpPr>
          <p:grpSpPr bwMode="auto">
            <a:xfrm>
              <a:off x="4209648" y="2968570"/>
              <a:ext cx="419923" cy="419923"/>
              <a:chOff x="-625475" y="-3030538"/>
              <a:chExt cx="2122488" cy="2122488"/>
            </a:xfrm>
          </p:grpSpPr>
          <p:sp>
            <p:nvSpPr>
              <p:cNvPr id="8" name="Freeform 10"/>
              <p:cNvSpPr/>
              <p:nvPr/>
            </p:nvSpPr>
            <p:spPr bwMode="auto">
              <a:xfrm>
                <a:off x="-628744" y="-3032511"/>
                <a:ext cx="2125590" cy="2120626"/>
              </a:xfrm>
              <a:custGeom>
                <a:avLst/>
                <a:gdLst>
                  <a:gd name="T0" fmla="*/ 566 w 566"/>
                  <a:gd name="T1" fmla="*/ 283 h 566"/>
                  <a:gd name="T2" fmla="*/ 390 w 566"/>
                  <a:gd name="T3" fmla="*/ 545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6 w 566"/>
                  <a:gd name="T11" fmla="*/ 271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1"/>
                      <a:pt x="493" y="503"/>
                      <a:pt x="390" y="545"/>
                    </a:cubicBezTo>
                    <a:cubicBezTo>
                      <a:pt x="357" y="558"/>
                      <a:pt x="321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35" y="0"/>
                      <a:pt x="560" y="120"/>
                      <a:pt x="566" y="271"/>
                    </a:cubicBezTo>
                    <a:cubicBezTo>
                      <a:pt x="566" y="275"/>
                      <a:pt x="566" y="279"/>
                      <a:pt x="566" y="283"/>
                    </a:cubicBezTo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540" name="Freeform 11"/>
              <p:cNvSpPr/>
              <p:nvPr/>
            </p:nvSpPr>
            <p:spPr bwMode="auto">
              <a:xfrm>
                <a:off x="-80962" y="-2300288"/>
                <a:ext cx="1577975" cy="1312863"/>
              </a:xfrm>
              <a:custGeom>
                <a:avLst/>
                <a:gdLst>
                  <a:gd name="T0" fmla="*/ 2147483646 w 421"/>
                  <a:gd name="T1" fmla="*/ 0 h 350"/>
                  <a:gd name="T2" fmla="*/ 2147483646 w 421"/>
                  <a:gd name="T3" fmla="*/ 2147483646 h 350"/>
                  <a:gd name="T4" fmla="*/ 2147483646 w 421"/>
                  <a:gd name="T5" fmla="*/ 2147483646 h 350"/>
                  <a:gd name="T6" fmla="*/ 2147483646 w 421"/>
                  <a:gd name="T7" fmla="*/ 2147483646 h 350"/>
                  <a:gd name="T8" fmla="*/ 2147483646 w 421"/>
                  <a:gd name="T9" fmla="*/ 2147483646 h 350"/>
                  <a:gd name="T10" fmla="*/ 2147483646 w 421"/>
                  <a:gd name="T11" fmla="*/ 2147483646 h 350"/>
                  <a:gd name="T12" fmla="*/ 2147483646 w 421"/>
                  <a:gd name="T13" fmla="*/ 2147483646 h 350"/>
                  <a:gd name="T14" fmla="*/ 2147483646 w 421"/>
                  <a:gd name="T15" fmla="*/ 2147483646 h 350"/>
                  <a:gd name="T16" fmla="*/ 2147483646 w 421"/>
                  <a:gd name="T17" fmla="*/ 2147483646 h 350"/>
                  <a:gd name="T18" fmla="*/ 0 w 421"/>
                  <a:gd name="T19" fmla="*/ 2147483646 h 350"/>
                  <a:gd name="T20" fmla="*/ 2147483646 w 421"/>
                  <a:gd name="T21" fmla="*/ 2147483646 h 350"/>
                  <a:gd name="T22" fmla="*/ 2147483646 w 421"/>
                  <a:gd name="T23" fmla="*/ 2147483646 h 350"/>
                  <a:gd name="T24" fmla="*/ 2147483646 w 421"/>
                  <a:gd name="T25" fmla="*/ 2147483646 h 350"/>
                  <a:gd name="T26" fmla="*/ 2147483646 w 421"/>
                  <a:gd name="T27" fmla="*/ 2147483646 h 350"/>
                  <a:gd name="T28" fmla="*/ 2147483646 w 421"/>
                  <a:gd name="T29" fmla="*/ 2147483646 h 350"/>
                  <a:gd name="T30" fmla="*/ 2147483646 w 421"/>
                  <a:gd name="T31" fmla="*/ 2147483646 h 350"/>
                  <a:gd name="T32" fmla="*/ 2147483646 w 421"/>
                  <a:gd name="T33" fmla="*/ 2147483646 h 350"/>
                  <a:gd name="T34" fmla="*/ 2147483646 w 421"/>
                  <a:gd name="T35" fmla="*/ 2147483646 h 350"/>
                  <a:gd name="T36" fmla="*/ 2147483646 w 421"/>
                  <a:gd name="T37" fmla="*/ 2147483646 h 350"/>
                  <a:gd name="T38" fmla="*/ 2147483646 w 421"/>
                  <a:gd name="T39" fmla="*/ 2147483646 h 350"/>
                  <a:gd name="T40" fmla="*/ 2147483646 w 421"/>
                  <a:gd name="T41" fmla="*/ 2147483646 h 350"/>
                  <a:gd name="T42" fmla="*/ 2147483646 w 421"/>
                  <a:gd name="T43" fmla="*/ 2147483646 h 350"/>
                  <a:gd name="T44" fmla="*/ 2147483646 w 421"/>
                  <a:gd name="T45" fmla="*/ 2147483646 h 350"/>
                  <a:gd name="T46" fmla="*/ 2147483646 w 421"/>
                  <a:gd name="T47" fmla="*/ 2147483646 h 350"/>
                  <a:gd name="T48" fmla="*/ 2147483646 w 421"/>
                  <a:gd name="T49" fmla="*/ 2147483646 h 350"/>
                  <a:gd name="T50" fmla="*/ 2147483646 w 421"/>
                  <a:gd name="T51" fmla="*/ 2147483646 h 350"/>
                  <a:gd name="T52" fmla="*/ 2147483646 w 421"/>
                  <a:gd name="T53" fmla="*/ 0 h 35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21" h="350">
                    <a:moveTo>
                      <a:pt x="82" y="0"/>
                    </a:moveTo>
                    <a:cubicBezTo>
                      <a:pt x="101" y="11"/>
                      <a:pt x="105" y="30"/>
                      <a:pt x="105" y="31"/>
                    </a:cubicBezTo>
                    <a:cubicBezTo>
                      <a:pt x="104" y="30"/>
                      <a:pt x="84" y="19"/>
                      <a:pt x="64" y="19"/>
                    </a:cubicBezTo>
                    <a:cubicBezTo>
                      <a:pt x="54" y="19"/>
                      <a:pt x="44" y="22"/>
                      <a:pt x="36" y="30"/>
                    </a:cubicBezTo>
                    <a:cubicBezTo>
                      <a:pt x="31" y="34"/>
                      <a:pt x="28" y="39"/>
                      <a:pt x="25" y="45"/>
                    </a:cubicBezTo>
                    <a:cubicBezTo>
                      <a:pt x="29" y="45"/>
                      <a:pt x="32" y="45"/>
                      <a:pt x="36" y="45"/>
                    </a:cubicBezTo>
                    <a:cubicBezTo>
                      <a:pt x="83" y="45"/>
                      <a:pt x="122" y="83"/>
                      <a:pt x="122" y="131"/>
                    </a:cubicBezTo>
                    <a:cubicBezTo>
                      <a:pt x="122" y="131"/>
                      <a:pt x="122" y="131"/>
                      <a:pt x="122" y="131"/>
                    </a:cubicBezTo>
                    <a:cubicBezTo>
                      <a:pt x="122" y="179"/>
                      <a:pt x="83" y="218"/>
                      <a:pt x="36" y="218"/>
                    </a:cubicBezTo>
                    <a:cubicBezTo>
                      <a:pt x="23" y="218"/>
                      <a:pt x="11" y="215"/>
                      <a:pt x="0" y="210"/>
                    </a:cubicBezTo>
                    <a:cubicBezTo>
                      <a:pt x="245" y="350"/>
                      <a:pt x="245" y="350"/>
                      <a:pt x="245" y="350"/>
                    </a:cubicBezTo>
                    <a:cubicBezTo>
                      <a:pt x="348" y="308"/>
                      <a:pt x="421" y="206"/>
                      <a:pt x="421" y="88"/>
                    </a:cubicBezTo>
                    <a:cubicBezTo>
                      <a:pt x="421" y="84"/>
                      <a:pt x="421" y="80"/>
                      <a:pt x="421" y="76"/>
                    </a:cubicBezTo>
                    <a:cubicBezTo>
                      <a:pt x="421" y="76"/>
                      <a:pt x="421" y="76"/>
                      <a:pt x="421" y="76"/>
                    </a:cubicBezTo>
                    <a:cubicBezTo>
                      <a:pt x="291" y="1"/>
                      <a:pt x="291" y="1"/>
                      <a:pt x="291" y="1"/>
                    </a:cubicBezTo>
                    <a:cubicBezTo>
                      <a:pt x="308" y="12"/>
                      <a:pt x="311" y="30"/>
                      <a:pt x="311" y="31"/>
                    </a:cubicBezTo>
                    <a:cubicBezTo>
                      <a:pt x="310" y="30"/>
                      <a:pt x="291" y="19"/>
                      <a:pt x="270" y="19"/>
                    </a:cubicBezTo>
                    <a:cubicBezTo>
                      <a:pt x="260" y="19"/>
                      <a:pt x="250" y="22"/>
                      <a:pt x="242" y="30"/>
                    </a:cubicBezTo>
                    <a:cubicBezTo>
                      <a:pt x="238" y="34"/>
                      <a:pt x="234" y="39"/>
                      <a:pt x="232" y="45"/>
                    </a:cubicBezTo>
                    <a:cubicBezTo>
                      <a:pt x="235" y="45"/>
                      <a:pt x="239" y="45"/>
                      <a:pt x="242" y="45"/>
                    </a:cubicBezTo>
                    <a:cubicBezTo>
                      <a:pt x="290" y="45"/>
                      <a:pt x="329" y="83"/>
                      <a:pt x="329" y="131"/>
                    </a:cubicBezTo>
                    <a:cubicBezTo>
                      <a:pt x="329" y="131"/>
                      <a:pt x="329" y="131"/>
                      <a:pt x="329" y="131"/>
                    </a:cubicBezTo>
                    <a:cubicBezTo>
                      <a:pt x="329" y="179"/>
                      <a:pt x="290" y="218"/>
                      <a:pt x="242" y="218"/>
                    </a:cubicBezTo>
                    <a:cubicBezTo>
                      <a:pt x="216" y="218"/>
                      <a:pt x="194" y="206"/>
                      <a:pt x="176" y="187"/>
                    </a:cubicBezTo>
                    <a:cubicBezTo>
                      <a:pt x="168" y="178"/>
                      <a:pt x="161" y="166"/>
                      <a:pt x="158" y="155"/>
                    </a:cubicBezTo>
                    <a:cubicBezTo>
                      <a:pt x="146" y="121"/>
                      <a:pt x="152" y="79"/>
                      <a:pt x="169" y="47"/>
                    </a:cubicBezTo>
                    <a:cubicBezTo>
                      <a:pt x="82" y="0"/>
                      <a:pt x="82" y="0"/>
                      <a:pt x="82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41" name="Freeform 12"/>
              <p:cNvSpPr/>
              <p:nvPr/>
            </p:nvSpPr>
            <p:spPr bwMode="auto">
              <a:xfrm>
                <a:off x="461962" y="-2330450"/>
                <a:ext cx="690563" cy="847725"/>
              </a:xfrm>
              <a:custGeom>
                <a:avLst/>
                <a:gdLst>
                  <a:gd name="T0" fmla="*/ 2147483646 w 184"/>
                  <a:gd name="T1" fmla="*/ 2147483646 h 226"/>
                  <a:gd name="T2" fmla="*/ 2147483646 w 184"/>
                  <a:gd name="T3" fmla="*/ 2147483646 h 226"/>
                  <a:gd name="T4" fmla="*/ 2147483646 w 184"/>
                  <a:gd name="T5" fmla="*/ 2147483646 h 226"/>
                  <a:gd name="T6" fmla="*/ 2147483646 w 184"/>
                  <a:gd name="T7" fmla="*/ 2147483646 h 226"/>
                  <a:gd name="T8" fmla="*/ 2147483646 w 184"/>
                  <a:gd name="T9" fmla="*/ 0 h 226"/>
                  <a:gd name="T10" fmla="*/ 2147483646 w 184"/>
                  <a:gd name="T11" fmla="*/ 2147483646 h 226"/>
                  <a:gd name="T12" fmla="*/ 2147483646 w 184"/>
                  <a:gd name="T13" fmla="*/ 2147483646 h 226"/>
                  <a:gd name="T14" fmla="*/ 2147483646 w 184"/>
                  <a:gd name="T15" fmla="*/ 2147483646 h 226"/>
                  <a:gd name="T16" fmla="*/ 2147483646 w 184"/>
                  <a:gd name="T17" fmla="*/ 2147483646 h 226"/>
                  <a:gd name="T18" fmla="*/ 2147483646 w 184"/>
                  <a:gd name="T19" fmla="*/ 2147483646 h 226"/>
                  <a:gd name="T20" fmla="*/ 2147483646 w 184"/>
                  <a:gd name="T21" fmla="*/ 2147483646 h 226"/>
                  <a:gd name="T22" fmla="*/ 2147483646 w 184"/>
                  <a:gd name="T23" fmla="*/ 2147483646 h 226"/>
                  <a:gd name="T24" fmla="*/ 2147483646 w 184"/>
                  <a:gd name="T25" fmla="*/ 2147483646 h 2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4" h="226">
                    <a:moveTo>
                      <a:pt x="97" y="53"/>
                    </a:moveTo>
                    <a:cubicBezTo>
                      <a:pt x="94" y="53"/>
                      <a:pt x="90" y="53"/>
                      <a:pt x="87" y="53"/>
                    </a:cubicBezTo>
                    <a:cubicBezTo>
                      <a:pt x="89" y="47"/>
                      <a:pt x="93" y="42"/>
                      <a:pt x="97" y="38"/>
                    </a:cubicBezTo>
                    <a:cubicBezTo>
                      <a:pt x="122" y="14"/>
                      <a:pt x="166" y="39"/>
                      <a:pt x="166" y="39"/>
                    </a:cubicBezTo>
                    <a:cubicBezTo>
                      <a:pt x="166" y="39"/>
                      <a:pt x="160" y="0"/>
                      <a:pt x="111" y="0"/>
                    </a:cubicBezTo>
                    <a:cubicBezTo>
                      <a:pt x="87" y="0"/>
                      <a:pt x="58" y="13"/>
                      <a:pt x="42" y="31"/>
                    </a:cubicBezTo>
                    <a:cubicBezTo>
                      <a:pt x="37" y="36"/>
                      <a:pt x="32" y="42"/>
                      <a:pt x="29" y="48"/>
                    </a:cubicBezTo>
                    <a:cubicBezTo>
                      <a:pt x="8" y="81"/>
                      <a:pt x="0" y="126"/>
                      <a:pt x="13" y="163"/>
                    </a:cubicBezTo>
                    <a:cubicBezTo>
                      <a:pt x="16" y="174"/>
                      <a:pt x="23" y="186"/>
                      <a:pt x="31" y="195"/>
                    </a:cubicBezTo>
                    <a:cubicBezTo>
                      <a:pt x="49" y="214"/>
                      <a:pt x="71" y="226"/>
                      <a:pt x="97" y="226"/>
                    </a:cubicBezTo>
                    <a:cubicBezTo>
                      <a:pt x="145" y="226"/>
                      <a:pt x="184" y="187"/>
                      <a:pt x="184" y="139"/>
                    </a:cubicBezTo>
                    <a:cubicBezTo>
                      <a:pt x="184" y="139"/>
                      <a:pt x="184" y="139"/>
                      <a:pt x="184" y="139"/>
                    </a:cubicBezTo>
                    <a:cubicBezTo>
                      <a:pt x="183" y="91"/>
                      <a:pt x="145" y="53"/>
                      <a:pt x="97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42" name="Freeform 13"/>
              <p:cNvSpPr/>
              <p:nvPr/>
            </p:nvSpPr>
            <p:spPr bwMode="auto">
              <a:xfrm>
                <a:off x="-309563" y="-2330450"/>
                <a:ext cx="685800" cy="847725"/>
              </a:xfrm>
              <a:custGeom>
                <a:avLst/>
                <a:gdLst>
                  <a:gd name="T0" fmla="*/ 2147483646 w 183"/>
                  <a:gd name="T1" fmla="*/ 2147483646 h 226"/>
                  <a:gd name="T2" fmla="*/ 2147483646 w 183"/>
                  <a:gd name="T3" fmla="*/ 2147483646 h 226"/>
                  <a:gd name="T4" fmla="*/ 2147483646 w 183"/>
                  <a:gd name="T5" fmla="*/ 2147483646 h 226"/>
                  <a:gd name="T6" fmla="*/ 2147483646 w 183"/>
                  <a:gd name="T7" fmla="*/ 2147483646 h 226"/>
                  <a:gd name="T8" fmla="*/ 2147483646 w 183"/>
                  <a:gd name="T9" fmla="*/ 0 h 226"/>
                  <a:gd name="T10" fmla="*/ 2147483646 w 183"/>
                  <a:gd name="T11" fmla="*/ 2147483646 h 226"/>
                  <a:gd name="T12" fmla="*/ 2147483646 w 183"/>
                  <a:gd name="T13" fmla="*/ 2147483646 h 226"/>
                  <a:gd name="T14" fmla="*/ 2147483646 w 183"/>
                  <a:gd name="T15" fmla="*/ 2147483646 h 226"/>
                  <a:gd name="T16" fmla="*/ 2147483646 w 183"/>
                  <a:gd name="T17" fmla="*/ 2147483646 h 226"/>
                  <a:gd name="T18" fmla="*/ 2147483646 w 183"/>
                  <a:gd name="T19" fmla="*/ 2147483646 h 226"/>
                  <a:gd name="T20" fmla="*/ 2147483646 w 183"/>
                  <a:gd name="T21" fmla="*/ 2147483646 h 226"/>
                  <a:gd name="T22" fmla="*/ 2147483646 w 183"/>
                  <a:gd name="T23" fmla="*/ 2147483646 h 226"/>
                  <a:gd name="T24" fmla="*/ 2147483646 w 183"/>
                  <a:gd name="T25" fmla="*/ 2147483646 h 2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3" h="226">
                    <a:moveTo>
                      <a:pt x="97" y="53"/>
                    </a:moveTo>
                    <a:cubicBezTo>
                      <a:pt x="93" y="53"/>
                      <a:pt x="90" y="53"/>
                      <a:pt x="86" y="53"/>
                    </a:cubicBezTo>
                    <a:cubicBezTo>
                      <a:pt x="89" y="47"/>
                      <a:pt x="93" y="42"/>
                      <a:pt x="97" y="38"/>
                    </a:cubicBezTo>
                    <a:cubicBezTo>
                      <a:pt x="122" y="14"/>
                      <a:pt x="166" y="39"/>
                      <a:pt x="166" y="39"/>
                    </a:cubicBezTo>
                    <a:cubicBezTo>
                      <a:pt x="166" y="39"/>
                      <a:pt x="160" y="0"/>
                      <a:pt x="111" y="0"/>
                    </a:cubicBezTo>
                    <a:cubicBezTo>
                      <a:pt x="86" y="0"/>
                      <a:pt x="57" y="13"/>
                      <a:pt x="41" y="31"/>
                    </a:cubicBezTo>
                    <a:cubicBezTo>
                      <a:pt x="36" y="36"/>
                      <a:pt x="32" y="42"/>
                      <a:pt x="28" y="48"/>
                    </a:cubicBezTo>
                    <a:cubicBezTo>
                      <a:pt x="7" y="81"/>
                      <a:pt x="0" y="126"/>
                      <a:pt x="12" y="163"/>
                    </a:cubicBezTo>
                    <a:cubicBezTo>
                      <a:pt x="16" y="174"/>
                      <a:pt x="23" y="186"/>
                      <a:pt x="31" y="195"/>
                    </a:cubicBezTo>
                    <a:cubicBezTo>
                      <a:pt x="48" y="214"/>
                      <a:pt x="71" y="226"/>
                      <a:pt x="97" y="226"/>
                    </a:cubicBezTo>
                    <a:cubicBezTo>
                      <a:pt x="144" y="226"/>
                      <a:pt x="183" y="187"/>
                      <a:pt x="183" y="139"/>
                    </a:cubicBezTo>
                    <a:cubicBezTo>
                      <a:pt x="183" y="139"/>
                      <a:pt x="183" y="139"/>
                      <a:pt x="183" y="139"/>
                    </a:cubicBezTo>
                    <a:cubicBezTo>
                      <a:pt x="183" y="91"/>
                      <a:pt x="144" y="53"/>
                      <a:pt x="97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8" name="组合 47"/>
          <p:cNvGrpSpPr/>
          <p:nvPr/>
        </p:nvGrpSpPr>
        <p:grpSpPr bwMode="auto">
          <a:xfrm>
            <a:off x="6288088" y="2646363"/>
            <a:ext cx="2103437" cy="1065212"/>
            <a:chOff x="6287381" y="2645877"/>
            <a:chExt cx="2103393" cy="1065309"/>
          </a:xfrm>
        </p:grpSpPr>
        <p:sp>
          <p:nvSpPr>
            <p:cNvPr id="27" name="Rectangle 73"/>
            <p:cNvSpPr/>
            <p:nvPr/>
          </p:nvSpPr>
          <p:spPr bwMode="auto">
            <a:xfrm>
              <a:off x="6287381" y="2645877"/>
              <a:ext cx="2103393" cy="1065309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4"/>
            <a:stretch>
              <a:fillRect/>
            </a:stretch>
          </p:blipFill>
          <p:spPr bwMode="auto">
            <a:xfrm>
              <a:off x="6931893" y="2709383"/>
              <a:ext cx="1352522" cy="968463"/>
            </a:xfrm>
            <a:prstGeom prst="rect">
              <a:avLst/>
            </a:prstGeom>
            <a:noFill/>
            <a:effectLst>
              <a:outerShdw blurRad="38100" sx="102000" sy="102000" algn="ctr" rotWithShape="0">
                <a:prstClr val="black">
                  <a:alpha val="2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526" name="Freeform 51"/>
            <p:cNvSpPr>
              <a:spLocks noEditPoints="1"/>
            </p:cNvSpPr>
            <p:nvPr/>
          </p:nvSpPr>
          <p:spPr bwMode="auto">
            <a:xfrm rot="10800000" flipH="1" flipV="1">
              <a:off x="6514294" y="3455023"/>
              <a:ext cx="118493" cy="10738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1527" name="组合 43"/>
            <p:cNvGrpSpPr/>
            <p:nvPr/>
          </p:nvGrpSpPr>
          <p:grpSpPr bwMode="auto">
            <a:xfrm>
              <a:off x="6363578" y="2968570"/>
              <a:ext cx="420716" cy="419923"/>
              <a:chOff x="8548687" y="-3030538"/>
              <a:chExt cx="2126497" cy="2122488"/>
            </a:xfrm>
          </p:grpSpPr>
          <p:sp>
            <p:nvSpPr>
              <p:cNvPr id="20" name="Freeform 14"/>
              <p:cNvSpPr/>
              <p:nvPr/>
            </p:nvSpPr>
            <p:spPr bwMode="auto">
              <a:xfrm>
                <a:off x="8548692" y="-3032570"/>
                <a:ext cx="2126305" cy="2126547"/>
              </a:xfrm>
              <a:custGeom>
                <a:avLst/>
                <a:gdLst>
                  <a:gd name="T0" fmla="*/ 566 w 566"/>
                  <a:gd name="T1" fmla="*/ 283 h 566"/>
                  <a:gd name="T2" fmla="*/ 484 w 566"/>
                  <a:gd name="T3" fmla="*/ 481 h 566"/>
                  <a:gd name="T4" fmla="*/ 478 w 566"/>
                  <a:gd name="T5" fmla="*/ 487 h 566"/>
                  <a:gd name="T6" fmla="*/ 388 w 566"/>
                  <a:gd name="T7" fmla="*/ 546 h 566"/>
                  <a:gd name="T8" fmla="*/ 283 w 566"/>
                  <a:gd name="T9" fmla="*/ 566 h 566"/>
                  <a:gd name="T10" fmla="*/ 0 w 566"/>
                  <a:gd name="T11" fmla="*/ 283 h 566"/>
                  <a:gd name="T12" fmla="*/ 283 w 566"/>
                  <a:gd name="T13" fmla="*/ 0 h 566"/>
                  <a:gd name="T14" fmla="*/ 562 w 566"/>
                  <a:gd name="T15" fmla="*/ 240 h 566"/>
                  <a:gd name="T16" fmla="*/ 566 w 566"/>
                  <a:gd name="T17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360"/>
                      <a:pt x="534" y="430"/>
                      <a:pt x="484" y="481"/>
                    </a:cubicBezTo>
                    <a:cubicBezTo>
                      <a:pt x="482" y="483"/>
                      <a:pt x="480" y="485"/>
                      <a:pt x="478" y="487"/>
                    </a:cubicBezTo>
                    <a:cubicBezTo>
                      <a:pt x="452" y="512"/>
                      <a:pt x="422" y="532"/>
                      <a:pt x="388" y="546"/>
                    </a:cubicBezTo>
                    <a:cubicBezTo>
                      <a:pt x="355" y="559"/>
                      <a:pt x="320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24" y="0"/>
                      <a:pt x="542" y="104"/>
                      <a:pt x="562" y="240"/>
                    </a:cubicBezTo>
                    <a:cubicBezTo>
                      <a:pt x="564" y="254"/>
                      <a:pt x="566" y="268"/>
                      <a:pt x="566" y="283"/>
                    </a:cubicBezTo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529" name="Freeform 15"/>
              <p:cNvSpPr/>
              <p:nvPr/>
            </p:nvSpPr>
            <p:spPr bwMode="auto">
              <a:xfrm>
                <a:off x="9519484" y="-1564444"/>
                <a:ext cx="825501" cy="584201"/>
              </a:xfrm>
              <a:custGeom>
                <a:avLst/>
                <a:gdLst>
                  <a:gd name="T0" fmla="*/ 2147483646 w 220"/>
                  <a:gd name="T1" fmla="*/ 0 h 156"/>
                  <a:gd name="T2" fmla="*/ 2147483646 w 220"/>
                  <a:gd name="T3" fmla="*/ 2147483646 h 156"/>
                  <a:gd name="T4" fmla="*/ 2147483646 w 220"/>
                  <a:gd name="T5" fmla="*/ 2147483646 h 156"/>
                  <a:gd name="T6" fmla="*/ 2147483646 w 220"/>
                  <a:gd name="T7" fmla="*/ 2147483646 h 156"/>
                  <a:gd name="T8" fmla="*/ 2147483646 w 220"/>
                  <a:gd name="T9" fmla="*/ 2147483646 h 156"/>
                  <a:gd name="T10" fmla="*/ 2147483646 w 220"/>
                  <a:gd name="T11" fmla="*/ 2147483646 h 156"/>
                  <a:gd name="T12" fmla="*/ 2147483646 w 220"/>
                  <a:gd name="T13" fmla="*/ 2147483646 h 156"/>
                  <a:gd name="T14" fmla="*/ 2147483646 w 220"/>
                  <a:gd name="T15" fmla="*/ 2147483646 h 156"/>
                  <a:gd name="T16" fmla="*/ 2147483646 w 220"/>
                  <a:gd name="T17" fmla="*/ 2147483646 h 156"/>
                  <a:gd name="T18" fmla="*/ 2147483646 w 220"/>
                  <a:gd name="T19" fmla="*/ 2147483646 h 156"/>
                  <a:gd name="T20" fmla="*/ 2147483646 w 220"/>
                  <a:gd name="T21" fmla="*/ 2147483646 h 156"/>
                  <a:gd name="T22" fmla="*/ 2147483646 w 220"/>
                  <a:gd name="T23" fmla="*/ 2147483646 h 156"/>
                  <a:gd name="T24" fmla="*/ 2147483646 w 220"/>
                  <a:gd name="T25" fmla="*/ 2147483646 h 156"/>
                  <a:gd name="T26" fmla="*/ 2147483646 w 220"/>
                  <a:gd name="T27" fmla="*/ 2147483646 h 156"/>
                  <a:gd name="T28" fmla="*/ 2147483646 w 220"/>
                  <a:gd name="T29" fmla="*/ 2147483646 h 156"/>
                  <a:gd name="T30" fmla="*/ 2147483646 w 220"/>
                  <a:gd name="T31" fmla="*/ 2147483646 h 156"/>
                  <a:gd name="T32" fmla="*/ 2147483646 w 220"/>
                  <a:gd name="T33" fmla="*/ 2147483646 h 156"/>
                  <a:gd name="T34" fmla="*/ 2147483646 w 220"/>
                  <a:gd name="T35" fmla="*/ 2147483646 h 156"/>
                  <a:gd name="T36" fmla="*/ 2147483646 w 220"/>
                  <a:gd name="T37" fmla="*/ 2147483646 h 156"/>
                  <a:gd name="T38" fmla="*/ 2147483646 w 220"/>
                  <a:gd name="T39" fmla="*/ 2147483646 h 156"/>
                  <a:gd name="T40" fmla="*/ 2147483646 w 220"/>
                  <a:gd name="T41" fmla="*/ 2147483646 h 156"/>
                  <a:gd name="T42" fmla="*/ 2147483646 w 220"/>
                  <a:gd name="T43" fmla="*/ 2147483646 h 156"/>
                  <a:gd name="T44" fmla="*/ 2147483646 w 220"/>
                  <a:gd name="T45" fmla="*/ 2147483646 h 156"/>
                  <a:gd name="T46" fmla="*/ 2147483646 w 220"/>
                  <a:gd name="T47" fmla="*/ 2147483646 h 156"/>
                  <a:gd name="T48" fmla="*/ 2147483646 w 220"/>
                  <a:gd name="T49" fmla="*/ 2147483646 h 156"/>
                  <a:gd name="T50" fmla="*/ 2147483646 w 220"/>
                  <a:gd name="T51" fmla="*/ 2147483646 h 156"/>
                  <a:gd name="T52" fmla="*/ 2147483646 w 220"/>
                  <a:gd name="T53" fmla="*/ 2147483646 h 156"/>
                  <a:gd name="T54" fmla="*/ 0 w 220"/>
                  <a:gd name="T55" fmla="*/ 2147483646 h 156"/>
                  <a:gd name="T56" fmla="*/ 2147483646 w 220"/>
                  <a:gd name="T57" fmla="*/ 2147483646 h 156"/>
                  <a:gd name="T58" fmla="*/ 2147483646 w 220"/>
                  <a:gd name="T59" fmla="*/ 2147483646 h 156"/>
                  <a:gd name="T60" fmla="*/ 2147483646 w 220"/>
                  <a:gd name="T61" fmla="*/ 0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220" h="156">
                    <a:moveTo>
                      <a:pt x="44" y="0"/>
                    </a:moveTo>
                    <a:cubicBezTo>
                      <a:pt x="45" y="0"/>
                      <a:pt x="46" y="0"/>
                      <a:pt x="46" y="1"/>
                    </a:cubicBezTo>
                    <a:cubicBezTo>
                      <a:pt x="47" y="1"/>
                      <a:pt x="47" y="1"/>
                      <a:pt x="48" y="2"/>
                    </a:cubicBezTo>
                    <a:cubicBezTo>
                      <a:pt x="48" y="2"/>
                      <a:pt x="48" y="2"/>
                      <a:pt x="48" y="2"/>
                    </a:cubicBezTo>
                    <a:cubicBezTo>
                      <a:pt x="49" y="2"/>
                      <a:pt x="49" y="3"/>
                      <a:pt x="50" y="3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0" y="4"/>
                      <a:pt x="51" y="4"/>
                      <a:pt x="51" y="5"/>
                    </a:cubicBezTo>
                    <a:cubicBezTo>
                      <a:pt x="52" y="5"/>
                      <a:pt x="52" y="6"/>
                      <a:pt x="53" y="6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5" y="8"/>
                      <a:pt x="56" y="10"/>
                      <a:pt x="57" y="12"/>
                    </a:cubicBezTo>
                    <a:cubicBezTo>
                      <a:pt x="58" y="13"/>
                      <a:pt x="59" y="14"/>
                      <a:pt x="60" y="16"/>
                    </a:cubicBezTo>
                    <a:cubicBezTo>
                      <a:pt x="60" y="16"/>
                      <a:pt x="61" y="17"/>
                      <a:pt x="61" y="17"/>
                    </a:cubicBezTo>
                    <a:cubicBezTo>
                      <a:pt x="62" y="19"/>
                      <a:pt x="62" y="20"/>
                      <a:pt x="63" y="22"/>
                    </a:cubicBezTo>
                    <a:cubicBezTo>
                      <a:pt x="65" y="27"/>
                      <a:pt x="66" y="34"/>
                      <a:pt x="66" y="40"/>
                    </a:cubicBezTo>
                    <a:cubicBezTo>
                      <a:pt x="66" y="49"/>
                      <a:pt x="64" y="57"/>
                      <a:pt x="61" y="64"/>
                    </a:cubicBezTo>
                    <a:cubicBezTo>
                      <a:pt x="60" y="66"/>
                      <a:pt x="58" y="69"/>
                      <a:pt x="56" y="71"/>
                    </a:cubicBezTo>
                    <a:cubicBezTo>
                      <a:pt x="55" y="72"/>
                      <a:pt x="54" y="74"/>
                      <a:pt x="53" y="75"/>
                    </a:cubicBezTo>
                    <a:cubicBezTo>
                      <a:pt x="53" y="75"/>
                      <a:pt x="52" y="76"/>
                      <a:pt x="51" y="76"/>
                    </a:cubicBezTo>
                    <a:cubicBezTo>
                      <a:pt x="43" y="84"/>
                      <a:pt x="33" y="88"/>
                      <a:pt x="20" y="88"/>
                    </a:cubicBezTo>
                    <a:cubicBezTo>
                      <a:pt x="18" y="88"/>
                      <a:pt x="16" y="88"/>
                      <a:pt x="14" y="88"/>
                    </a:cubicBezTo>
                    <a:cubicBezTo>
                      <a:pt x="13" y="88"/>
                      <a:pt x="13" y="88"/>
                      <a:pt x="12" y="88"/>
                    </a:cubicBezTo>
                    <a:cubicBezTo>
                      <a:pt x="11" y="88"/>
                      <a:pt x="10" y="88"/>
                      <a:pt x="8" y="87"/>
                    </a:cubicBezTo>
                    <a:cubicBezTo>
                      <a:pt x="8" y="87"/>
                      <a:pt x="7" y="87"/>
                      <a:pt x="7" y="87"/>
                    </a:cubicBezTo>
                    <a:cubicBezTo>
                      <a:pt x="6" y="87"/>
                      <a:pt x="6" y="87"/>
                      <a:pt x="6" y="87"/>
                    </a:cubicBezTo>
                    <a:cubicBezTo>
                      <a:pt x="6" y="87"/>
                      <a:pt x="5" y="87"/>
                      <a:pt x="5" y="86"/>
                    </a:cubicBezTo>
                    <a:cubicBezTo>
                      <a:pt x="4" y="86"/>
                      <a:pt x="4" y="86"/>
                      <a:pt x="4" y="86"/>
                    </a:cubicBezTo>
                    <a:cubicBezTo>
                      <a:pt x="3" y="86"/>
                      <a:pt x="3" y="86"/>
                      <a:pt x="2" y="86"/>
                    </a:cubicBezTo>
                    <a:cubicBezTo>
                      <a:pt x="2" y="85"/>
                      <a:pt x="1" y="85"/>
                      <a:pt x="0" y="85"/>
                    </a:cubicBezTo>
                    <a:cubicBezTo>
                      <a:pt x="130" y="156"/>
                      <a:pt x="130" y="156"/>
                      <a:pt x="130" y="156"/>
                    </a:cubicBezTo>
                    <a:cubicBezTo>
                      <a:pt x="164" y="142"/>
                      <a:pt x="194" y="122"/>
                      <a:pt x="220" y="97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0" name="Freeform 16"/>
              <p:cNvSpPr/>
              <p:nvPr/>
            </p:nvSpPr>
            <p:spPr bwMode="auto">
              <a:xfrm>
                <a:off x="9530594" y="-2656644"/>
                <a:ext cx="1144590" cy="1433513"/>
              </a:xfrm>
              <a:custGeom>
                <a:avLst/>
                <a:gdLst>
                  <a:gd name="T0" fmla="*/ 2147483646 w 305"/>
                  <a:gd name="T1" fmla="*/ 0 h 382"/>
                  <a:gd name="T2" fmla="*/ 2147483646 w 305"/>
                  <a:gd name="T3" fmla="*/ 2147483646 h 382"/>
                  <a:gd name="T4" fmla="*/ 2147483646 w 305"/>
                  <a:gd name="T5" fmla="*/ 2147483646 h 382"/>
                  <a:gd name="T6" fmla="*/ 2147483646 w 305"/>
                  <a:gd name="T7" fmla="*/ 2147483646 h 382"/>
                  <a:gd name="T8" fmla="*/ 2147483646 w 305"/>
                  <a:gd name="T9" fmla="*/ 2147483646 h 382"/>
                  <a:gd name="T10" fmla="*/ 2147483646 w 305"/>
                  <a:gd name="T11" fmla="*/ 2147483646 h 382"/>
                  <a:gd name="T12" fmla="*/ 2147483646 w 305"/>
                  <a:gd name="T13" fmla="*/ 2147483646 h 382"/>
                  <a:gd name="T14" fmla="*/ 2147483646 w 305"/>
                  <a:gd name="T15" fmla="*/ 2147483646 h 382"/>
                  <a:gd name="T16" fmla="*/ 2147483646 w 305"/>
                  <a:gd name="T17" fmla="*/ 2147483646 h 382"/>
                  <a:gd name="T18" fmla="*/ 2147483646 w 305"/>
                  <a:gd name="T19" fmla="*/ 2147483646 h 382"/>
                  <a:gd name="T20" fmla="*/ 2147483646 w 305"/>
                  <a:gd name="T21" fmla="*/ 2147483646 h 382"/>
                  <a:gd name="T22" fmla="*/ 2147483646 w 305"/>
                  <a:gd name="T23" fmla="*/ 2147483646 h 382"/>
                  <a:gd name="T24" fmla="*/ 2147483646 w 305"/>
                  <a:gd name="T25" fmla="*/ 2147483646 h 382"/>
                  <a:gd name="T26" fmla="*/ 2147483646 w 305"/>
                  <a:gd name="T27" fmla="*/ 2147483646 h 382"/>
                  <a:gd name="T28" fmla="*/ 2147483646 w 305"/>
                  <a:gd name="T29" fmla="*/ 2147483646 h 382"/>
                  <a:gd name="T30" fmla="*/ 2147483646 w 305"/>
                  <a:gd name="T31" fmla="*/ 2147483646 h 382"/>
                  <a:gd name="T32" fmla="*/ 2147483646 w 305"/>
                  <a:gd name="T33" fmla="*/ 2147483646 h 382"/>
                  <a:gd name="T34" fmla="*/ 2147483646 w 305"/>
                  <a:gd name="T35" fmla="*/ 2147483646 h 382"/>
                  <a:gd name="T36" fmla="*/ 2147483646 w 305"/>
                  <a:gd name="T37" fmla="*/ 2147483646 h 382"/>
                  <a:gd name="T38" fmla="*/ 2147483646 w 305"/>
                  <a:gd name="T39" fmla="*/ 2147483646 h 382"/>
                  <a:gd name="T40" fmla="*/ 2147483646 w 305"/>
                  <a:gd name="T41" fmla="*/ 2147483646 h 382"/>
                  <a:gd name="T42" fmla="*/ 2147483646 w 305"/>
                  <a:gd name="T43" fmla="*/ 2147483646 h 382"/>
                  <a:gd name="T44" fmla="*/ 2147483646 w 305"/>
                  <a:gd name="T45" fmla="*/ 2147483646 h 382"/>
                  <a:gd name="T46" fmla="*/ 0 w 305"/>
                  <a:gd name="T47" fmla="*/ 2147483646 h 382"/>
                  <a:gd name="T48" fmla="*/ 0 w 305"/>
                  <a:gd name="T49" fmla="*/ 2147483646 h 382"/>
                  <a:gd name="T50" fmla="*/ 2147483646 w 305"/>
                  <a:gd name="T51" fmla="*/ 2147483646 h 382"/>
                  <a:gd name="T52" fmla="*/ 2147483646 w 305"/>
                  <a:gd name="T53" fmla="*/ 2147483646 h 382"/>
                  <a:gd name="T54" fmla="*/ 2147483646 w 305"/>
                  <a:gd name="T55" fmla="*/ 2147483646 h 382"/>
                  <a:gd name="T56" fmla="*/ 2147483646 w 305"/>
                  <a:gd name="T57" fmla="*/ 2147483646 h 382"/>
                  <a:gd name="T58" fmla="*/ 2147483646 w 305"/>
                  <a:gd name="T59" fmla="*/ 0 h 38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05" h="382">
                    <a:moveTo>
                      <a:pt x="44" y="0"/>
                    </a:moveTo>
                    <a:cubicBezTo>
                      <a:pt x="47" y="2"/>
                      <a:pt x="50" y="5"/>
                      <a:pt x="52" y="8"/>
                    </a:cubicBezTo>
                    <a:cubicBezTo>
                      <a:pt x="53" y="9"/>
                      <a:pt x="53" y="10"/>
                      <a:pt x="54" y="11"/>
                    </a:cubicBezTo>
                    <a:cubicBezTo>
                      <a:pt x="54" y="12"/>
                      <a:pt x="55" y="13"/>
                      <a:pt x="55" y="14"/>
                    </a:cubicBezTo>
                    <a:cubicBezTo>
                      <a:pt x="56" y="15"/>
                      <a:pt x="56" y="15"/>
                      <a:pt x="56" y="16"/>
                    </a:cubicBezTo>
                    <a:cubicBezTo>
                      <a:pt x="57" y="17"/>
                      <a:pt x="57" y="18"/>
                      <a:pt x="58" y="20"/>
                    </a:cubicBezTo>
                    <a:cubicBezTo>
                      <a:pt x="59" y="24"/>
                      <a:pt x="60" y="28"/>
                      <a:pt x="61" y="33"/>
                    </a:cubicBezTo>
                    <a:cubicBezTo>
                      <a:pt x="61" y="34"/>
                      <a:pt x="61" y="36"/>
                      <a:pt x="62" y="38"/>
                    </a:cubicBezTo>
                    <a:cubicBezTo>
                      <a:pt x="62" y="40"/>
                      <a:pt x="62" y="41"/>
                      <a:pt x="62" y="43"/>
                    </a:cubicBezTo>
                    <a:cubicBezTo>
                      <a:pt x="62" y="43"/>
                      <a:pt x="62" y="43"/>
                      <a:pt x="62" y="43"/>
                    </a:cubicBezTo>
                    <a:cubicBezTo>
                      <a:pt x="62" y="45"/>
                      <a:pt x="62" y="46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61"/>
                      <a:pt x="63" y="74"/>
                      <a:pt x="63" y="87"/>
                    </a:cubicBezTo>
                    <a:cubicBezTo>
                      <a:pt x="63" y="93"/>
                      <a:pt x="63" y="100"/>
                      <a:pt x="63" y="106"/>
                    </a:cubicBezTo>
                    <a:cubicBezTo>
                      <a:pt x="62" y="128"/>
                      <a:pt x="59" y="150"/>
                      <a:pt x="55" y="172"/>
                    </a:cubicBezTo>
                    <a:cubicBezTo>
                      <a:pt x="48" y="199"/>
                      <a:pt x="42" y="225"/>
                      <a:pt x="35" y="252"/>
                    </a:cubicBezTo>
                    <a:cubicBezTo>
                      <a:pt x="34" y="258"/>
                      <a:pt x="27" y="261"/>
                      <a:pt x="16" y="261"/>
                    </a:cubicBezTo>
                    <a:cubicBezTo>
                      <a:pt x="12" y="261"/>
                      <a:pt x="9" y="261"/>
                      <a:pt x="7" y="261"/>
                    </a:cubicBezTo>
                    <a:cubicBezTo>
                      <a:pt x="6" y="261"/>
                      <a:pt x="6" y="261"/>
                      <a:pt x="6" y="261"/>
                    </a:cubicBezTo>
                    <a:cubicBezTo>
                      <a:pt x="5" y="260"/>
                      <a:pt x="5" y="260"/>
                      <a:pt x="5" y="260"/>
                    </a:cubicBezTo>
                    <a:cubicBezTo>
                      <a:pt x="5" y="260"/>
                      <a:pt x="5" y="260"/>
                      <a:pt x="5" y="260"/>
                    </a:cubicBezTo>
                    <a:cubicBezTo>
                      <a:pt x="4" y="260"/>
                      <a:pt x="4" y="260"/>
                      <a:pt x="4" y="260"/>
                    </a:cubicBezTo>
                    <a:cubicBezTo>
                      <a:pt x="4" y="260"/>
                      <a:pt x="3" y="260"/>
                      <a:pt x="3" y="260"/>
                    </a:cubicBezTo>
                    <a:cubicBezTo>
                      <a:pt x="2" y="260"/>
                      <a:pt x="1" y="260"/>
                      <a:pt x="0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223" y="382"/>
                      <a:pt x="223" y="382"/>
                      <a:pt x="223" y="382"/>
                    </a:cubicBezTo>
                    <a:cubicBezTo>
                      <a:pt x="273" y="331"/>
                      <a:pt x="305" y="261"/>
                      <a:pt x="305" y="184"/>
                    </a:cubicBezTo>
                    <a:cubicBezTo>
                      <a:pt x="305" y="169"/>
                      <a:pt x="303" y="155"/>
                      <a:pt x="301" y="141"/>
                    </a:cubicBezTo>
                    <a:cubicBezTo>
                      <a:pt x="301" y="141"/>
                      <a:pt x="301" y="141"/>
                      <a:pt x="301" y="141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1" name="Freeform 17"/>
              <p:cNvSpPr/>
              <p:nvPr/>
            </p:nvSpPr>
            <p:spPr bwMode="auto">
              <a:xfrm>
                <a:off x="9413875" y="-2697163"/>
                <a:ext cx="176213" cy="1016000"/>
              </a:xfrm>
              <a:custGeom>
                <a:avLst/>
                <a:gdLst>
                  <a:gd name="T0" fmla="*/ 2147483646 w 47"/>
                  <a:gd name="T1" fmla="*/ 0 h 271"/>
                  <a:gd name="T2" fmla="*/ 2147483646 w 47"/>
                  <a:gd name="T3" fmla="*/ 2147483646 h 271"/>
                  <a:gd name="T4" fmla="*/ 2147483646 w 47"/>
                  <a:gd name="T5" fmla="*/ 2147483646 h 271"/>
                  <a:gd name="T6" fmla="*/ 2147483646 w 47"/>
                  <a:gd name="T7" fmla="*/ 2147483646 h 271"/>
                  <a:gd name="T8" fmla="*/ 2147483646 w 47"/>
                  <a:gd name="T9" fmla="*/ 2147483646 h 271"/>
                  <a:gd name="T10" fmla="*/ 0 w 47"/>
                  <a:gd name="T11" fmla="*/ 2147483646 h 271"/>
                  <a:gd name="T12" fmla="*/ 2147483646 w 47"/>
                  <a:gd name="T13" fmla="*/ 2147483646 h 271"/>
                  <a:gd name="T14" fmla="*/ 2147483646 w 47"/>
                  <a:gd name="T15" fmla="*/ 2147483646 h 271"/>
                  <a:gd name="T16" fmla="*/ 2147483646 w 47"/>
                  <a:gd name="T17" fmla="*/ 2147483646 h 271"/>
                  <a:gd name="T18" fmla="*/ 2147483646 w 47"/>
                  <a:gd name="T19" fmla="*/ 2147483646 h 271"/>
                  <a:gd name="T20" fmla="*/ 2147483646 w 47"/>
                  <a:gd name="T21" fmla="*/ 2147483646 h 271"/>
                  <a:gd name="T22" fmla="*/ 2147483646 w 47"/>
                  <a:gd name="T23" fmla="*/ 2147483646 h 271"/>
                  <a:gd name="T24" fmla="*/ 2147483646 w 47"/>
                  <a:gd name="T25" fmla="*/ 2147483646 h 271"/>
                  <a:gd name="T26" fmla="*/ 2147483646 w 47"/>
                  <a:gd name="T27" fmla="*/ 2147483646 h 271"/>
                  <a:gd name="T28" fmla="*/ 2147483646 w 47"/>
                  <a:gd name="T29" fmla="*/ 2147483646 h 271"/>
                  <a:gd name="T30" fmla="*/ 2147483646 w 47"/>
                  <a:gd name="T31" fmla="*/ 2147483646 h 271"/>
                  <a:gd name="T32" fmla="*/ 2147483646 w 47"/>
                  <a:gd name="T33" fmla="*/ 2147483646 h 271"/>
                  <a:gd name="T34" fmla="*/ 2147483646 w 47"/>
                  <a:gd name="T35" fmla="*/ 0 h 27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7" h="271">
                    <a:moveTo>
                      <a:pt x="43" y="0"/>
                    </a:moveTo>
                    <a:cubicBezTo>
                      <a:pt x="7" y="0"/>
                      <a:pt x="1" y="41"/>
                      <a:pt x="1" y="47"/>
                    </a:cubicBezTo>
                    <a:cubicBezTo>
                      <a:pt x="1" y="54"/>
                      <a:pt x="1" y="65"/>
                      <a:pt x="2" y="80"/>
                    </a:cubicBezTo>
                    <a:cubicBezTo>
                      <a:pt x="2" y="95"/>
                      <a:pt x="2" y="106"/>
                      <a:pt x="2" y="113"/>
                    </a:cubicBezTo>
                    <a:cubicBezTo>
                      <a:pt x="2" y="120"/>
                      <a:pt x="2" y="130"/>
                      <a:pt x="1" y="143"/>
                    </a:cubicBezTo>
                    <a:cubicBezTo>
                      <a:pt x="1" y="157"/>
                      <a:pt x="0" y="167"/>
                      <a:pt x="0" y="174"/>
                    </a:cubicBezTo>
                    <a:cubicBezTo>
                      <a:pt x="0" y="181"/>
                      <a:pt x="8" y="211"/>
                      <a:pt x="23" y="263"/>
                    </a:cubicBezTo>
                    <a:cubicBezTo>
                      <a:pt x="24" y="266"/>
                      <a:pt x="26" y="268"/>
                      <a:pt x="30" y="269"/>
                    </a:cubicBezTo>
                    <a:cubicBezTo>
                      <a:pt x="31" y="270"/>
                      <a:pt x="32" y="270"/>
                      <a:pt x="33" y="270"/>
                    </a:cubicBezTo>
                    <a:cubicBezTo>
                      <a:pt x="33" y="270"/>
                      <a:pt x="34" y="270"/>
                      <a:pt x="34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6" y="271"/>
                      <a:pt x="36" y="271"/>
                      <a:pt x="36" y="271"/>
                    </a:cubicBezTo>
                    <a:cubicBezTo>
                      <a:pt x="37" y="271"/>
                      <a:pt x="37" y="271"/>
                      <a:pt x="37" y="271"/>
                    </a:cubicBezTo>
                    <a:cubicBezTo>
                      <a:pt x="39" y="271"/>
                      <a:pt x="42" y="271"/>
                      <a:pt x="46" y="271"/>
                    </a:cubicBezTo>
                    <a:cubicBezTo>
                      <a:pt x="47" y="271"/>
                      <a:pt x="47" y="271"/>
                      <a:pt x="47" y="27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5" y="0"/>
                      <a:pt x="44" y="0"/>
                      <a:pt x="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2" name="Freeform 18"/>
              <p:cNvSpPr/>
              <p:nvPr/>
            </p:nvSpPr>
            <p:spPr bwMode="auto">
              <a:xfrm>
                <a:off x="9590087" y="-2693988"/>
                <a:ext cx="173038" cy="1012825"/>
              </a:xfrm>
              <a:custGeom>
                <a:avLst/>
                <a:gdLst>
                  <a:gd name="T0" fmla="*/ 2147483646 w 46"/>
                  <a:gd name="T1" fmla="*/ 2147483646 h 270"/>
                  <a:gd name="T2" fmla="*/ 2147483646 w 46"/>
                  <a:gd name="T3" fmla="*/ 2147483646 h 270"/>
                  <a:gd name="T4" fmla="*/ 2147483646 w 46"/>
                  <a:gd name="T5" fmla="*/ 2147483646 h 270"/>
                  <a:gd name="T6" fmla="*/ 2147483646 w 46"/>
                  <a:gd name="T7" fmla="*/ 2147483646 h 270"/>
                  <a:gd name="T8" fmla="*/ 2147483646 w 46"/>
                  <a:gd name="T9" fmla="*/ 2147483646 h 270"/>
                  <a:gd name="T10" fmla="*/ 2147483646 w 46"/>
                  <a:gd name="T11" fmla="*/ 2147483646 h 270"/>
                  <a:gd name="T12" fmla="*/ 2147483646 w 46"/>
                  <a:gd name="T13" fmla="*/ 2147483646 h 270"/>
                  <a:gd name="T14" fmla="*/ 2147483646 w 46"/>
                  <a:gd name="T15" fmla="*/ 2147483646 h 270"/>
                  <a:gd name="T16" fmla="*/ 2147483646 w 46"/>
                  <a:gd name="T17" fmla="*/ 2147483646 h 270"/>
                  <a:gd name="T18" fmla="*/ 2147483646 w 46"/>
                  <a:gd name="T19" fmla="*/ 2147483646 h 270"/>
                  <a:gd name="T20" fmla="*/ 2147483646 w 46"/>
                  <a:gd name="T21" fmla="*/ 2147483646 h 270"/>
                  <a:gd name="T22" fmla="*/ 2147483646 w 46"/>
                  <a:gd name="T23" fmla="*/ 2147483646 h 270"/>
                  <a:gd name="T24" fmla="*/ 2147483646 w 46"/>
                  <a:gd name="T25" fmla="*/ 2147483646 h 270"/>
                  <a:gd name="T26" fmla="*/ 2147483646 w 46"/>
                  <a:gd name="T27" fmla="*/ 2147483646 h 270"/>
                  <a:gd name="T28" fmla="*/ 2147483646 w 46"/>
                  <a:gd name="T29" fmla="*/ 2147483646 h 270"/>
                  <a:gd name="T30" fmla="*/ 2147483646 w 46"/>
                  <a:gd name="T31" fmla="*/ 2147483646 h 270"/>
                  <a:gd name="T32" fmla="*/ 0 w 46"/>
                  <a:gd name="T33" fmla="*/ 0 h 270"/>
                  <a:gd name="T34" fmla="*/ 0 w 46"/>
                  <a:gd name="T35" fmla="*/ 2147483646 h 270"/>
                  <a:gd name="T36" fmla="*/ 2147483646 w 46"/>
                  <a:gd name="T37" fmla="*/ 2147483646 h 27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6" h="270">
                    <a:moveTo>
                      <a:pt x="18" y="261"/>
                    </a:moveTo>
                    <a:cubicBezTo>
                      <a:pt x="25" y="234"/>
                      <a:pt x="31" y="208"/>
                      <a:pt x="38" y="181"/>
                    </a:cubicBezTo>
                    <a:cubicBezTo>
                      <a:pt x="42" y="159"/>
                      <a:pt x="45" y="137"/>
                      <a:pt x="46" y="115"/>
                    </a:cubicBezTo>
                    <a:cubicBezTo>
                      <a:pt x="46" y="109"/>
                      <a:pt x="46" y="102"/>
                      <a:pt x="46" y="96"/>
                    </a:cubicBezTo>
                    <a:cubicBezTo>
                      <a:pt x="46" y="83"/>
                      <a:pt x="46" y="70"/>
                      <a:pt x="46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5" y="55"/>
                      <a:pt x="45" y="54"/>
                      <a:pt x="45" y="52"/>
                    </a:cubicBezTo>
                    <a:cubicBezTo>
                      <a:pt x="45" y="52"/>
                      <a:pt x="45" y="52"/>
                      <a:pt x="45" y="52"/>
                    </a:cubicBezTo>
                    <a:cubicBezTo>
                      <a:pt x="45" y="50"/>
                      <a:pt x="45" y="49"/>
                      <a:pt x="45" y="47"/>
                    </a:cubicBezTo>
                    <a:cubicBezTo>
                      <a:pt x="44" y="45"/>
                      <a:pt x="44" y="43"/>
                      <a:pt x="44" y="42"/>
                    </a:cubicBezTo>
                    <a:cubicBezTo>
                      <a:pt x="43" y="37"/>
                      <a:pt x="42" y="33"/>
                      <a:pt x="41" y="29"/>
                    </a:cubicBezTo>
                    <a:cubicBezTo>
                      <a:pt x="40" y="28"/>
                      <a:pt x="40" y="26"/>
                      <a:pt x="39" y="25"/>
                    </a:cubicBezTo>
                    <a:cubicBezTo>
                      <a:pt x="39" y="24"/>
                      <a:pt x="39" y="23"/>
                      <a:pt x="38" y="23"/>
                    </a:cubicBezTo>
                    <a:cubicBezTo>
                      <a:pt x="38" y="22"/>
                      <a:pt x="37" y="21"/>
                      <a:pt x="37" y="20"/>
                    </a:cubicBezTo>
                    <a:cubicBezTo>
                      <a:pt x="36" y="19"/>
                      <a:pt x="36" y="18"/>
                      <a:pt x="35" y="17"/>
                    </a:cubicBezTo>
                    <a:cubicBezTo>
                      <a:pt x="33" y="14"/>
                      <a:pt x="30" y="11"/>
                      <a:pt x="28" y="9"/>
                    </a:cubicBezTo>
                    <a:cubicBezTo>
                      <a:pt x="20" y="3"/>
                      <a:pt x="10" y="0"/>
                      <a:pt x="0" y="0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11" y="270"/>
                      <a:pt x="17" y="267"/>
                      <a:pt x="18" y="2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3" name="Freeform 19"/>
              <p:cNvSpPr/>
              <p:nvPr/>
            </p:nvSpPr>
            <p:spPr bwMode="auto">
              <a:xfrm>
                <a:off x="9590087" y="-1595438"/>
                <a:ext cx="173038" cy="357188"/>
              </a:xfrm>
              <a:custGeom>
                <a:avLst/>
                <a:gdLst>
                  <a:gd name="T0" fmla="*/ 0 w 46"/>
                  <a:gd name="T1" fmla="*/ 2147483646 h 95"/>
                  <a:gd name="T2" fmla="*/ 2147483646 w 46"/>
                  <a:gd name="T3" fmla="*/ 2147483646 h 95"/>
                  <a:gd name="T4" fmla="*/ 2147483646 w 46"/>
                  <a:gd name="T5" fmla="*/ 2147483646 h 95"/>
                  <a:gd name="T6" fmla="*/ 2147483646 w 46"/>
                  <a:gd name="T7" fmla="*/ 2147483646 h 95"/>
                  <a:gd name="T8" fmla="*/ 2147483646 w 46"/>
                  <a:gd name="T9" fmla="*/ 2147483646 h 95"/>
                  <a:gd name="T10" fmla="*/ 2147483646 w 46"/>
                  <a:gd name="T11" fmla="*/ 2147483646 h 95"/>
                  <a:gd name="T12" fmla="*/ 2147483646 w 46"/>
                  <a:gd name="T13" fmla="*/ 2147483646 h 95"/>
                  <a:gd name="T14" fmla="*/ 2147483646 w 46"/>
                  <a:gd name="T15" fmla="*/ 2147483646 h 95"/>
                  <a:gd name="T16" fmla="*/ 2147483646 w 46"/>
                  <a:gd name="T17" fmla="*/ 2147483646 h 95"/>
                  <a:gd name="T18" fmla="*/ 2147483646 w 46"/>
                  <a:gd name="T19" fmla="*/ 2147483646 h 95"/>
                  <a:gd name="T20" fmla="*/ 2147483646 w 46"/>
                  <a:gd name="T21" fmla="*/ 2147483646 h 95"/>
                  <a:gd name="T22" fmla="*/ 2147483646 w 46"/>
                  <a:gd name="T23" fmla="*/ 2147483646 h 95"/>
                  <a:gd name="T24" fmla="*/ 2147483646 w 46"/>
                  <a:gd name="T25" fmla="*/ 2147483646 h 95"/>
                  <a:gd name="T26" fmla="*/ 2147483646 w 46"/>
                  <a:gd name="T27" fmla="*/ 2147483646 h 95"/>
                  <a:gd name="T28" fmla="*/ 2147483646 w 46"/>
                  <a:gd name="T29" fmla="*/ 2147483646 h 95"/>
                  <a:gd name="T30" fmla="*/ 2147483646 w 46"/>
                  <a:gd name="T31" fmla="*/ 2147483646 h 95"/>
                  <a:gd name="T32" fmla="*/ 2147483646 w 46"/>
                  <a:gd name="T33" fmla="*/ 2147483646 h 95"/>
                  <a:gd name="T34" fmla="*/ 2147483646 w 46"/>
                  <a:gd name="T35" fmla="*/ 2147483646 h 95"/>
                  <a:gd name="T36" fmla="*/ 2147483646 w 46"/>
                  <a:gd name="T37" fmla="*/ 2147483646 h 95"/>
                  <a:gd name="T38" fmla="*/ 2147483646 w 46"/>
                  <a:gd name="T39" fmla="*/ 2147483646 h 95"/>
                  <a:gd name="T40" fmla="*/ 0 w 46"/>
                  <a:gd name="T41" fmla="*/ 0 h 95"/>
                  <a:gd name="T42" fmla="*/ 0 w 46"/>
                  <a:gd name="T43" fmla="*/ 0 h 95"/>
                  <a:gd name="T44" fmla="*/ 0 w 46"/>
                  <a:gd name="T45" fmla="*/ 2147483646 h 9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" h="95">
                    <a:moveTo>
                      <a:pt x="0" y="95"/>
                    </a:moveTo>
                    <a:cubicBezTo>
                      <a:pt x="13" y="95"/>
                      <a:pt x="23" y="91"/>
                      <a:pt x="31" y="83"/>
                    </a:cubicBezTo>
                    <a:cubicBezTo>
                      <a:pt x="32" y="83"/>
                      <a:pt x="33" y="82"/>
                      <a:pt x="33" y="82"/>
                    </a:cubicBezTo>
                    <a:cubicBezTo>
                      <a:pt x="34" y="81"/>
                      <a:pt x="34" y="81"/>
                      <a:pt x="35" y="80"/>
                    </a:cubicBezTo>
                    <a:cubicBezTo>
                      <a:pt x="35" y="79"/>
                      <a:pt x="36" y="79"/>
                      <a:pt x="36" y="78"/>
                    </a:cubicBezTo>
                    <a:cubicBezTo>
                      <a:pt x="37" y="78"/>
                      <a:pt x="37" y="77"/>
                      <a:pt x="37" y="76"/>
                    </a:cubicBezTo>
                    <a:cubicBezTo>
                      <a:pt x="39" y="75"/>
                      <a:pt x="40" y="73"/>
                      <a:pt x="41" y="71"/>
                    </a:cubicBezTo>
                    <a:cubicBezTo>
                      <a:pt x="44" y="64"/>
                      <a:pt x="46" y="56"/>
                      <a:pt x="46" y="47"/>
                    </a:cubicBezTo>
                    <a:cubicBezTo>
                      <a:pt x="46" y="41"/>
                      <a:pt x="45" y="34"/>
                      <a:pt x="43" y="29"/>
                    </a:cubicBezTo>
                    <a:cubicBezTo>
                      <a:pt x="42" y="27"/>
                      <a:pt x="42" y="26"/>
                      <a:pt x="41" y="24"/>
                    </a:cubicBezTo>
                    <a:cubicBezTo>
                      <a:pt x="41" y="24"/>
                      <a:pt x="40" y="23"/>
                      <a:pt x="40" y="23"/>
                    </a:cubicBezTo>
                    <a:cubicBezTo>
                      <a:pt x="39" y="21"/>
                      <a:pt x="38" y="20"/>
                      <a:pt x="37" y="19"/>
                    </a:cubicBezTo>
                    <a:cubicBezTo>
                      <a:pt x="36" y="17"/>
                      <a:pt x="35" y="15"/>
                      <a:pt x="33" y="13"/>
                    </a:cubicBezTo>
                    <a:cubicBezTo>
                      <a:pt x="32" y="13"/>
                      <a:pt x="32" y="12"/>
                      <a:pt x="31" y="12"/>
                    </a:cubicBezTo>
                    <a:cubicBezTo>
                      <a:pt x="31" y="11"/>
                      <a:pt x="30" y="11"/>
                      <a:pt x="30" y="11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9" y="10"/>
                      <a:pt x="28" y="9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6" y="7"/>
                      <a:pt x="25" y="7"/>
                      <a:pt x="24" y="7"/>
                    </a:cubicBezTo>
                    <a:cubicBezTo>
                      <a:pt x="17" y="2"/>
                      <a:pt x="9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5"/>
                      <a:pt x="0" y="95"/>
                      <a:pt x="0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4" name="Freeform 20"/>
              <p:cNvSpPr/>
              <p:nvPr/>
            </p:nvSpPr>
            <p:spPr bwMode="auto">
              <a:xfrm>
                <a:off x="9413875" y="-1595438"/>
                <a:ext cx="176213" cy="357188"/>
              </a:xfrm>
              <a:custGeom>
                <a:avLst/>
                <a:gdLst>
                  <a:gd name="T0" fmla="*/ 0 w 47"/>
                  <a:gd name="T1" fmla="*/ 2147483646 h 95"/>
                  <a:gd name="T2" fmla="*/ 2147483646 w 47"/>
                  <a:gd name="T3" fmla="*/ 2147483646 h 95"/>
                  <a:gd name="T4" fmla="*/ 2147483646 w 47"/>
                  <a:gd name="T5" fmla="*/ 2147483646 h 95"/>
                  <a:gd name="T6" fmla="*/ 2147483646 w 47"/>
                  <a:gd name="T7" fmla="*/ 2147483646 h 95"/>
                  <a:gd name="T8" fmla="*/ 2147483646 w 47"/>
                  <a:gd name="T9" fmla="*/ 2147483646 h 95"/>
                  <a:gd name="T10" fmla="*/ 2147483646 w 47"/>
                  <a:gd name="T11" fmla="*/ 2147483646 h 95"/>
                  <a:gd name="T12" fmla="*/ 2147483646 w 47"/>
                  <a:gd name="T13" fmla="*/ 2147483646 h 95"/>
                  <a:gd name="T14" fmla="*/ 2147483646 w 47"/>
                  <a:gd name="T15" fmla="*/ 2147483646 h 95"/>
                  <a:gd name="T16" fmla="*/ 2147483646 w 47"/>
                  <a:gd name="T17" fmla="*/ 2147483646 h 95"/>
                  <a:gd name="T18" fmla="*/ 2147483646 w 47"/>
                  <a:gd name="T19" fmla="*/ 2147483646 h 95"/>
                  <a:gd name="T20" fmla="*/ 2147483646 w 47"/>
                  <a:gd name="T21" fmla="*/ 2147483646 h 95"/>
                  <a:gd name="T22" fmla="*/ 2147483646 w 47"/>
                  <a:gd name="T23" fmla="*/ 2147483646 h 95"/>
                  <a:gd name="T24" fmla="*/ 2147483646 w 47"/>
                  <a:gd name="T25" fmla="*/ 2147483646 h 95"/>
                  <a:gd name="T26" fmla="*/ 2147483646 w 47"/>
                  <a:gd name="T27" fmla="*/ 0 h 95"/>
                  <a:gd name="T28" fmla="*/ 2147483646 w 47"/>
                  <a:gd name="T29" fmla="*/ 2147483646 h 95"/>
                  <a:gd name="T30" fmla="*/ 0 w 47"/>
                  <a:gd name="T31" fmla="*/ 2147483646 h 9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7" h="95">
                    <a:moveTo>
                      <a:pt x="0" y="47"/>
                    </a:moveTo>
                    <a:cubicBezTo>
                      <a:pt x="0" y="61"/>
                      <a:pt x="5" y="73"/>
                      <a:pt x="13" y="82"/>
                    </a:cubicBezTo>
                    <a:cubicBezTo>
                      <a:pt x="17" y="86"/>
                      <a:pt x="22" y="89"/>
                      <a:pt x="27" y="92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28" y="92"/>
                      <a:pt x="29" y="92"/>
                      <a:pt x="29" y="93"/>
                    </a:cubicBezTo>
                    <a:cubicBezTo>
                      <a:pt x="30" y="93"/>
                      <a:pt x="30" y="93"/>
                      <a:pt x="31" y="93"/>
                    </a:cubicBezTo>
                    <a:cubicBezTo>
                      <a:pt x="32" y="93"/>
                      <a:pt x="32" y="93"/>
                      <a:pt x="32" y="93"/>
                    </a:cubicBezTo>
                    <a:cubicBezTo>
                      <a:pt x="32" y="94"/>
                      <a:pt x="33" y="94"/>
                      <a:pt x="33" y="94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4" y="94"/>
                      <a:pt x="35" y="94"/>
                      <a:pt x="35" y="94"/>
                    </a:cubicBezTo>
                    <a:cubicBezTo>
                      <a:pt x="37" y="95"/>
                      <a:pt x="38" y="95"/>
                      <a:pt x="39" y="95"/>
                    </a:cubicBezTo>
                    <a:cubicBezTo>
                      <a:pt x="40" y="95"/>
                      <a:pt x="40" y="95"/>
                      <a:pt x="41" y="95"/>
                    </a:cubicBezTo>
                    <a:cubicBezTo>
                      <a:pt x="43" y="95"/>
                      <a:pt x="45" y="95"/>
                      <a:pt x="47" y="95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3" y="0"/>
                      <a:pt x="22" y="5"/>
                      <a:pt x="13" y="13"/>
                    </a:cubicBezTo>
                    <a:cubicBezTo>
                      <a:pt x="5" y="22"/>
                      <a:pt x="0" y="34"/>
                      <a:pt x="0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1" name="组合 10"/>
          <p:cNvGrpSpPr/>
          <p:nvPr/>
        </p:nvGrpSpPr>
        <p:grpSpPr bwMode="auto">
          <a:xfrm>
            <a:off x="4121150" y="1541463"/>
            <a:ext cx="2117725" cy="1065212"/>
            <a:chOff x="4121673" y="1541117"/>
            <a:chExt cx="2117743" cy="1065310"/>
          </a:xfrm>
        </p:grpSpPr>
        <p:sp>
          <p:nvSpPr>
            <p:cNvPr id="30" name="Rectangle 76"/>
            <p:cNvSpPr/>
            <p:nvPr/>
          </p:nvSpPr>
          <p:spPr bwMode="auto">
            <a:xfrm>
              <a:off x="4121673" y="1541117"/>
              <a:ext cx="2117743" cy="1065310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077" name="Picture 5"/>
            <p:cNvPicPr>
              <a:picLocks noChangeAspect="1" noChangeArrowheads="1"/>
            </p:cNvPicPr>
            <p:nvPr/>
          </p:nvPicPr>
          <p:blipFill>
            <a:blip r:embed="rId5"/>
            <a:stretch>
              <a:fillRect/>
            </a:stretch>
          </p:blipFill>
          <p:spPr bwMode="auto">
            <a:xfrm>
              <a:off x="4747153" y="1606210"/>
              <a:ext cx="1382725" cy="927185"/>
            </a:xfrm>
            <a:prstGeom prst="rect">
              <a:avLst/>
            </a:prstGeom>
            <a:noFill/>
            <a:effectLst>
              <a:outerShdw blurRad="38100" sx="102000" sy="102000" algn="ctr" rotWithShape="0">
                <a:prstClr val="black">
                  <a:alpha val="2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515" name="Freeform 51"/>
            <p:cNvSpPr>
              <a:spLocks noEditPoints="1"/>
            </p:cNvSpPr>
            <p:nvPr/>
          </p:nvSpPr>
          <p:spPr bwMode="auto">
            <a:xfrm rot="10800000" flipH="1" flipV="1">
              <a:off x="4360363" y="2368090"/>
              <a:ext cx="118493" cy="10738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1516" name="组合 44"/>
            <p:cNvGrpSpPr/>
            <p:nvPr/>
          </p:nvGrpSpPr>
          <p:grpSpPr bwMode="auto">
            <a:xfrm>
              <a:off x="4209648" y="1865886"/>
              <a:ext cx="420074" cy="419923"/>
              <a:chOff x="6253162" y="-3030538"/>
              <a:chExt cx="2123251" cy="2122488"/>
            </a:xfrm>
          </p:grpSpPr>
          <p:sp>
            <p:nvSpPr>
              <p:cNvPr id="31" name="Freeform 21"/>
              <p:cNvSpPr/>
              <p:nvPr/>
            </p:nvSpPr>
            <p:spPr bwMode="auto">
              <a:xfrm>
                <a:off x="6249821" y="-3027010"/>
                <a:ext cx="2126370" cy="2118525"/>
              </a:xfrm>
              <a:custGeom>
                <a:avLst/>
                <a:gdLst>
                  <a:gd name="T0" fmla="*/ 566 w 566"/>
                  <a:gd name="T1" fmla="*/ 283 h 566"/>
                  <a:gd name="T2" fmla="*/ 389 w 566"/>
                  <a:gd name="T3" fmla="*/ 545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4 w 566"/>
                  <a:gd name="T11" fmla="*/ 24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2"/>
                      <a:pt x="493" y="504"/>
                      <a:pt x="389" y="545"/>
                    </a:cubicBezTo>
                    <a:cubicBezTo>
                      <a:pt x="356" y="559"/>
                      <a:pt x="321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26" y="0"/>
                      <a:pt x="545" y="106"/>
                      <a:pt x="564" y="244"/>
                    </a:cubicBezTo>
                    <a:cubicBezTo>
                      <a:pt x="565" y="257"/>
                      <a:pt x="566" y="270"/>
                      <a:pt x="566" y="283"/>
                    </a:cubicBezTo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518" name="Freeform 22"/>
              <p:cNvSpPr/>
              <p:nvPr/>
            </p:nvSpPr>
            <p:spPr bwMode="auto">
              <a:xfrm>
                <a:off x="7209599" y="-2551111"/>
                <a:ext cx="1166814" cy="1563686"/>
              </a:xfrm>
              <a:custGeom>
                <a:avLst/>
                <a:gdLst>
                  <a:gd name="T0" fmla="*/ 2147483646 w 311"/>
                  <a:gd name="T1" fmla="*/ 0 h 417"/>
                  <a:gd name="T2" fmla="*/ 2147483646 w 311"/>
                  <a:gd name="T3" fmla="*/ 2147483646 h 417"/>
                  <a:gd name="T4" fmla="*/ 2147483646 w 311"/>
                  <a:gd name="T5" fmla="*/ 2147483646 h 417"/>
                  <a:gd name="T6" fmla="*/ 2147483646 w 311"/>
                  <a:gd name="T7" fmla="*/ 2147483646 h 417"/>
                  <a:gd name="T8" fmla="*/ 2147483646 w 311"/>
                  <a:gd name="T9" fmla="*/ 2147483646 h 417"/>
                  <a:gd name="T10" fmla="*/ 2147483646 w 311"/>
                  <a:gd name="T11" fmla="*/ 2147483646 h 417"/>
                  <a:gd name="T12" fmla="*/ 2147483646 w 311"/>
                  <a:gd name="T13" fmla="*/ 2147483646 h 417"/>
                  <a:gd name="T14" fmla="*/ 2147483646 w 311"/>
                  <a:gd name="T15" fmla="*/ 2147483646 h 417"/>
                  <a:gd name="T16" fmla="*/ 2147483646 w 311"/>
                  <a:gd name="T17" fmla="*/ 2147483646 h 417"/>
                  <a:gd name="T18" fmla="*/ 0 w 311"/>
                  <a:gd name="T19" fmla="*/ 2147483646 h 417"/>
                  <a:gd name="T20" fmla="*/ 2147483646 w 311"/>
                  <a:gd name="T21" fmla="*/ 2147483646 h 417"/>
                  <a:gd name="T22" fmla="*/ 2147483646 w 311"/>
                  <a:gd name="T23" fmla="*/ 2147483646 h 417"/>
                  <a:gd name="T24" fmla="*/ 2147483646 w 311"/>
                  <a:gd name="T25" fmla="*/ 2147483646 h 417"/>
                  <a:gd name="T26" fmla="*/ 2147483646 w 311"/>
                  <a:gd name="T27" fmla="*/ 2147483646 h 417"/>
                  <a:gd name="T28" fmla="*/ 2147483646 w 311"/>
                  <a:gd name="T29" fmla="*/ 2147483646 h 417"/>
                  <a:gd name="T30" fmla="*/ 2147483646 w 311"/>
                  <a:gd name="T31" fmla="*/ 2147483646 h 417"/>
                  <a:gd name="T32" fmla="*/ 2147483646 w 311"/>
                  <a:gd name="T33" fmla="*/ 2147483646 h 417"/>
                  <a:gd name="T34" fmla="*/ 2147483646 w 311"/>
                  <a:gd name="T35" fmla="*/ 2147483646 h 417"/>
                  <a:gd name="T36" fmla="*/ 2147483646 w 311"/>
                  <a:gd name="T37" fmla="*/ 2147483646 h 417"/>
                  <a:gd name="T38" fmla="*/ 2147483646 w 311"/>
                  <a:gd name="T39" fmla="*/ 2147483646 h 417"/>
                  <a:gd name="T40" fmla="*/ 2147483646 w 311"/>
                  <a:gd name="T41" fmla="*/ 2147483646 h 417"/>
                  <a:gd name="T42" fmla="*/ 2147483646 w 311"/>
                  <a:gd name="T43" fmla="*/ 0 h 4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11" h="417">
                    <a:moveTo>
                      <a:pt x="103" y="0"/>
                    </a:moveTo>
                    <a:cubicBezTo>
                      <a:pt x="108" y="3"/>
                      <a:pt x="112" y="6"/>
                      <a:pt x="116" y="9"/>
                    </a:cubicBezTo>
                    <a:cubicBezTo>
                      <a:pt x="138" y="27"/>
                      <a:pt x="148" y="52"/>
                      <a:pt x="148" y="83"/>
                    </a:cubicBezTo>
                    <a:cubicBezTo>
                      <a:pt x="148" y="125"/>
                      <a:pt x="131" y="157"/>
                      <a:pt x="97" y="176"/>
                    </a:cubicBezTo>
                    <a:cubicBezTo>
                      <a:pt x="71" y="191"/>
                      <a:pt x="57" y="206"/>
                      <a:pt x="55" y="221"/>
                    </a:cubicBezTo>
                    <a:cubicBezTo>
                      <a:pt x="54" y="225"/>
                      <a:pt x="54" y="229"/>
                      <a:pt x="53" y="233"/>
                    </a:cubicBezTo>
                    <a:cubicBezTo>
                      <a:pt x="52" y="237"/>
                      <a:pt x="49" y="238"/>
                      <a:pt x="44" y="238"/>
                    </a:cubicBezTo>
                    <a:cubicBezTo>
                      <a:pt x="27" y="238"/>
                      <a:pt x="14" y="239"/>
                      <a:pt x="7" y="241"/>
                    </a:cubicBezTo>
                    <a:cubicBezTo>
                      <a:pt x="5" y="242"/>
                      <a:pt x="4" y="242"/>
                      <a:pt x="3" y="242"/>
                    </a:cubicBezTo>
                    <a:cubicBezTo>
                      <a:pt x="2" y="242"/>
                      <a:pt x="1" y="242"/>
                      <a:pt x="0" y="241"/>
                    </a:cubicBezTo>
                    <a:cubicBezTo>
                      <a:pt x="23" y="257"/>
                      <a:pt x="23" y="257"/>
                      <a:pt x="23" y="257"/>
                    </a:cubicBezTo>
                    <a:cubicBezTo>
                      <a:pt x="25" y="256"/>
                      <a:pt x="28" y="256"/>
                      <a:pt x="31" y="256"/>
                    </a:cubicBezTo>
                    <a:cubicBezTo>
                      <a:pt x="45" y="256"/>
                      <a:pt x="56" y="261"/>
                      <a:pt x="65" y="270"/>
                    </a:cubicBezTo>
                    <a:cubicBezTo>
                      <a:pt x="74" y="279"/>
                      <a:pt x="79" y="290"/>
                      <a:pt x="79" y="304"/>
                    </a:cubicBezTo>
                    <a:cubicBezTo>
                      <a:pt x="79" y="317"/>
                      <a:pt x="74" y="328"/>
                      <a:pt x="65" y="338"/>
                    </a:cubicBezTo>
                    <a:cubicBezTo>
                      <a:pt x="56" y="347"/>
                      <a:pt x="45" y="352"/>
                      <a:pt x="31" y="352"/>
                    </a:cubicBezTo>
                    <a:cubicBezTo>
                      <a:pt x="24" y="352"/>
                      <a:pt x="17" y="351"/>
                      <a:pt x="11" y="348"/>
                    </a:cubicBezTo>
                    <a:cubicBezTo>
                      <a:pt x="134" y="417"/>
                      <a:pt x="134" y="417"/>
                      <a:pt x="134" y="417"/>
                    </a:cubicBezTo>
                    <a:cubicBezTo>
                      <a:pt x="238" y="376"/>
                      <a:pt x="311" y="274"/>
                      <a:pt x="311" y="155"/>
                    </a:cubicBezTo>
                    <a:cubicBezTo>
                      <a:pt x="311" y="142"/>
                      <a:pt x="310" y="129"/>
                      <a:pt x="309" y="116"/>
                    </a:cubicBezTo>
                    <a:cubicBezTo>
                      <a:pt x="309" y="116"/>
                      <a:pt x="309" y="116"/>
                      <a:pt x="309" y="116"/>
                    </a:cubicBezTo>
                    <a:cubicBezTo>
                      <a:pt x="103" y="0"/>
                      <a:pt x="103" y="0"/>
                      <a:pt x="103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19" name="Freeform 23"/>
              <p:cNvSpPr/>
              <p:nvPr/>
            </p:nvSpPr>
            <p:spPr bwMode="auto">
              <a:xfrm>
                <a:off x="7326312" y="-2614613"/>
                <a:ext cx="438150" cy="958850"/>
              </a:xfrm>
              <a:custGeom>
                <a:avLst/>
                <a:gdLst>
                  <a:gd name="T0" fmla="*/ 2147483646 w 117"/>
                  <a:gd name="T1" fmla="*/ 2147483646 h 256"/>
                  <a:gd name="T2" fmla="*/ 2147483646 w 117"/>
                  <a:gd name="T3" fmla="*/ 0 h 256"/>
                  <a:gd name="T4" fmla="*/ 0 w 117"/>
                  <a:gd name="T5" fmla="*/ 0 h 256"/>
                  <a:gd name="T6" fmla="*/ 0 w 117"/>
                  <a:gd name="T7" fmla="*/ 2147483646 h 256"/>
                  <a:gd name="T8" fmla="*/ 2147483646 w 117"/>
                  <a:gd name="T9" fmla="*/ 2147483646 h 256"/>
                  <a:gd name="T10" fmla="*/ 0 w 117"/>
                  <a:gd name="T11" fmla="*/ 2147483646 h 256"/>
                  <a:gd name="T12" fmla="*/ 0 w 117"/>
                  <a:gd name="T13" fmla="*/ 2147483646 h 256"/>
                  <a:gd name="T14" fmla="*/ 2147483646 w 117"/>
                  <a:gd name="T15" fmla="*/ 2147483646 h 256"/>
                  <a:gd name="T16" fmla="*/ 2147483646 w 117"/>
                  <a:gd name="T17" fmla="*/ 2147483646 h 256"/>
                  <a:gd name="T18" fmla="*/ 2147483646 w 117"/>
                  <a:gd name="T19" fmla="*/ 2147483646 h 256"/>
                  <a:gd name="T20" fmla="*/ 2147483646 w 117"/>
                  <a:gd name="T21" fmla="*/ 2147483646 h 256"/>
                  <a:gd name="T22" fmla="*/ 2147483646 w 117"/>
                  <a:gd name="T23" fmla="*/ 2147483646 h 256"/>
                  <a:gd name="T24" fmla="*/ 2147483646 w 117"/>
                  <a:gd name="T25" fmla="*/ 2147483646 h 25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7" h="256">
                    <a:moveTo>
                      <a:pt x="85" y="26"/>
                    </a:moveTo>
                    <a:cubicBezTo>
                      <a:pt x="65" y="9"/>
                      <a:pt x="39" y="0"/>
                      <a:pt x="8" y="0"/>
                    </a:cubicBezTo>
                    <a:cubicBezTo>
                      <a:pt x="5" y="0"/>
                      <a:pt x="3" y="0"/>
                      <a:pt x="0" y="0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9" y="103"/>
                      <a:pt x="14" y="112"/>
                      <a:pt x="14" y="126"/>
                    </a:cubicBezTo>
                    <a:cubicBezTo>
                      <a:pt x="14" y="136"/>
                      <a:pt x="9" y="149"/>
                      <a:pt x="0" y="163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4" y="255"/>
                      <a:pt x="8" y="255"/>
                      <a:pt x="13" y="255"/>
                    </a:cubicBezTo>
                    <a:cubicBezTo>
                      <a:pt x="18" y="255"/>
                      <a:pt x="21" y="254"/>
                      <a:pt x="22" y="250"/>
                    </a:cubicBezTo>
                    <a:cubicBezTo>
                      <a:pt x="23" y="246"/>
                      <a:pt x="23" y="242"/>
                      <a:pt x="24" y="238"/>
                    </a:cubicBezTo>
                    <a:cubicBezTo>
                      <a:pt x="26" y="223"/>
                      <a:pt x="40" y="208"/>
                      <a:pt x="66" y="193"/>
                    </a:cubicBezTo>
                    <a:cubicBezTo>
                      <a:pt x="100" y="174"/>
                      <a:pt x="117" y="142"/>
                      <a:pt x="117" y="100"/>
                    </a:cubicBezTo>
                    <a:cubicBezTo>
                      <a:pt x="117" y="69"/>
                      <a:pt x="107" y="44"/>
                      <a:pt x="8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20" name="Freeform 24"/>
              <p:cNvSpPr/>
              <p:nvPr/>
            </p:nvSpPr>
            <p:spPr bwMode="auto">
              <a:xfrm>
                <a:off x="7186612" y="-2003425"/>
                <a:ext cx="139700" cy="360363"/>
              </a:xfrm>
              <a:custGeom>
                <a:avLst/>
                <a:gdLst>
                  <a:gd name="T0" fmla="*/ 2147483646 w 37"/>
                  <a:gd name="T1" fmla="*/ 2147483646 h 96"/>
                  <a:gd name="T2" fmla="*/ 0 w 37"/>
                  <a:gd name="T3" fmla="*/ 2147483646 h 96"/>
                  <a:gd name="T4" fmla="*/ 2147483646 w 37"/>
                  <a:gd name="T5" fmla="*/ 2147483646 h 96"/>
                  <a:gd name="T6" fmla="*/ 2147483646 w 37"/>
                  <a:gd name="T7" fmla="*/ 2147483646 h 96"/>
                  <a:gd name="T8" fmla="*/ 2147483646 w 37"/>
                  <a:gd name="T9" fmla="*/ 2147483646 h 96"/>
                  <a:gd name="T10" fmla="*/ 2147483646 w 37"/>
                  <a:gd name="T11" fmla="*/ 0 h 96"/>
                  <a:gd name="T12" fmla="*/ 2147483646 w 37"/>
                  <a:gd name="T13" fmla="*/ 2147483646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96">
                    <a:moveTo>
                      <a:pt x="25" y="17"/>
                    </a:moveTo>
                    <a:cubicBezTo>
                      <a:pt x="8" y="38"/>
                      <a:pt x="0" y="56"/>
                      <a:pt x="0" y="71"/>
                    </a:cubicBezTo>
                    <a:cubicBezTo>
                      <a:pt x="0" y="88"/>
                      <a:pt x="3" y="96"/>
                      <a:pt x="9" y="96"/>
                    </a:cubicBezTo>
                    <a:cubicBezTo>
                      <a:pt x="10" y="96"/>
                      <a:pt x="11" y="96"/>
                      <a:pt x="13" y="95"/>
                    </a:cubicBezTo>
                    <a:cubicBezTo>
                      <a:pt x="18" y="94"/>
                      <a:pt x="27" y="93"/>
                      <a:pt x="37" y="93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4" y="5"/>
                      <a:pt x="30" y="11"/>
                      <a:pt x="2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21" name="Freeform 25"/>
              <p:cNvSpPr/>
              <p:nvPr/>
            </p:nvSpPr>
            <p:spPr bwMode="auto">
              <a:xfrm>
                <a:off x="6853237" y="-2614613"/>
                <a:ext cx="473075" cy="482600"/>
              </a:xfrm>
              <a:custGeom>
                <a:avLst/>
                <a:gdLst>
                  <a:gd name="T0" fmla="*/ 2147483646 w 126"/>
                  <a:gd name="T1" fmla="*/ 2147483646 h 129"/>
                  <a:gd name="T2" fmla="*/ 2147483646 w 126"/>
                  <a:gd name="T3" fmla="*/ 2147483646 h 129"/>
                  <a:gd name="T4" fmla="*/ 2147483646 w 126"/>
                  <a:gd name="T5" fmla="*/ 2147483646 h 129"/>
                  <a:gd name="T6" fmla="*/ 2147483646 w 126"/>
                  <a:gd name="T7" fmla="*/ 2147483646 h 129"/>
                  <a:gd name="T8" fmla="*/ 2147483646 w 126"/>
                  <a:gd name="T9" fmla="*/ 2147483646 h 129"/>
                  <a:gd name="T10" fmla="*/ 2147483646 w 126"/>
                  <a:gd name="T11" fmla="*/ 0 h 129"/>
                  <a:gd name="T12" fmla="*/ 2147483646 w 126"/>
                  <a:gd name="T13" fmla="*/ 2147483646 h 1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29">
                    <a:moveTo>
                      <a:pt x="79" y="7"/>
                    </a:moveTo>
                    <a:cubicBezTo>
                      <a:pt x="53" y="13"/>
                      <a:pt x="0" y="43"/>
                      <a:pt x="6" y="86"/>
                    </a:cubicBezTo>
                    <a:cubicBezTo>
                      <a:pt x="12" y="129"/>
                      <a:pt x="38" y="115"/>
                      <a:pt x="46" y="110"/>
                    </a:cubicBezTo>
                    <a:cubicBezTo>
                      <a:pt x="69" y="96"/>
                      <a:pt x="89" y="93"/>
                      <a:pt x="104" y="93"/>
                    </a:cubicBezTo>
                    <a:cubicBezTo>
                      <a:pt x="113" y="93"/>
                      <a:pt x="121" y="94"/>
                      <a:pt x="126" y="98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1" y="1"/>
                      <a:pt x="95" y="3"/>
                      <a:pt x="7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22" name="Freeform 26"/>
              <p:cNvSpPr/>
              <p:nvPr/>
            </p:nvSpPr>
            <p:spPr bwMode="auto">
              <a:xfrm>
                <a:off x="7148512" y="-1590675"/>
                <a:ext cx="177800" cy="358775"/>
              </a:xfrm>
              <a:custGeom>
                <a:avLst/>
                <a:gdLst>
                  <a:gd name="T0" fmla="*/ 2147483646 w 47"/>
                  <a:gd name="T1" fmla="*/ 2147483646 h 96"/>
                  <a:gd name="T2" fmla="*/ 0 w 47"/>
                  <a:gd name="T3" fmla="*/ 2147483646 h 96"/>
                  <a:gd name="T4" fmla="*/ 2147483646 w 47"/>
                  <a:gd name="T5" fmla="*/ 2147483646 h 96"/>
                  <a:gd name="T6" fmla="*/ 2147483646 w 47"/>
                  <a:gd name="T7" fmla="*/ 2147483646 h 96"/>
                  <a:gd name="T8" fmla="*/ 2147483646 w 47"/>
                  <a:gd name="T9" fmla="*/ 2147483646 h 96"/>
                  <a:gd name="T10" fmla="*/ 2147483646 w 47"/>
                  <a:gd name="T11" fmla="*/ 0 h 96"/>
                  <a:gd name="T12" fmla="*/ 2147483646 w 47"/>
                  <a:gd name="T13" fmla="*/ 0 h 96"/>
                  <a:gd name="T14" fmla="*/ 2147483646 w 47"/>
                  <a:gd name="T15" fmla="*/ 2147483646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7" h="96">
                    <a:moveTo>
                      <a:pt x="14" y="14"/>
                    </a:moveTo>
                    <a:cubicBezTo>
                      <a:pt x="5" y="23"/>
                      <a:pt x="0" y="34"/>
                      <a:pt x="0" y="48"/>
                    </a:cubicBezTo>
                    <a:cubicBezTo>
                      <a:pt x="0" y="61"/>
                      <a:pt x="5" y="72"/>
                      <a:pt x="14" y="82"/>
                    </a:cubicBezTo>
                    <a:cubicBezTo>
                      <a:pt x="23" y="91"/>
                      <a:pt x="34" y="96"/>
                      <a:pt x="47" y="96"/>
                    </a:cubicBezTo>
                    <a:cubicBezTo>
                      <a:pt x="47" y="96"/>
                      <a:pt x="47" y="96"/>
                      <a:pt x="47" y="96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4" y="0"/>
                      <a:pt x="23" y="5"/>
                      <a:pt x="14" y="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23" name="Freeform 27"/>
              <p:cNvSpPr/>
              <p:nvPr/>
            </p:nvSpPr>
            <p:spPr bwMode="auto">
              <a:xfrm>
                <a:off x="7326312" y="-1590675"/>
                <a:ext cx="179388" cy="358775"/>
              </a:xfrm>
              <a:custGeom>
                <a:avLst/>
                <a:gdLst>
                  <a:gd name="T0" fmla="*/ 2147483646 w 48"/>
                  <a:gd name="T1" fmla="*/ 2147483646 h 96"/>
                  <a:gd name="T2" fmla="*/ 2147483646 w 48"/>
                  <a:gd name="T3" fmla="*/ 2147483646 h 96"/>
                  <a:gd name="T4" fmla="*/ 2147483646 w 48"/>
                  <a:gd name="T5" fmla="*/ 2147483646 h 96"/>
                  <a:gd name="T6" fmla="*/ 0 w 48"/>
                  <a:gd name="T7" fmla="*/ 0 h 96"/>
                  <a:gd name="T8" fmla="*/ 0 w 48"/>
                  <a:gd name="T9" fmla="*/ 2147483646 h 96"/>
                  <a:gd name="T10" fmla="*/ 2147483646 w 48"/>
                  <a:gd name="T11" fmla="*/ 2147483646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96">
                    <a:moveTo>
                      <a:pt x="34" y="82"/>
                    </a:moveTo>
                    <a:cubicBezTo>
                      <a:pt x="43" y="72"/>
                      <a:pt x="48" y="61"/>
                      <a:pt x="48" y="48"/>
                    </a:cubicBezTo>
                    <a:cubicBezTo>
                      <a:pt x="48" y="34"/>
                      <a:pt x="43" y="23"/>
                      <a:pt x="34" y="14"/>
                    </a:cubicBezTo>
                    <a:cubicBezTo>
                      <a:pt x="25" y="5"/>
                      <a:pt x="14" y="0"/>
                      <a:pt x="0" y="0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4" y="96"/>
                      <a:pt x="25" y="91"/>
                      <a:pt x="34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4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3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3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3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3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3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8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 bwMode="auto">
          <a:xfrm>
            <a:off x="5405438" y="2141538"/>
            <a:ext cx="3246437" cy="885825"/>
            <a:chOff x="5405876" y="2141875"/>
            <a:chExt cx="3246260" cy="886233"/>
          </a:xfrm>
        </p:grpSpPr>
        <p:sp>
          <p:nvSpPr>
            <p:cNvPr id="38" name="Rectangle 22"/>
            <p:cNvSpPr/>
            <p:nvPr/>
          </p:nvSpPr>
          <p:spPr bwMode="auto">
            <a:xfrm>
              <a:off x="5405876" y="2141875"/>
              <a:ext cx="3246260" cy="88623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5980" tIns="0" rIns="116386" bIns="139713" anchor="b"/>
            <a:lstStyle/>
            <a:p>
              <a:pPr defTabSz="6978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2615" name="矩形 8"/>
            <p:cNvSpPr>
              <a:spLocks noChangeArrowheads="1"/>
            </p:cNvSpPr>
            <p:nvPr/>
          </p:nvSpPr>
          <p:spPr bwMode="auto">
            <a:xfrm>
              <a:off x="5422355" y="2367435"/>
              <a:ext cx="2948287" cy="497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 bwMode="auto">
          <a:xfrm>
            <a:off x="5405438" y="3067050"/>
            <a:ext cx="3246437" cy="885825"/>
            <a:chOff x="5405876" y="3066412"/>
            <a:chExt cx="3246259" cy="886233"/>
          </a:xfrm>
        </p:grpSpPr>
        <p:sp>
          <p:nvSpPr>
            <p:cNvPr id="37" name="Rectangle 7"/>
            <p:cNvSpPr/>
            <p:nvPr/>
          </p:nvSpPr>
          <p:spPr bwMode="auto">
            <a:xfrm>
              <a:off x="5405876" y="3066412"/>
              <a:ext cx="3246259" cy="88623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5980" tIns="0" rIns="116386" bIns="139713" anchor="b"/>
            <a:lstStyle/>
            <a:p>
              <a:pPr defTabSz="6978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2613" name="矩形 8"/>
            <p:cNvSpPr>
              <a:spLocks noChangeArrowheads="1"/>
            </p:cNvSpPr>
            <p:nvPr/>
          </p:nvSpPr>
          <p:spPr bwMode="auto">
            <a:xfrm>
              <a:off x="5422355" y="3297736"/>
              <a:ext cx="2948287" cy="497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 bwMode="auto">
          <a:xfrm>
            <a:off x="7046913" y="1203325"/>
            <a:ext cx="1609725" cy="900113"/>
            <a:chOff x="7047359" y="1203599"/>
            <a:chExt cx="1609337" cy="899973"/>
          </a:xfrm>
        </p:grpSpPr>
        <p:sp>
          <p:nvSpPr>
            <p:cNvPr id="36" name="Rectangle 6"/>
            <p:cNvSpPr/>
            <p:nvPr/>
          </p:nvSpPr>
          <p:spPr bwMode="auto">
            <a:xfrm>
              <a:off x="7047359" y="1203599"/>
              <a:ext cx="1609337" cy="89997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6162" tIns="0" rIns="116573" bIns="139927" anchor="b"/>
            <a:lstStyle/>
            <a:p>
              <a:pPr marL="0" lvl="1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2611" name="矩形 91"/>
            <p:cNvSpPr>
              <a:spLocks noChangeArrowheads="1"/>
            </p:cNvSpPr>
            <p:nvPr/>
          </p:nvSpPr>
          <p:spPr bwMode="auto">
            <a:xfrm>
              <a:off x="7226771" y="1334016"/>
              <a:ext cx="1250511" cy="723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2533" name="组合 93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96" name="矩形 95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7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2606" name="组合 97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99" name="矩形 98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2608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609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" name="组合 4"/>
          <p:cNvGrpSpPr/>
          <p:nvPr/>
        </p:nvGrpSpPr>
        <p:grpSpPr bwMode="auto">
          <a:xfrm>
            <a:off x="5405438" y="1203325"/>
            <a:ext cx="1609725" cy="900113"/>
            <a:chOff x="5405876" y="1203599"/>
            <a:chExt cx="1609342" cy="899973"/>
          </a:xfrm>
        </p:grpSpPr>
        <p:sp>
          <p:nvSpPr>
            <p:cNvPr id="35" name="Rectangle 4"/>
            <p:cNvSpPr/>
            <p:nvPr/>
          </p:nvSpPr>
          <p:spPr bwMode="auto">
            <a:xfrm>
              <a:off x="5405876" y="1203599"/>
              <a:ext cx="1609342" cy="89997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6162" tIns="0" rIns="116573" bIns="139927" anchor="b"/>
            <a:lstStyle/>
            <a:p>
              <a:pPr marL="0" lvl="1" defTabSz="69913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2600" name="矩形 8"/>
            <p:cNvSpPr>
              <a:spLocks noChangeArrowheads="1"/>
            </p:cNvSpPr>
            <p:nvPr/>
          </p:nvSpPr>
          <p:spPr bwMode="auto">
            <a:xfrm>
              <a:off x="5442943" y="1576278"/>
              <a:ext cx="1509435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601" name="矩形 8"/>
            <p:cNvSpPr>
              <a:spLocks noChangeArrowheads="1"/>
            </p:cNvSpPr>
            <p:nvPr/>
          </p:nvSpPr>
          <p:spPr bwMode="auto">
            <a:xfrm>
              <a:off x="5442943" y="1264782"/>
              <a:ext cx="1509435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602" name="矩形 8"/>
            <p:cNvSpPr>
              <a:spLocks noChangeArrowheads="1"/>
            </p:cNvSpPr>
            <p:nvPr/>
          </p:nvSpPr>
          <p:spPr bwMode="auto">
            <a:xfrm>
              <a:off x="5442943" y="1758025"/>
              <a:ext cx="1509435" cy="2975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5526497" y="1587714"/>
              <a:ext cx="1255413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组合 9"/>
          <p:cNvGrpSpPr/>
          <p:nvPr/>
        </p:nvGrpSpPr>
        <p:grpSpPr bwMode="auto">
          <a:xfrm>
            <a:off x="755650" y="1203325"/>
            <a:ext cx="3255963" cy="852488"/>
            <a:chOff x="756172" y="1203599"/>
            <a:chExt cx="3254914" cy="851943"/>
          </a:xfrm>
        </p:grpSpPr>
        <p:sp>
          <p:nvSpPr>
            <p:cNvPr id="46" name="Rectangle 29"/>
            <p:cNvSpPr/>
            <p:nvPr/>
          </p:nvSpPr>
          <p:spPr bwMode="auto">
            <a:xfrm>
              <a:off x="756172" y="1203599"/>
              <a:ext cx="3254914" cy="851943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92" name="矩形 71"/>
            <p:cNvSpPr>
              <a:spLocks noChangeArrowheads="1"/>
            </p:cNvSpPr>
            <p:nvPr/>
          </p:nvSpPr>
          <p:spPr bwMode="auto">
            <a:xfrm>
              <a:off x="1676574" y="1393664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593" name="组合 64"/>
            <p:cNvGrpSpPr/>
            <p:nvPr/>
          </p:nvGrpSpPr>
          <p:grpSpPr bwMode="auto">
            <a:xfrm>
              <a:off x="1002715" y="1440376"/>
              <a:ext cx="419923" cy="419923"/>
              <a:chOff x="-2916238" y="-728663"/>
              <a:chExt cx="2122488" cy="2122488"/>
            </a:xfrm>
          </p:grpSpPr>
          <p:sp>
            <p:nvSpPr>
              <p:cNvPr id="66" name="Freeform 6"/>
              <p:cNvSpPr/>
              <p:nvPr/>
            </p:nvSpPr>
            <p:spPr bwMode="auto">
              <a:xfrm>
                <a:off x="-2919063" y="-730633"/>
                <a:ext cx="2125666" cy="2124988"/>
              </a:xfrm>
              <a:custGeom>
                <a:avLst/>
                <a:gdLst>
                  <a:gd name="T0" fmla="*/ 566 w 566"/>
                  <a:gd name="T1" fmla="*/ 283 h 566"/>
                  <a:gd name="T2" fmla="*/ 373 w 566"/>
                  <a:gd name="T3" fmla="*/ 551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59 w 566"/>
                  <a:gd name="T11" fmla="*/ 22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8"/>
                      <a:pt x="485" y="514"/>
                      <a:pt x="373" y="551"/>
                    </a:cubicBezTo>
                    <a:cubicBezTo>
                      <a:pt x="345" y="561"/>
                      <a:pt x="314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19" y="0"/>
                      <a:pt x="532" y="96"/>
                      <a:pt x="559" y="224"/>
                    </a:cubicBezTo>
                    <a:cubicBezTo>
                      <a:pt x="564" y="243"/>
                      <a:pt x="566" y="263"/>
                      <a:pt x="566" y="283"/>
                    </a:cubicBezTo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2595" name="组合 69"/>
              <p:cNvGrpSpPr/>
              <p:nvPr/>
            </p:nvGrpSpPr>
            <p:grpSpPr bwMode="auto">
              <a:xfrm>
                <a:off x="-2293938" y="-131763"/>
                <a:ext cx="1500188" cy="1470025"/>
                <a:chOff x="-2293938" y="-131763"/>
                <a:chExt cx="1500188" cy="1470025"/>
              </a:xfrm>
            </p:grpSpPr>
            <p:sp>
              <p:nvSpPr>
                <p:cNvPr id="22597" name="Freeform 7"/>
                <p:cNvSpPr/>
                <p:nvPr/>
              </p:nvSpPr>
              <p:spPr bwMode="auto">
                <a:xfrm>
                  <a:off x="-2293938" y="171450"/>
                  <a:ext cx="409575" cy="377825"/>
                </a:xfrm>
                <a:custGeom>
                  <a:avLst/>
                  <a:gdLst>
                    <a:gd name="T0" fmla="*/ 0 w 109"/>
                    <a:gd name="T1" fmla="*/ 0 h 101"/>
                    <a:gd name="T2" fmla="*/ 2147483646 w 109"/>
                    <a:gd name="T3" fmla="*/ 2147483646 h 101"/>
                    <a:gd name="T4" fmla="*/ 2147483646 w 109"/>
                    <a:gd name="T5" fmla="*/ 2147483646 h 101"/>
                    <a:gd name="T6" fmla="*/ 2147483646 w 109"/>
                    <a:gd name="T7" fmla="*/ 2147483646 h 101"/>
                    <a:gd name="T8" fmla="*/ 0 w 109"/>
                    <a:gd name="T9" fmla="*/ 0 h 10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9" h="101">
                      <a:moveTo>
                        <a:pt x="0" y="0"/>
                      </a:moveTo>
                      <a:cubicBezTo>
                        <a:pt x="5" y="3"/>
                        <a:pt x="9" y="7"/>
                        <a:pt x="13" y="12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109" y="65"/>
                        <a:pt x="109" y="65"/>
                        <a:pt x="109" y="65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2598" name="Freeform 8"/>
                <p:cNvSpPr/>
                <p:nvPr/>
              </p:nvSpPr>
              <p:spPr bwMode="auto">
                <a:xfrm>
                  <a:off x="-2035174" y="-131763"/>
                  <a:ext cx="1241424" cy="1470025"/>
                </a:xfrm>
                <a:custGeom>
                  <a:avLst/>
                  <a:gdLst>
                    <a:gd name="T0" fmla="*/ 2147483646 w 331"/>
                    <a:gd name="T1" fmla="*/ 0 h 392"/>
                    <a:gd name="T2" fmla="*/ 2147483646 w 331"/>
                    <a:gd name="T3" fmla="*/ 2147483646 h 392"/>
                    <a:gd name="T4" fmla="*/ 2147483646 w 331"/>
                    <a:gd name="T5" fmla="*/ 2147483646 h 392"/>
                    <a:gd name="T6" fmla="*/ 2147483646 w 331"/>
                    <a:gd name="T7" fmla="*/ 2147483646 h 392"/>
                    <a:gd name="T8" fmla="*/ 2147483646 w 331"/>
                    <a:gd name="T9" fmla="*/ 2147483646 h 392"/>
                    <a:gd name="T10" fmla="*/ 2147483646 w 331"/>
                    <a:gd name="T11" fmla="*/ 2147483646 h 392"/>
                    <a:gd name="T12" fmla="*/ 2147483646 w 331"/>
                    <a:gd name="T13" fmla="*/ 2147483646 h 392"/>
                    <a:gd name="T14" fmla="*/ 2147483646 w 331"/>
                    <a:gd name="T15" fmla="*/ 2147483646 h 392"/>
                    <a:gd name="T16" fmla="*/ 2147483646 w 331"/>
                    <a:gd name="T17" fmla="*/ 2147483646 h 392"/>
                    <a:gd name="T18" fmla="*/ 2147483646 w 331"/>
                    <a:gd name="T19" fmla="*/ 2147483646 h 392"/>
                    <a:gd name="T20" fmla="*/ 2147483646 w 331"/>
                    <a:gd name="T21" fmla="*/ 2147483646 h 392"/>
                    <a:gd name="T22" fmla="*/ 2147483646 w 331"/>
                    <a:gd name="T23" fmla="*/ 2147483646 h 392"/>
                    <a:gd name="T24" fmla="*/ 2147483646 w 331"/>
                    <a:gd name="T25" fmla="*/ 2147483646 h 392"/>
                    <a:gd name="T26" fmla="*/ 2147483646 w 331"/>
                    <a:gd name="T27" fmla="*/ 2147483646 h 392"/>
                    <a:gd name="T28" fmla="*/ 2147483646 w 331"/>
                    <a:gd name="T29" fmla="*/ 2147483646 h 392"/>
                    <a:gd name="T30" fmla="*/ 2147483646 w 331"/>
                    <a:gd name="T31" fmla="*/ 2147483646 h 392"/>
                    <a:gd name="T32" fmla="*/ 2147483646 w 331"/>
                    <a:gd name="T33" fmla="*/ 2147483646 h 392"/>
                    <a:gd name="T34" fmla="*/ 2147483646 w 331"/>
                    <a:gd name="T35" fmla="*/ 2147483646 h 392"/>
                    <a:gd name="T36" fmla="*/ 2147483646 w 331"/>
                    <a:gd name="T37" fmla="*/ 2147483646 h 392"/>
                    <a:gd name="T38" fmla="*/ 2147483646 w 331"/>
                    <a:gd name="T39" fmla="*/ 2147483646 h 392"/>
                    <a:gd name="T40" fmla="*/ 2147483646 w 331"/>
                    <a:gd name="T41" fmla="*/ 2147483646 h 392"/>
                    <a:gd name="T42" fmla="*/ 2147483646 w 331"/>
                    <a:gd name="T43" fmla="*/ 2147483646 h 392"/>
                    <a:gd name="T44" fmla="*/ 2147483646 w 331"/>
                    <a:gd name="T45" fmla="*/ 2147483646 h 392"/>
                    <a:gd name="T46" fmla="*/ 0 w 331"/>
                    <a:gd name="T47" fmla="*/ 2147483646 h 392"/>
                    <a:gd name="T48" fmla="*/ 0 w 331"/>
                    <a:gd name="T49" fmla="*/ 2147483646 h 392"/>
                    <a:gd name="T50" fmla="*/ 2147483646 w 331"/>
                    <a:gd name="T51" fmla="*/ 2147483646 h 392"/>
                    <a:gd name="T52" fmla="*/ 2147483646 w 331"/>
                    <a:gd name="T53" fmla="*/ 2147483646 h 392"/>
                    <a:gd name="T54" fmla="*/ 2147483646 w 331"/>
                    <a:gd name="T55" fmla="*/ 2147483646 h 392"/>
                    <a:gd name="T56" fmla="*/ 2147483646 w 331"/>
                    <a:gd name="T57" fmla="*/ 2147483646 h 392"/>
                    <a:gd name="T58" fmla="*/ 2147483646 w 331"/>
                    <a:gd name="T59" fmla="*/ 0 h 39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331" h="392">
                      <a:moveTo>
                        <a:pt x="204" y="0"/>
                      </a:moveTo>
                      <a:cubicBezTo>
                        <a:pt x="227" y="17"/>
                        <a:pt x="232" y="48"/>
                        <a:pt x="216" y="71"/>
                      </a:cubicBezTo>
                      <a:cubicBezTo>
                        <a:pt x="57" y="295"/>
                        <a:pt x="57" y="295"/>
                        <a:pt x="57" y="295"/>
                      </a:cubicBezTo>
                      <a:cubicBezTo>
                        <a:pt x="57" y="296"/>
                        <a:pt x="56" y="296"/>
                        <a:pt x="56" y="297"/>
                      </a:cubicBezTo>
                      <a:cubicBezTo>
                        <a:pt x="55" y="298"/>
                        <a:pt x="55" y="298"/>
                        <a:pt x="55" y="298"/>
                      </a:cubicBezTo>
                      <a:cubicBezTo>
                        <a:pt x="55" y="298"/>
                        <a:pt x="55" y="299"/>
                        <a:pt x="54" y="299"/>
                      </a:cubicBezTo>
                      <a:cubicBezTo>
                        <a:pt x="52" y="301"/>
                        <a:pt x="51" y="303"/>
                        <a:pt x="49" y="305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47" y="306"/>
                        <a:pt x="47" y="306"/>
                        <a:pt x="47" y="306"/>
                      </a:cubicBezTo>
                      <a:cubicBezTo>
                        <a:pt x="47" y="306"/>
                        <a:pt x="47" y="306"/>
                        <a:pt x="46" y="306"/>
                      </a:cubicBezTo>
                      <a:cubicBezTo>
                        <a:pt x="46" y="307"/>
                        <a:pt x="46" y="307"/>
                        <a:pt x="46" y="307"/>
                      </a:cubicBezTo>
                      <a:cubicBezTo>
                        <a:pt x="44" y="308"/>
                        <a:pt x="43" y="309"/>
                        <a:pt x="41" y="310"/>
                      </a:cubicBezTo>
                      <a:cubicBezTo>
                        <a:pt x="40" y="310"/>
                        <a:pt x="40" y="310"/>
                        <a:pt x="40" y="311"/>
                      </a:cubicBezTo>
                      <a:cubicBezTo>
                        <a:pt x="37" y="312"/>
                        <a:pt x="35" y="313"/>
                        <a:pt x="33" y="314"/>
                      </a:cubicBezTo>
                      <a:cubicBezTo>
                        <a:pt x="32" y="314"/>
                        <a:pt x="32" y="314"/>
                        <a:pt x="31" y="314"/>
                      </a:cubicBezTo>
                      <a:cubicBezTo>
                        <a:pt x="29" y="315"/>
                        <a:pt x="27" y="315"/>
                        <a:pt x="26" y="316"/>
                      </a:cubicBezTo>
                      <a:cubicBezTo>
                        <a:pt x="25" y="316"/>
                        <a:pt x="24" y="316"/>
                        <a:pt x="23" y="316"/>
                      </a:cubicBezTo>
                      <a:cubicBezTo>
                        <a:pt x="21" y="316"/>
                        <a:pt x="19" y="316"/>
                        <a:pt x="18" y="316"/>
                      </a:cubicBezTo>
                      <a:cubicBezTo>
                        <a:pt x="15" y="316"/>
                        <a:pt x="15" y="316"/>
                        <a:pt x="15" y="316"/>
                      </a:cubicBezTo>
                      <a:cubicBezTo>
                        <a:pt x="13" y="316"/>
                        <a:pt x="11" y="316"/>
                        <a:pt x="9" y="316"/>
                      </a:cubicBezTo>
                      <a:cubicBezTo>
                        <a:pt x="9" y="316"/>
                        <a:pt x="8" y="316"/>
                        <a:pt x="7" y="316"/>
                      </a:cubicBezTo>
                      <a:cubicBezTo>
                        <a:pt x="6" y="315"/>
                        <a:pt x="4" y="315"/>
                        <a:pt x="3" y="315"/>
                      </a:cubicBezTo>
                      <a:cubicBezTo>
                        <a:pt x="2" y="314"/>
                        <a:pt x="1" y="314"/>
                        <a:pt x="0" y="314"/>
                      </a:cubicBezTo>
                      <a:cubicBezTo>
                        <a:pt x="0" y="314"/>
                        <a:pt x="0" y="314"/>
                        <a:pt x="0" y="314"/>
                      </a:cubicBezTo>
                      <a:cubicBezTo>
                        <a:pt x="138" y="392"/>
                        <a:pt x="138" y="392"/>
                        <a:pt x="138" y="392"/>
                      </a:cubicBezTo>
                      <a:cubicBezTo>
                        <a:pt x="250" y="355"/>
                        <a:pt x="331" y="249"/>
                        <a:pt x="331" y="124"/>
                      </a:cubicBezTo>
                      <a:cubicBezTo>
                        <a:pt x="331" y="104"/>
                        <a:pt x="329" y="84"/>
                        <a:pt x="324" y="65"/>
                      </a:cubicBezTo>
                      <a:cubicBezTo>
                        <a:pt x="324" y="65"/>
                        <a:pt x="324" y="65"/>
                        <a:pt x="324" y="65"/>
                      </a:cubicBezTo>
                      <a:cubicBezTo>
                        <a:pt x="204" y="0"/>
                        <a:pt x="204" y="0"/>
                        <a:pt x="204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sp>
            <p:nvSpPr>
              <p:cNvPr id="22596" name="Freeform 9"/>
              <p:cNvSpPr/>
              <p:nvPr/>
            </p:nvSpPr>
            <p:spPr bwMode="auto">
              <a:xfrm>
                <a:off x="-2605088" y="-166688"/>
                <a:ext cx="1439863" cy="1219200"/>
              </a:xfrm>
              <a:custGeom>
                <a:avLst/>
                <a:gdLst>
                  <a:gd name="T0" fmla="*/ 2147483646 w 384"/>
                  <a:gd name="T1" fmla="*/ 2147483646 h 325"/>
                  <a:gd name="T2" fmla="*/ 2147483646 w 384"/>
                  <a:gd name="T3" fmla="*/ 2147483646 h 325"/>
                  <a:gd name="T4" fmla="*/ 2147483646 w 384"/>
                  <a:gd name="T5" fmla="*/ 2147483646 h 325"/>
                  <a:gd name="T6" fmla="*/ 2147483646 w 384"/>
                  <a:gd name="T7" fmla="*/ 2147483646 h 325"/>
                  <a:gd name="T8" fmla="*/ 2147483646 w 384"/>
                  <a:gd name="T9" fmla="*/ 2147483646 h 325"/>
                  <a:gd name="T10" fmla="*/ 2147483646 w 384"/>
                  <a:gd name="T11" fmla="*/ 2147483646 h 325"/>
                  <a:gd name="T12" fmla="*/ 2147483646 w 384"/>
                  <a:gd name="T13" fmla="*/ 2147483646 h 325"/>
                  <a:gd name="T14" fmla="*/ 2147483646 w 384"/>
                  <a:gd name="T15" fmla="*/ 2147483646 h 325"/>
                  <a:gd name="T16" fmla="*/ 2147483646 w 384"/>
                  <a:gd name="T17" fmla="*/ 2147483646 h 325"/>
                  <a:gd name="T18" fmla="*/ 2147483646 w 384"/>
                  <a:gd name="T19" fmla="*/ 2147483646 h 325"/>
                  <a:gd name="T20" fmla="*/ 2147483646 w 384"/>
                  <a:gd name="T21" fmla="*/ 2147483646 h 325"/>
                  <a:gd name="T22" fmla="*/ 2147483646 w 384"/>
                  <a:gd name="T23" fmla="*/ 2147483646 h 325"/>
                  <a:gd name="T24" fmla="*/ 2147483646 w 384"/>
                  <a:gd name="T25" fmla="*/ 2147483646 h 325"/>
                  <a:gd name="T26" fmla="*/ 2147483646 w 384"/>
                  <a:gd name="T27" fmla="*/ 2147483646 h 325"/>
                  <a:gd name="T28" fmla="*/ 2147483646 w 384"/>
                  <a:gd name="T29" fmla="*/ 2147483646 h 325"/>
                  <a:gd name="T30" fmla="*/ 2147483646 w 384"/>
                  <a:gd name="T31" fmla="*/ 2147483646 h 325"/>
                  <a:gd name="T32" fmla="*/ 2147483646 w 384"/>
                  <a:gd name="T33" fmla="*/ 2147483646 h 325"/>
                  <a:gd name="T34" fmla="*/ 2147483646 w 384"/>
                  <a:gd name="T35" fmla="*/ 2147483646 h 325"/>
                  <a:gd name="T36" fmla="*/ 2147483646 w 384"/>
                  <a:gd name="T37" fmla="*/ 2147483646 h 325"/>
                  <a:gd name="T38" fmla="*/ 2147483646 w 384"/>
                  <a:gd name="T39" fmla="*/ 2147483646 h 325"/>
                  <a:gd name="T40" fmla="*/ 2147483646 w 384"/>
                  <a:gd name="T41" fmla="*/ 2147483646 h 325"/>
                  <a:gd name="T42" fmla="*/ 2147483646 w 384"/>
                  <a:gd name="T43" fmla="*/ 2147483646 h 325"/>
                  <a:gd name="T44" fmla="*/ 2147483646 w 384"/>
                  <a:gd name="T45" fmla="*/ 2147483646 h 325"/>
                  <a:gd name="T46" fmla="*/ 2147483646 w 384"/>
                  <a:gd name="T47" fmla="*/ 2147483646 h 325"/>
                  <a:gd name="T48" fmla="*/ 2147483646 w 384"/>
                  <a:gd name="T49" fmla="*/ 0 h 325"/>
                  <a:gd name="T50" fmla="*/ 2147483646 w 384"/>
                  <a:gd name="T51" fmla="*/ 2147483646 h 325"/>
                  <a:gd name="T52" fmla="*/ 2147483646 w 384"/>
                  <a:gd name="T53" fmla="*/ 2147483646 h 325"/>
                  <a:gd name="T54" fmla="*/ 2147483646 w 384"/>
                  <a:gd name="T55" fmla="*/ 2147483646 h 325"/>
                  <a:gd name="T56" fmla="*/ 2147483646 w 384"/>
                  <a:gd name="T57" fmla="*/ 2147483646 h 325"/>
                  <a:gd name="T58" fmla="*/ 2147483646 w 384"/>
                  <a:gd name="T59" fmla="*/ 2147483646 h 325"/>
                  <a:gd name="T60" fmla="*/ 2147483646 w 384"/>
                  <a:gd name="T61" fmla="*/ 2147483646 h 325"/>
                  <a:gd name="T62" fmla="*/ 2147483646 w 384"/>
                  <a:gd name="T63" fmla="*/ 2147483646 h 325"/>
                  <a:gd name="T64" fmla="*/ 2147483646 w 384"/>
                  <a:gd name="T65" fmla="*/ 2147483646 h 325"/>
                  <a:gd name="T66" fmla="*/ 2147483646 w 384"/>
                  <a:gd name="T67" fmla="*/ 2147483646 h 325"/>
                  <a:gd name="T68" fmla="*/ 2147483646 w 384"/>
                  <a:gd name="T69" fmla="*/ 2147483646 h 325"/>
                  <a:gd name="T70" fmla="*/ 2147483646 w 384"/>
                  <a:gd name="T71" fmla="*/ 2147483646 h 325"/>
                  <a:gd name="T72" fmla="*/ 2147483646 w 384"/>
                  <a:gd name="T73" fmla="*/ 2147483646 h 325"/>
                  <a:gd name="T74" fmla="*/ 2147483646 w 384"/>
                  <a:gd name="T75" fmla="*/ 2147483646 h 325"/>
                  <a:gd name="T76" fmla="*/ 2147483646 w 384"/>
                  <a:gd name="T77" fmla="*/ 2147483646 h 325"/>
                  <a:gd name="T78" fmla="*/ 2147483646 w 384"/>
                  <a:gd name="T79" fmla="*/ 2147483646 h 325"/>
                  <a:gd name="T80" fmla="*/ 2147483646 w 384"/>
                  <a:gd name="T81" fmla="*/ 2147483646 h 325"/>
                  <a:gd name="T82" fmla="*/ 2147483646 w 384"/>
                  <a:gd name="T83" fmla="*/ 2147483646 h 325"/>
                  <a:gd name="T84" fmla="*/ 2147483646 w 384"/>
                  <a:gd name="T85" fmla="*/ 2147483646 h 325"/>
                  <a:gd name="T86" fmla="*/ 2147483646 w 384"/>
                  <a:gd name="T87" fmla="*/ 2147483646 h 325"/>
                  <a:gd name="T88" fmla="*/ 2147483646 w 384"/>
                  <a:gd name="T89" fmla="*/ 2147483646 h 325"/>
                  <a:gd name="T90" fmla="*/ 2147483646 w 384"/>
                  <a:gd name="T91" fmla="*/ 2147483646 h 32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84" h="325">
                    <a:moveTo>
                      <a:pt x="167" y="325"/>
                    </a:moveTo>
                    <a:cubicBezTo>
                      <a:pt x="167" y="325"/>
                      <a:pt x="167" y="325"/>
                      <a:pt x="167" y="325"/>
                    </a:cubicBezTo>
                    <a:cubicBezTo>
                      <a:pt x="165" y="325"/>
                      <a:pt x="163" y="325"/>
                      <a:pt x="161" y="325"/>
                    </a:cubicBezTo>
                    <a:cubicBezTo>
                      <a:pt x="161" y="325"/>
                      <a:pt x="160" y="325"/>
                      <a:pt x="159" y="325"/>
                    </a:cubicBezTo>
                    <a:cubicBezTo>
                      <a:pt x="158" y="324"/>
                      <a:pt x="156" y="324"/>
                      <a:pt x="155" y="324"/>
                    </a:cubicBezTo>
                    <a:cubicBezTo>
                      <a:pt x="154" y="323"/>
                      <a:pt x="153" y="323"/>
                      <a:pt x="152" y="323"/>
                    </a:cubicBezTo>
                    <a:cubicBezTo>
                      <a:pt x="150" y="322"/>
                      <a:pt x="148" y="321"/>
                      <a:pt x="146" y="320"/>
                    </a:cubicBezTo>
                    <a:cubicBezTo>
                      <a:pt x="146" y="320"/>
                      <a:pt x="146" y="320"/>
                      <a:pt x="146" y="320"/>
                    </a:cubicBezTo>
                    <a:cubicBezTo>
                      <a:pt x="145" y="320"/>
                      <a:pt x="145" y="320"/>
                      <a:pt x="145" y="320"/>
                    </a:cubicBezTo>
                    <a:cubicBezTo>
                      <a:pt x="143" y="319"/>
                      <a:pt x="142" y="318"/>
                      <a:pt x="141" y="317"/>
                    </a:cubicBezTo>
                    <a:cubicBezTo>
                      <a:pt x="140" y="317"/>
                      <a:pt x="140" y="317"/>
                      <a:pt x="140" y="317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6" y="314"/>
                      <a:pt x="134" y="312"/>
                      <a:pt x="132" y="310"/>
                    </a:cubicBezTo>
                    <a:cubicBezTo>
                      <a:pt x="131" y="309"/>
                      <a:pt x="131" y="309"/>
                      <a:pt x="131" y="309"/>
                    </a:cubicBezTo>
                    <a:cubicBezTo>
                      <a:pt x="130" y="308"/>
                      <a:pt x="129" y="307"/>
                      <a:pt x="129" y="306"/>
                    </a:cubicBezTo>
                    <a:cubicBezTo>
                      <a:pt x="17" y="164"/>
                      <a:pt x="17" y="164"/>
                      <a:pt x="17" y="164"/>
                    </a:cubicBezTo>
                    <a:cubicBezTo>
                      <a:pt x="0" y="142"/>
                      <a:pt x="3" y="110"/>
                      <a:pt x="25" y="93"/>
                    </a:cubicBezTo>
                    <a:cubicBezTo>
                      <a:pt x="34" y="86"/>
                      <a:pt x="45" y="82"/>
                      <a:pt x="56" y="82"/>
                    </a:cubicBezTo>
                    <a:cubicBezTo>
                      <a:pt x="72" y="82"/>
                      <a:pt x="86" y="89"/>
                      <a:pt x="96" y="102"/>
                    </a:cubicBezTo>
                    <a:cubicBezTo>
                      <a:pt x="166" y="191"/>
                      <a:pt x="166" y="191"/>
                      <a:pt x="166" y="191"/>
                    </a:cubicBezTo>
                    <a:cubicBezTo>
                      <a:pt x="286" y="21"/>
                      <a:pt x="286" y="21"/>
                      <a:pt x="286" y="21"/>
                    </a:cubicBezTo>
                    <a:cubicBezTo>
                      <a:pt x="295" y="8"/>
                      <a:pt x="311" y="0"/>
                      <a:pt x="327" y="0"/>
                    </a:cubicBezTo>
                    <a:cubicBezTo>
                      <a:pt x="337" y="0"/>
                      <a:pt x="348" y="3"/>
                      <a:pt x="356" y="9"/>
                    </a:cubicBezTo>
                    <a:cubicBezTo>
                      <a:pt x="379" y="25"/>
                      <a:pt x="384" y="57"/>
                      <a:pt x="368" y="80"/>
                    </a:cubicBezTo>
                    <a:cubicBezTo>
                      <a:pt x="209" y="304"/>
                      <a:pt x="209" y="304"/>
                      <a:pt x="209" y="304"/>
                    </a:cubicBezTo>
                    <a:cubicBezTo>
                      <a:pt x="209" y="305"/>
                      <a:pt x="208" y="306"/>
                      <a:pt x="208" y="306"/>
                    </a:cubicBezTo>
                    <a:cubicBezTo>
                      <a:pt x="207" y="307"/>
                      <a:pt x="207" y="307"/>
                      <a:pt x="207" y="307"/>
                    </a:cubicBezTo>
                    <a:cubicBezTo>
                      <a:pt x="207" y="307"/>
                      <a:pt x="207" y="308"/>
                      <a:pt x="206" y="308"/>
                    </a:cubicBezTo>
                    <a:cubicBezTo>
                      <a:pt x="204" y="310"/>
                      <a:pt x="203" y="312"/>
                      <a:pt x="201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199" y="315"/>
                      <a:pt x="199" y="315"/>
                      <a:pt x="199" y="315"/>
                    </a:cubicBezTo>
                    <a:cubicBezTo>
                      <a:pt x="199" y="315"/>
                      <a:pt x="199" y="315"/>
                      <a:pt x="198" y="315"/>
                    </a:cubicBezTo>
                    <a:cubicBezTo>
                      <a:pt x="198" y="316"/>
                      <a:pt x="198" y="316"/>
                      <a:pt x="198" y="316"/>
                    </a:cubicBezTo>
                    <a:cubicBezTo>
                      <a:pt x="196" y="317"/>
                      <a:pt x="195" y="318"/>
                      <a:pt x="193" y="319"/>
                    </a:cubicBezTo>
                    <a:cubicBezTo>
                      <a:pt x="192" y="319"/>
                      <a:pt x="192" y="319"/>
                      <a:pt x="192" y="320"/>
                    </a:cubicBezTo>
                    <a:cubicBezTo>
                      <a:pt x="189" y="321"/>
                      <a:pt x="187" y="322"/>
                      <a:pt x="185" y="323"/>
                    </a:cubicBezTo>
                    <a:cubicBezTo>
                      <a:pt x="184" y="323"/>
                      <a:pt x="184" y="323"/>
                      <a:pt x="183" y="323"/>
                    </a:cubicBezTo>
                    <a:cubicBezTo>
                      <a:pt x="181" y="324"/>
                      <a:pt x="179" y="324"/>
                      <a:pt x="178" y="325"/>
                    </a:cubicBezTo>
                    <a:cubicBezTo>
                      <a:pt x="177" y="325"/>
                      <a:pt x="176" y="325"/>
                      <a:pt x="175" y="325"/>
                    </a:cubicBezTo>
                    <a:cubicBezTo>
                      <a:pt x="173" y="325"/>
                      <a:pt x="171" y="325"/>
                      <a:pt x="170" y="325"/>
                    </a:cubicBezTo>
                    <a:cubicBezTo>
                      <a:pt x="168" y="325"/>
                      <a:pt x="168" y="325"/>
                      <a:pt x="168" y="325"/>
                    </a:cubicBezTo>
                    <a:lnTo>
                      <a:pt x="167" y="3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1" name="组合 10"/>
          <p:cNvGrpSpPr/>
          <p:nvPr/>
        </p:nvGrpSpPr>
        <p:grpSpPr bwMode="auto">
          <a:xfrm>
            <a:off x="755650" y="2141538"/>
            <a:ext cx="3255963" cy="884237"/>
            <a:chOff x="756172" y="2141908"/>
            <a:chExt cx="3254914" cy="883979"/>
          </a:xfrm>
        </p:grpSpPr>
        <p:sp>
          <p:nvSpPr>
            <p:cNvPr id="42" name="Rectangle 44"/>
            <p:cNvSpPr/>
            <p:nvPr/>
          </p:nvSpPr>
          <p:spPr bwMode="auto">
            <a:xfrm>
              <a:off x="756172" y="2141908"/>
              <a:ext cx="3254914" cy="88397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582" name="矩形 110"/>
            <p:cNvSpPr>
              <a:spLocks noChangeArrowheads="1"/>
            </p:cNvSpPr>
            <p:nvPr/>
          </p:nvSpPr>
          <p:spPr bwMode="auto">
            <a:xfrm>
              <a:off x="1676574" y="2327224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583" name="组合 76"/>
            <p:cNvGrpSpPr/>
            <p:nvPr/>
          </p:nvGrpSpPr>
          <p:grpSpPr bwMode="auto">
            <a:xfrm>
              <a:off x="1002715" y="2406163"/>
              <a:ext cx="420716" cy="419923"/>
              <a:chOff x="8548687" y="-3030538"/>
              <a:chExt cx="2126497" cy="2122488"/>
            </a:xfrm>
          </p:grpSpPr>
          <p:sp>
            <p:nvSpPr>
              <p:cNvPr id="78" name="Freeform 14"/>
              <p:cNvSpPr/>
              <p:nvPr/>
            </p:nvSpPr>
            <p:spPr bwMode="auto">
              <a:xfrm>
                <a:off x="8545862" y="-3026597"/>
                <a:ext cx="2125663" cy="2117708"/>
              </a:xfrm>
              <a:custGeom>
                <a:avLst/>
                <a:gdLst>
                  <a:gd name="T0" fmla="*/ 566 w 566"/>
                  <a:gd name="T1" fmla="*/ 283 h 566"/>
                  <a:gd name="T2" fmla="*/ 484 w 566"/>
                  <a:gd name="T3" fmla="*/ 481 h 566"/>
                  <a:gd name="T4" fmla="*/ 478 w 566"/>
                  <a:gd name="T5" fmla="*/ 487 h 566"/>
                  <a:gd name="T6" fmla="*/ 388 w 566"/>
                  <a:gd name="T7" fmla="*/ 546 h 566"/>
                  <a:gd name="T8" fmla="*/ 283 w 566"/>
                  <a:gd name="T9" fmla="*/ 566 h 566"/>
                  <a:gd name="T10" fmla="*/ 0 w 566"/>
                  <a:gd name="T11" fmla="*/ 283 h 566"/>
                  <a:gd name="T12" fmla="*/ 283 w 566"/>
                  <a:gd name="T13" fmla="*/ 0 h 566"/>
                  <a:gd name="T14" fmla="*/ 562 w 566"/>
                  <a:gd name="T15" fmla="*/ 240 h 566"/>
                  <a:gd name="T16" fmla="*/ 566 w 566"/>
                  <a:gd name="T17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360"/>
                      <a:pt x="534" y="430"/>
                      <a:pt x="484" y="481"/>
                    </a:cubicBezTo>
                    <a:cubicBezTo>
                      <a:pt x="482" y="483"/>
                      <a:pt x="480" y="485"/>
                      <a:pt x="478" y="487"/>
                    </a:cubicBezTo>
                    <a:cubicBezTo>
                      <a:pt x="452" y="512"/>
                      <a:pt x="422" y="532"/>
                      <a:pt x="388" y="546"/>
                    </a:cubicBezTo>
                    <a:cubicBezTo>
                      <a:pt x="355" y="559"/>
                      <a:pt x="320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24" y="0"/>
                      <a:pt x="542" y="104"/>
                      <a:pt x="562" y="240"/>
                    </a:cubicBezTo>
                    <a:cubicBezTo>
                      <a:pt x="564" y="254"/>
                      <a:pt x="566" y="268"/>
                      <a:pt x="566" y="283"/>
                    </a:cubicBezTo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85" name="Freeform 15"/>
              <p:cNvSpPr/>
              <p:nvPr/>
            </p:nvSpPr>
            <p:spPr bwMode="auto">
              <a:xfrm>
                <a:off x="9519484" y="-1564444"/>
                <a:ext cx="825501" cy="584201"/>
              </a:xfrm>
              <a:custGeom>
                <a:avLst/>
                <a:gdLst>
                  <a:gd name="T0" fmla="*/ 2147483646 w 220"/>
                  <a:gd name="T1" fmla="*/ 0 h 156"/>
                  <a:gd name="T2" fmla="*/ 2147483646 w 220"/>
                  <a:gd name="T3" fmla="*/ 2147483646 h 156"/>
                  <a:gd name="T4" fmla="*/ 2147483646 w 220"/>
                  <a:gd name="T5" fmla="*/ 2147483646 h 156"/>
                  <a:gd name="T6" fmla="*/ 2147483646 w 220"/>
                  <a:gd name="T7" fmla="*/ 2147483646 h 156"/>
                  <a:gd name="T8" fmla="*/ 2147483646 w 220"/>
                  <a:gd name="T9" fmla="*/ 2147483646 h 156"/>
                  <a:gd name="T10" fmla="*/ 2147483646 w 220"/>
                  <a:gd name="T11" fmla="*/ 2147483646 h 156"/>
                  <a:gd name="T12" fmla="*/ 2147483646 w 220"/>
                  <a:gd name="T13" fmla="*/ 2147483646 h 156"/>
                  <a:gd name="T14" fmla="*/ 2147483646 w 220"/>
                  <a:gd name="T15" fmla="*/ 2147483646 h 156"/>
                  <a:gd name="T16" fmla="*/ 2147483646 w 220"/>
                  <a:gd name="T17" fmla="*/ 2147483646 h 156"/>
                  <a:gd name="T18" fmla="*/ 2147483646 w 220"/>
                  <a:gd name="T19" fmla="*/ 2147483646 h 156"/>
                  <a:gd name="T20" fmla="*/ 2147483646 w 220"/>
                  <a:gd name="T21" fmla="*/ 2147483646 h 156"/>
                  <a:gd name="T22" fmla="*/ 2147483646 w 220"/>
                  <a:gd name="T23" fmla="*/ 2147483646 h 156"/>
                  <a:gd name="T24" fmla="*/ 2147483646 w 220"/>
                  <a:gd name="T25" fmla="*/ 2147483646 h 156"/>
                  <a:gd name="T26" fmla="*/ 2147483646 w 220"/>
                  <a:gd name="T27" fmla="*/ 2147483646 h 156"/>
                  <a:gd name="T28" fmla="*/ 2147483646 w 220"/>
                  <a:gd name="T29" fmla="*/ 2147483646 h 156"/>
                  <a:gd name="T30" fmla="*/ 2147483646 w 220"/>
                  <a:gd name="T31" fmla="*/ 2147483646 h 156"/>
                  <a:gd name="T32" fmla="*/ 2147483646 w 220"/>
                  <a:gd name="T33" fmla="*/ 2147483646 h 156"/>
                  <a:gd name="T34" fmla="*/ 2147483646 w 220"/>
                  <a:gd name="T35" fmla="*/ 2147483646 h 156"/>
                  <a:gd name="T36" fmla="*/ 2147483646 w 220"/>
                  <a:gd name="T37" fmla="*/ 2147483646 h 156"/>
                  <a:gd name="T38" fmla="*/ 2147483646 w 220"/>
                  <a:gd name="T39" fmla="*/ 2147483646 h 156"/>
                  <a:gd name="T40" fmla="*/ 2147483646 w 220"/>
                  <a:gd name="T41" fmla="*/ 2147483646 h 156"/>
                  <a:gd name="T42" fmla="*/ 2147483646 w 220"/>
                  <a:gd name="T43" fmla="*/ 2147483646 h 156"/>
                  <a:gd name="T44" fmla="*/ 2147483646 w 220"/>
                  <a:gd name="T45" fmla="*/ 2147483646 h 156"/>
                  <a:gd name="T46" fmla="*/ 2147483646 w 220"/>
                  <a:gd name="T47" fmla="*/ 2147483646 h 156"/>
                  <a:gd name="T48" fmla="*/ 2147483646 w 220"/>
                  <a:gd name="T49" fmla="*/ 2147483646 h 156"/>
                  <a:gd name="T50" fmla="*/ 2147483646 w 220"/>
                  <a:gd name="T51" fmla="*/ 2147483646 h 156"/>
                  <a:gd name="T52" fmla="*/ 2147483646 w 220"/>
                  <a:gd name="T53" fmla="*/ 2147483646 h 156"/>
                  <a:gd name="T54" fmla="*/ 0 w 220"/>
                  <a:gd name="T55" fmla="*/ 2147483646 h 156"/>
                  <a:gd name="T56" fmla="*/ 2147483646 w 220"/>
                  <a:gd name="T57" fmla="*/ 2147483646 h 156"/>
                  <a:gd name="T58" fmla="*/ 2147483646 w 220"/>
                  <a:gd name="T59" fmla="*/ 2147483646 h 156"/>
                  <a:gd name="T60" fmla="*/ 2147483646 w 220"/>
                  <a:gd name="T61" fmla="*/ 0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220" h="156">
                    <a:moveTo>
                      <a:pt x="44" y="0"/>
                    </a:moveTo>
                    <a:cubicBezTo>
                      <a:pt x="45" y="0"/>
                      <a:pt x="46" y="0"/>
                      <a:pt x="46" y="1"/>
                    </a:cubicBezTo>
                    <a:cubicBezTo>
                      <a:pt x="47" y="1"/>
                      <a:pt x="47" y="1"/>
                      <a:pt x="48" y="2"/>
                    </a:cubicBezTo>
                    <a:cubicBezTo>
                      <a:pt x="48" y="2"/>
                      <a:pt x="48" y="2"/>
                      <a:pt x="48" y="2"/>
                    </a:cubicBezTo>
                    <a:cubicBezTo>
                      <a:pt x="49" y="2"/>
                      <a:pt x="49" y="3"/>
                      <a:pt x="50" y="3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0" y="4"/>
                      <a:pt x="51" y="4"/>
                      <a:pt x="51" y="5"/>
                    </a:cubicBezTo>
                    <a:cubicBezTo>
                      <a:pt x="52" y="5"/>
                      <a:pt x="52" y="6"/>
                      <a:pt x="53" y="6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5" y="8"/>
                      <a:pt x="56" y="10"/>
                      <a:pt x="57" y="12"/>
                    </a:cubicBezTo>
                    <a:cubicBezTo>
                      <a:pt x="58" y="13"/>
                      <a:pt x="59" y="14"/>
                      <a:pt x="60" y="16"/>
                    </a:cubicBezTo>
                    <a:cubicBezTo>
                      <a:pt x="60" y="16"/>
                      <a:pt x="61" y="17"/>
                      <a:pt x="61" y="17"/>
                    </a:cubicBezTo>
                    <a:cubicBezTo>
                      <a:pt x="62" y="19"/>
                      <a:pt x="62" y="20"/>
                      <a:pt x="63" y="22"/>
                    </a:cubicBezTo>
                    <a:cubicBezTo>
                      <a:pt x="65" y="27"/>
                      <a:pt x="66" y="34"/>
                      <a:pt x="66" y="40"/>
                    </a:cubicBezTo>
                    <a:cubicBezTo>
                      <a:pt x="66" y="49"/>
                      <a:pt x="64" y="57"/>
                      <a:pt x="61" y="64"/>
                    </a:cubicBezTo>
                    <a:cubicBezTo>
                      <a:pt x="60" y="66"/>
                      <a:pt x="58" y="69"/>
                      <a:pt x="56" y="71"/>
                    </a:cubicBezTo>
                    <a:cubicBezTo>
                      <a:pt x="55" y="72"/>
                      <a:pt x="54" y="74"/>
                      <a:pt x="53" y="75"/>
                    </a:cubicBezTo>
                    <a:cubicBezTo>
                      <a:pt x="53" y="75"/>
                      <a:pt x="52" y="76"/>
                      <a:pt x="51" y="76"/>
                    </a:cubicBezTo>
                    <a:cubicBezTo>
                      <a:pt x="43" y="84"/>
                      <a:pt x="33" y="88"/>
                      <a:pt x="20" y="88"/>
                    </a:cubicBezTo>
                    <a:cubicBezTo>
                      <a:pt x="18" y="88"/>
                      <a:pt x="16" y="88"/>
                      <a:pt x="14" y="88"/>
                    </a:cubicBezTo>
                    <a:cubicBezTo>
                      <a:pt x="13" y="88"/>
                      <a:pt x="13" y="88"/>
                      <a:pt x="12" y="88"/>
                    </a:cubicBezTo>
                    <a:cubicBezTo>
                      <a:pt x="11" y="88"/>
                      <a:pt x="10" y="88"/>
                      <a:pt x="8" y="87"/>
                    </a:cubicBezTo>
                    <a:cubicBezTo>
                      <a:pt x="8" y="87"/>
                      <a:pt x="7" y="87"/>
                      <a:pt x="7" y="87"/>
                    </a:cubicBezTo>
                    <a:cubicBezTo>
                      <a:pt x="6" y="87"/>
                      <a:pt x="6" y="87"/>
                      <a:pt x="6" y="87"/>
                    </a:cubicBezTo>
                    <a:cubicBezTo>
                      <a:pt x="6" y="87"/>
                      <a:pt x="5" y="87"/>
                      <a:pt x="5" y="86"/>
                    </a:cubicBezTo>
                    <a:cubicBezTo>
                      <a:pt x="4" y="86"/>
                      <a:pt x="4" y="86"/>
                      <a:pt x="4" y="86"/>
                    </a:cubicBezTo>
                    <a:cubicBezTo>
                      <a:pt x="3" y="86"/>
                      <a:pt x="3" y="86"/>
                      <a:pt x="2" y="86"/>
                    </a:cubicBezTo>
                    <a:cubicBezTo>
                      <a:pt x="2" y="85"/>
                      <a:pt x="1" y="85"/>
                      <a:pt x="0" y="85"/>
                    </a:cubicBezTo>
                    <a:cubicBezTo>
                      <a:pt x="130" y="156"/>
                      <a:pt x="130" y="156"/>
                      <a:pt x="130" y="156"/>
                    </a:cubicBezTo>
                    <a:cubicBezTo>
                      <a:pt x="164" y="142"/>
                      <a:pt x="194" y="122"/>
                      <a:pt x="220" y="97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6" name="Freeform 16"/>
              <p:cNvSpPr/>
              <p:nvPr/>
            </p:nvSpPr>
            <p:spPr bwMode="auto">
              <a:xfrm>
                <a:off x="9530594" y="-2656644"/>
                <a:ext cx="1144590" cy="1433513"/>
              </a:xfrm>
              <a:custGeom>
                <a:avLst/>
                <a:gdLst>
                  <a:gd name="T0" fmla="*/ 2147483646 w 305"/>
                  <a:gd name="T1" fmla="*/ 0 h 382"/>
                  <a:gd name="T2" fmla="*/ 2147483646 w 305"/>
                  <a:gd name="T3" fmla="*/ 2147483646 h 382"/>
                  <a:gd name="T4" fmla="*/ 2147483646 w 305"/>
                  <a:gd name="T5" fmla="*/ 2147483646 h 382"/>
                  <a:gd name="T6" fmla="*/ 2147483646 w 305"/>
                  <a:gd name="T7" fmla="*/ 2147483646 h 382"/>
                  <a:gd name="T8" fmla="*/ 2147483646 w 305"/>
                  <a:gd name="T9" fmla="*/ 2147483646 h 382"/>
                  <a:gd name="T10" fmla="*/ 2147483646 w 305"/>
                  <a:gd name="T11" fmla="*/ 2147483646 h 382"/>
                  <a:gd name="T12" fmla="*/ 2147483646 w 305"/>
                  <a:gd name="T13" fmla="*/ 2147483646 h 382"/>
                  <a:gd name="T14" fmla="*/ 2147483646 w 305"/>
                  <a:gd name="T15" fmla="*/ 2147483646 h 382"/>
                  <a:gd name="T16" fmla="*/ 2147483646 w 305"/>
                  <a:gd name="T17" fmla="*/ 2147483646 h 382"/>
                  <a:gd name="T18" fmla="*/ 2147483646 w 305"/>
                  <a:gd name="T19" fmla="*/ 2147483646 h 382"/>
                  <a:gd name="T20" fmla="*/ 2147483646 w 305"/>
                  <a:gd name="T21" fmla="*/ 2147483646 h 382"/>
                  <a:gd name="T22" fmla="*/ 2147483646 w 305"/>
                  <a:gd name="T23" fmla="*/ 2147483646 h 382"/>
                  <a:gd name="T24" fmla="*/ 2147483646 w 305"/>
                  <a:gd name="T25" fmla="*/ 2147483646 h 382"/>
                  <a:gd name="T26" fmla="*/ 2147483646 w 305"/>
                  <a:gd name="T27" fmla="*/ 2147483646 h 382"/>
                  <a:gd name="T28" fmla="*/ 2147483646 w 305"/>
                  <a:gd name="T29" fmla="*/ 2147483646 h 382"/>
                  <a:gd name="T30" fmla="*/ 2147483646 w 305"/>
                  <a:gd name="T31" fmla="*/ 2147483646 h 382"/>
                  <a:gd name="T32" fmla="*/ 2147483646 w 305"/>
                  <a:gd name="T33" fmla="*/ 2147483646 h 382"/>
                  <a:gd name="T34" fmla="*/ 2147483646 w 305"/>
                  <a:gd name="T35" fmla="*/ 2147483646 h 382"/>
                  <a:gd name="T36" fmla="*/ 2147483646 w 305"/>
                  <a:gd name="T37" fmla="*/ 2147483646 h 382"/>
                  <a:gd name="T38" fmla="*/ 2147483646 w 305"/>
                  <a:gd name="T39" fmla="*/ 2147483646 h 382"/>
                  <a:gd name="T40" fmla="*/ 2147483646 w 305"/>
                  <a:gd name="T41" fmla="*/ 2147483646 h 382"/>
                  <a:gd name="T42" fmla="*/ 2147483646 w 305"/>
                  <a:gd name="T43" fmla="*/ 2147483646 h 382"/>
                  <a:gd name="T44" fmla="*/ 2147483646 w 305"/>
                  <a:gd name="T45" fmla="*/ 2147483646 h 382"/>
                  <a:gd name="T46" fmla="*/ 0 w 305"/>
                  <a:gd name="T47" fmla="*/ 2147483646 h 382"/>
                  <a:gd name="T48" fmla="*/ 0 w 305"/>
                  <a:gd name="T49" fmla="*/ 2147483646 h 382"/>
                  <a:gd name="T50" fmla="*/ 2147483646 w 305"/>
                  <a:gd name="T51" fmla="*/ 2147483646 h 382"/>
                  <a:gd name="T52" fmla="*/ 2147483646 w 305"/>
                  <a:gd name="T53" fmla="*/ 2147483646 h 382"/>
                  <a:gd name="T54" fmla="*/ 2147483646 w 305"/>
                  <a:gd name="T55" fmla="*/ 2147483646 h 382"/>
                  <a:gd name="T56" fmla="*/ 2147483646 w 305"/>
                  <a:gd name="T57" fmla="*/ 2147483646 h 382"/>
                  <a:gd name="T58" fmla="*/ 2147483646 w 305"/>
                  <a:gd name="T59" fmla="*/ 0 h 38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05" h="382">
                    <a:moveTo>
                      <a:pt x="44" y="0"/>
                    </a:moveTo>
                    <a:cubicBezTo>
                      <a:pt x="47" y="2"/>
                      <a:pt x="50" y="5"/>
                      <a:pt x="52" y="8"/>
                    </a:cubicBezTo>
                    <a:cubicBezTo>
                      <a:pt x="53" y="9"/>
                      <a:pt x="53" y="10"/>
                      <a:pt x="54" y="11"/>
                    </a:cubicBezTo>
                    <a:cubicBezTo>
                      <a:pt x="54" y="12"/>
                      <a:pt x="55" y="13"/>
                      <a:pt x="55" y="14"/>
                    </a:cubicBezTo>
                    <a:cubicBezTo>
                      <a:pt x="56" y="15"/>
                      <a:pt x="56" y="15"/>
                      <a:pt x="56" y="16"/>
                    </a:cubicBezTo>
                    <a:cubicBezTo>
                      <a:pt x="57" y="17"/>
                      <a:pt x="57" y="18"/>
                      <a:pt x="58" y="20"/>
                    </a:cubicBezTo>
                    <a:cubicBezTo>
                      <a:pt x="59" y="24"/>
                      <a:pt x="60" y="28"/>
                      <a:pt x="61" y="33"/>
                    </a:cubicBezTo>
                    <a:cubicBezTo>
                      <a:pt x="61" y="34"/>
                      <a:pt x="61" y="36"/>
                      <a:pt x="62" y="38"/>
                    </a:cubicBezTo>
                    <a:cubicBezTo>
                      <a:pt x="62" y="40"/>
                      <a:pt x="62" y="41"/>
                      <a:pt x="62" y="43"/>
                    </a:cubicBezTo>
                    <a:cubicBezTo>
                      <a:pt x="62" y="43"/>
                      <a:pt x="62" y="43"/>
                      <a:pt x="62" y="43"/>
                    </a:cubicBezTo>
                    <a:cubicBezTo>
                      <a:pt x="62" y="45"/>
                      <a:pt x="62" y="46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61"/>
                      <a:pt x="63" y="74"/>
                      <a:pt x="63" y="87"/>
                    </a:cubicBezTo>
                    <a:cubicBezTo>
                      <a:pt x="63" y="93"/>
                      <a:pt x="63" y="100"/>
                      <a:pt x="63" y="106"/>
                    </a:cubicBezTo>
                    <a:cubicBezTo>
                      <a:pt x="62" y="128"/>
                      <a:pt x="59" y="150"/>
                      <a:pt x="55" y="172"/>
                    </a:cubicBezTo>
                    <a:cubicBezTo>
                      <a:pt x="48" y="199"/>
                      <a:pt x="42" y="225"/>
                      <a:pt x="35" y="252"/>
                    </a:cubicBezTo>
                    <a:cubicBezTo>
                      <a:pt x="34" y="258"/>
                      <a:pt x="27" y="261"/>
                      <a:pt x="16" y="261"/>
                    </a:cubicBezTo>
                    <a:cubicBezTo>
                      <a:pt x="12" y="261"/>
                      <a:pt x="9" y="261"/>
                      <a:pt x="7" y="261"/>
                    </a:cubicBezTo>
                    <a:cubicBezTo>
                      <a:pt x="6" y="261"/>
                      <a:pt x="6" y="261"/>
                      <a:pt x="6" y="261"/>
                    </a:cubicBezTo>
                    <a:cubicBezTo>
                      <a:pt x="5" y="260"/>
                      <a:pt x="5" y="260"/>
                      <a:pt x="5" y="260"/>
                    </a:cubicBezTo>
                    <a:cubicBezTo>
                      <a:pt x="5" y="260"/>
                      <a:pt x="5" y="260"/>
                      <a:pt x="5" y="260"/>
                    </a:cubicBezTo>
                    <a:cubicBezTo>
                      <a:pt x="4" y="260"/>
                      <a:pt x="4" y="260"/>
                      <a:pt x="4" y="260"/>
                    </a:cubicBezTo>
                    <a:cubicBezTo>
                      <a:pt x="4" y="260"/>
                      <a:pt x="3" y="260"/>
                      <a:pt x="3" y="260"/>
                    </a:cubicBezTo>
                    <a:cubicBezTo>
                      <a:pt x="2" y="260"/>
                      <a:pt x="1" y="260"/>
                      <a:pt x="0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223" y="382"/>
                      <a:pt x="223" y="382"/>
                      <a:pt x="223" y="382"/>
                    </a:cubicBezTo>
                    <a:cubicBezTo>
                      <a:pt x="273" y="331"/>
                      <a:pt x="305" y="261"/>
                      <a:pt x="305" y="184"/>
                    </a:cubicBezTo>
                    <a:cubicBezTo>
                      <a:pt x="305" y="169"/>
                      <a:pt x="303" y="155"/>
                      <a:pt x="301" y="141"/>
                    </a:cubicBezTo>
                    <a:cubicBezTo>
                      <a:pt x="301" y="141"/>
                      <a:pt x="301" y="141"/>
                      <a:pt x="301" y="141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7" name="Freeform 17"/>
              <p:cNvSpPr/>
              <p:nvPr/>
            </p:nvSpPr>
            <p:spPr bwMode="auto">
              <a:xfrm>
                <a:off x="9413875" y="-2697163"/>
                <a:ext cx="176213" cy="1016000"/>
              </a:xfrm>
              <a:custGeom>
                <a:avLst/>
                <a:gdLst>
                  <a:gd name="T0" fmla="*/ 2147483646 w 47"/>
                  <a:gd name="T1" fmla="*/ 0 h 271"/>
                  <a:gd name="T2" fmla="*/ 2147483646 w 47"/>
                  <a:gd name="T3" fmla="*/ 2147483646 h 271"/>
                  <a:gd name="T4" fmla="*/ 2147483646 w 47"/>
                  <a:gd name="T5" fmla="*/ 2147483646 h 271"/>
                  <a:gd name="T6" fmla="*/ 2147483646 w 47"/>
                  <a:gd name="T7" fmla="*/ 2147483646 h 271"/>
                  <a:gd name="T8" fmla="*/ 2147483646 w 47"/>
                  <a:gd name="T9" fmla="*/ 2147483646 h 271"/>
                  <a:gd name="T10" fmla="*/ 0 w 47"/>
                  <a:gd name="T11" fmla="*/ 2147483646 h 271"/>
                  <a:gd name="T12" fmla="*/ 2147483646 w 47"/>
                  <a:gd name="T13" fmla="*/ 2147483646 h 271"/>
                  <a:gd name="T14" fmla="*/ 2147483646 w 47"/>
                  <a:gd name="T15" fmla="*/ 2147483646 h 271"/>
                  <a:gd name="T16" fmla="*/ 2147483646 w 47"/>
                  <a:gd name="T17" fmla="*/ 2147483646 h 271"/>
                  <a:gd name="T18" fmla="*/ 2147483646 w 47"/>
                  <a:gd name="T19" fmla="*/ 2147483646 h 271"/>
                  <a:gd name="T20" fmla="*/ 2147483646 w 47"/>
                  <a:gd name="T21" fmla="*/ 2147483646 h 271"/>
                  <a:gd name="T22" fmla="*/ 2147483646 w 47"/>
                  <a:gd name="T23" fmla="*/ 2147483646 h 271"/>
                  <a:gd name="T24" fmla="*/ 2147483646 w 47"/>
                  <a:gd name="T25" fmla="*/ 2147483646 h 271"/>
                  <a:gd name="T26" fmla="*/ 2147483646 w 47"/>
                  <a:gd name="T27" fmla="*/ 2147483646 h 271"/>
                  <a:gd name="T28" fmla="*/ 2147483646 w 47"/>
                  <a:gd name="T29" fmla="*/ 2147483646 h 271"/>
                  <a:gd name="T30" fmla="*/ 2147483646 w 47"/>
                  <a:gd name="T31" fmla="*/ 2147483646 h 271"/>
                  <a:gd name="T32" fmla="*/ 2147483646 w 47"/>
                  <a:gd name="T33" fmla="*/ 2147483646 h 271"/>
                  <a:gd name="T34" fmla="*/ 2147483646 w 47"/>
                  <a:gd name="T35" fmla="*/ 0 h 27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7" h="271">
                    <a:moveTo>
                      <a:pt x="43" y="0"/>
                    </a:moveTo>
                    <a:cubicBezTo>
                      <a:pt x="7" y="0"/>
                      <a:pt x="1" y="41"/>
                      <a:pt x="1" y="47"/>
                    </a:cubicBezTo>
                    <a:cubicBezTo>
                      <a:pt x="1" y="54"/>
                      <a:pt x="1" y="65"/>
                      <a:pt x="2" y="80"/>
                    </a:cubicBezTo>
                    <a:cubicBezTo>
                      <a:pt x="2" y="95"/>
                      <a:pt x="2" y="106"/>
                      <a:pt x="2" y="113"/>
                    </a:cubicBezTo>
                    <a:cubicBezTo>
                      <a:pt x="2" y="120"/>
                      <a:pt x="2" y="130"/>
                      <a:pt x="1" y="143"/>
                    </a:cubicBezTo>
                    <a:cubicBezTo>
                      <a:pt x="1" y="157"/>
                      <a:pt x="0" y="167"/>
                      <a:pt x="0" y="174"/>
                    </a:cubicBezTo>
                    <a:cubicBezTo>
                      <a:pt x="0" y="181"/>
                      <a:pt x="8" y="211"/>
                      <a:pt x="23" y="263"/>
                    </a:cubicBezTo>
                    <a:cubicBezTo>
                      <a:pt x="24" y="266"/>
                      <a:pt x="26" y="268"/>
                      <a:pt x="30" y="269"/>
                    </a:cubicBezTo>
                    <a:cubicBezTo>
                      <a:pt x="31" y="270"/>
                      <a:pt x="32" y="270"/>
                      <a:pt x="33" y="270"/>
                    </a:cubicBezTo>
                    <a:cubicBezTo>
                      <a:pt x="33" y="270"/>
                      <a:pt x="34" y="270"/>
                      <a:pt x="34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6" y="271"/>
                      <a:pt x="36" y="271"/>
                      <a:pt x="36" y="271"/>
                    </a:cubicBezTo>
                    <a:cubicBezTo>
                      <a:pt x="37" y="271"/>
                      <a:pt x="37" y="271"/>
                      <a:pt x="37" y="271"/>
                    </a:cubicBezTo>
                    <a:cubicBezTo>
                      <a:pt x="39" y="271"/>
                      <a:pt x="42" y="271"/>
                      <a:pt x="46" y="271"/>
                    </a:cubicBezTo>
                    <a:cubicBezTo>
                      <a:pt x="47" y="271"/>
                      <a:pt x="47" y="271"/>
                      <a:pt x="47" y="27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5" y="0"/>
                      <a:pt x="44" y="0"/>
                      <a:pt x="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8" name="Freeform 18"/>
              <p:cNvSpPr/>
              <p:nvPr/>
            </p:nvSpPr>
            <p:spPr bwMode="auto">
              <a:xfrm>
                <a:off x="9590087" y="-2693988"/>
                <a:ext cx="173038" cy="1012825"/>
              </a:xfrm>
              <a:custGeom>
                <a:avLst/>
                <a:gdLst>
                  <a:gd name="T0" fmla="*/ 2147483646 w 46"/>
                  <a:gd name="T1" fmla="*/ 2147483646 h 270"/>
                  <a:gd name="T2" fmla="*/ 2147483646 w 46"/>
                  <a:gd name="T3" fmla="*/ 2147483646 h 270"/>
                  <a:gd name="T4" fmla="*/ 2147483646 w 46"/>
                  <a:gd name="T5" fmla="*/ 2147483646 h 270"/>
                  <a:gd name="T6" fmla="*/ 2147483646 w 46"/>
                  <a:gd name="T7" fmla="*/ 2147483646 h 270"/>
                  <a:gd name="T8" fmla="*/ 2147483646 w 46"/>
                  <a:gd name="T9" fmla="*/ 2147483646 h 270"/>
                  <a:gd name="T10" fmla="*/ 2147483646 w 46"/>
                  <a:gd name="T11" fmla="*/ 2147483646 h 270"/>
                  <a:gd name="T12" fmla="*/ 2147483646 w 46"/>
                  <a:gd name="T13" fmla="*/ 2147483646 h 270"/>
                  <a:gd name="T14" fmla="*/ 2147483646 w 46"/>
                  <a:gd name="T15" fmla="*/ 2147483646 h 270"/>
                  <a:gd name="T16" fmla="*/ 2147483646 w 46"/>
                  <a:gd name="T17" fmla="*/ 2147483646 h 270"/>
                  <a:gd name="T18" fmla="*/ 2147483646 w 46"/>
                  <a:gd name="T19" fmla="*/ 2147483646 h 270"/>
                  <a:gd name="T20" fmla="*/ 2147483646 w 46"/>
                  <a:gd name="T21" fmla="*/ 2147483646 h 270"/>
                  <a:gd name="T22" fmla="*/ 2147483646 w 46"/>
                  <a:gd name="T23" fmla="*/ 2147483646 h 270"/>
                  <a:gd name="T24" fmla="*/ 2147483646 w 46"/>
                  <a:gd name="T25" fmla="*/ 2147483646 h 270"/>
                  <a:gd name="T26" fmla="*/ 2147483646 w 46"/>
                  <a:gd name="T27" fmla="*/ 2147483646 h 270"/>
                  <a:gd name="T28" fmla="*/ 2147483646 w 46"/>
                  <a:gd name="T29" fmla="*/ 2147483646 h 270"/>
                  <a:gd name="T30" fmla="*/ 2147483646 w 46"/>
                  <a:gd name="T31" fmla="*/ 2147483646 h 270"/>
                  <a:gd name="T32" fmla="*/ 0 w 46"/>
                  <a:gd name="T33" fmla="*/ 0 h 270"/>
                  <a:gd name="T34" fmla="*/ 0 w 46"/>
                  <a:gd name="T35" fmla="*/ 2147483646 h 270"/>
                  <a:gd name="T36" fmla="*/ 2147483646 w 46"/>
                  <a:gd name="T37" fmla="*/ 2147483646 h 27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6" h="270">
                    <a:moveTo>
                      <a:pt x="18" y="261"/>
                    </a:moveTo>
                    <a:cubicBezTo>
                      <a:pt x="25" y="234"/>
                      <a:pt x="31" y="208"/>
                      <a:pt x="38" y="181"/>
                    </a:cubicBezTo>
                    <a:cubicBezTo>
                      <a:pt x="42" y="159"/>
                      <a:pt x="45" y="137"/>
                      <a:pt x="46" y="115"/>
                    </a:cubicBezTo>
                    <a:cubicBezTo>
                      <a:pt x="46" y="109"/>
                      <a:pt x="46" y="102"/>
                      <a:pt x="46" y="96"/>
                    </a:cubicBezTo>
                    <a:cubicBezTo>
                      <a:pt x="46" y="83"/>
                      <a:pt x="46" y="70"/>
                      <a:pt x="46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5" y="55"/>
                      <a:pt x="45" y="54"/>
                      <a:pt x="45" y="52"/>
                    </a:cubicBezTo>
                    <a:cubicBezTo>
                      <a:pt x="45" y="52"/>
                      <a:pt x="45" y="52"/>
                      <a:pt x="45" y="52"/>
                    </a:cubicBezTo>
                    <a:cubicBezTo>
                      <a:pt x="45" y="50"/>
                      <a:pt x="45" y="49"/>
                      <a:pt x="45" y="47"/>
                    </a:cubicBezTo>
                    <a:cubicBezTo>
                      <a:pt x="44" y="45"/>
                      <a:pt x="44" y="43"/>
                      <a:pt x="44" y="42"/>
                    </a:cubicBezTo>
                    <a:cubicBezTo>
                      <a:pt x="43" y="37"/>
                      <a:pt x="42" y="33"/>
                      <a:pt x="41" y="29"/>
                    </a:cubicBezTo>
                    <a:cubicBezTo>
                      <a:pt x="40" y="28"/>
                      <a:pt x="40" y="26"/>
                      <a:pt x="39" y="25"/>
                    </a:cubicBezTo>
                    <a:cubicBezTo>
                      <a:pt x="39" y="24"/>
                      <a:pt x="39" y="23"/>
                      <a:pt x="38" y="23"/>
                    </a:cubicBezTo>
                    <a:cubicBezTo>
                      <a:pt x="38" y="22"/>
                      <a:pt x="37" y="21"/>
                      <a:pt x="37" y="20"/>
                    </a:cubicBezTo>
                    <a:cubicBezTo>
                      <a:pt x="36" y="19"/>
                      <a:pt x="36" y="18"/>
                      <a:pt x="35" y="17"/>
                    </a:cubicBezTo>
                    <a:cubicBezTo>
                      <a:pt x="33" y="14"/>
                      <a:pt x="30" y="11"/>
                      <a:pt x="28" y="9"/>
                    </a:cubicBezTo>
                    <a:cubicBezTo>
                      <a:pt x="20" y="3"/>
                      <a:pt x="10" y="0"/>
                      <a:pt x="0" y="0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11" y="270"/>
                      <a:pt x="17" y="267"/>
                      <a:pt x="18" y="2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9" name="Freeform 19"/>
              <p:cNvSpPr/>
              <p:nvPr/>
            </p:nvSpPr>
            <p:spPr bwMode="auto">
              <a:xfrm>
                <a:off x="9590087" y="-1595438"/>
                <a:ext cx="173038" cy="357188"/>
              </a:xfrm>
              <a:custGeom>
                <a:avLst/>
                <a:gdLst>
                  <a:gd name="T0" fmla="*/ 0 w 46"/>
                  <a:gd name="T1" fmla="*/ 2147483646 h 95"/>
                  <a:gd name="T2" fmla="*/ 2147483646 w 46"/>
                  <a:gd name="T3" fmla="*/ 2147483646 h 95"/>
                  <a:gd name="T4" fmla="*/ 2147483646 w 46"/>
                  <a:gd name="T5" fmla="*/ 2147483646 h 95"/>
                  <a:gd name="T6" fmla="*/ 2147483646 w 46"/>
                  <a:gd name="T7" fmla="*/ 2147483646 h 95"/>
                  <a:gd name="T8" fmla="*/ 2147483646 w 46"/>
                  <a:gd name="T9" fmla="*/ 2147483646 h 95"/>
                  <a:gd name="T10" fmla="*/ 2147483646 w 46"/>
                  <a:gd name="T11" fmla="*/ 2147483646 h 95"/>
                  <a:gd name="T12" fmla="*/ 2147483646 w 46"/>
                  <a:gd name="T13" fmla="*/ 2147483646 h 95"/>
                  <a:gd name="T14" fmla="*/ 2147483646 w 46"/>
                  <a:gd name="T15" fmla="*/ 2147483646 h 95"/>
                  <a:gd name="T16" fmla="*/ 2147483646 w 46"/>
                  <a:gd name="T17" fmla="*/ 2147483646 h 95"/>
                  <a:gd name="T18" fmla="*/ 2147483646 w 46"/>
                  <a:gd name="T19" fmla="*/ 2147483646 h 95"/>
                  <a:gd name="T20" fmla="*/ 2147483646 w 46"/>
                  <a:gd name="T21" fmla="*/ 2147483646 h 95"/>
                  <a:gd name="T22" fmla="*/ 2147483646 w 46"/>
                  <a:gd name="T23" fmla="*/ 2147483646 h 95"/>
                  <a:gd name="T24" fmla="*/ 2147483646 w 46"/>
                  <a:gd name="T25" fmla="*/ 2147483646 h 95"/>
                  <a:gd name="T26" fmla="*/ 2147483646 w 46"/>
                  <a:gd name="T27" fmla="*/ 2147483646 h 95"/>
                  <a:gd name="T28" fmla="*/ 2147483646 w 46"/>
                  <a:gd name="T29" fmla="*/ 2147483646 h 95"/>
                  <a:gd name="T30" fmla="*/ 2147483646 w 46"/>
                  <a:gd name="T31" fmla="*/ 2147483646 h 95"/>
                  <a:gd name="T32" fmla="*/ 2147483646 w 46"/>
                  <a:gd name="T33" fmla="*/ 2147483646 h 95"/>
                  <a:gd name="T34" fmla="*/ 2147483646 w 46"/>
                  <a:gd name="T35" fmla="*/ 2147483646 h 95"/>
                  <a:gd name="T36" fmla="*/ 2147483646 w 46"/>
                  <a:gd name="T37" fmla="*/ 2147483646 h 95"/>
                  <a:gd name="T38" fmla="*/ 2147483646 w 46"/>
                  <a:gd name="T39" fmla="*/ 2147483646 h 95"/>
                  <a:gd name="T40" fmla="*/ 0 w 46"/>
                  <a:gd name="T41" fmla="*/ 0 h 95"/>
                  <a:gd name="T42" fmla="*/ 0 w 46"/>
                  <a:gd name="T43" fmla="*/ 0 h 95"/>
                  <a:gd name="T44" fmla="*/ 0 w 46"/>
                  <a:gd name="T45" fmla="*/ 2147483646 h 9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" h="95">
                    <a:moveTo>
                      <a:pt x="0" y="95"/>
                    </a:moveTo>
                    <a:cubicBezTo>
                      <a:pt x="13" y="95"/>
                      <a:pt x="23" y="91"/>
                      <a:pt x="31" y="83"/>
                    </a:cubicBezTo>
                    <a:cubicBezTo>
                      <a:pt x="32" y="83"/>
                      <a:pt x="33" y="82"/>
                      <a:pt x="33" y="82"/>
                    </a:cubicBezTo>
                    <a:cubicBezTo>
                      <a:pt x="34" y="81"/>
                      <a:pt x="34" y="81"/>
                      <a:pt x="35" y="80"/>
                    </a:cubicBezTo>
                    <a:cubicBezTo>
                      <a:pt x="35" y="79"/>
                      <a:pt x="36" y="79"/>
                      <a:pt x="36" y="78"/>
                    </a:cubicBezTo>
                    <a:cubicBezTo>
                      <a:pt x="37" y="78"/>
                      <a:pt x="37" y="77"/>
                      <a:pt x="37" y="76"/>
                    </a:cubicBezTo>
                    <a:cubicBezTo>
                      <a:pt x="39" y="75"/>
                      <a:pt x="40" y="73"/>
                      <a:pt x="41" y="71"/>
                    </a:cubicBezTo>
                    <a:cubicBezTo>
                      <a:pt x="44" y="64"/>
                      <a:pt x="46" y="56"/>
                      <a:pt x="46" y="47"/>
                    </a:cubicBezTo>
                    <a:cubicBezTo>
                      <a:pt x="46" y="41"/>
                      <a:pt x="45" y="34"/>
                      <a:pt x="43" y="29"/>
                    </a:cubicBezTo>
                    <a:cubicBezTo>
                      <a:pt x="42" y="27"/>
                      <a:pt x="42" y="26"/>
                      <a:pt x="41" y="24"/>
                    </a:cubicBezTo>
                    <a:cubicBezTo>
                      <a:pt x="41" y="24"/>
                      <a:pt x="40" y="23"/>
                      <a:pt x="40" y="23"/>
                    </a:cubicBezTo>
                    <a:cubicBezTo>
                      <a:pt x="39" y="21"/>
                      <a:pt x="38" y="20"/>
                      <a:pt x="37" y="19"/>
                    </a:cubicBezTo>
                    <a:cubicBezTo>
                      <a:pt x="36" y="17"/>
                      <a:pt x="35" y="15"/>
                      <a:pt x="33" y="13"/>
                    </a:cubicBezTo>
                    <a:cubicBezTo>
                      <a:pt x="32" y="13"/>
                      <a:pt x="32" y="12"/>
                      <a:pt x="31" y="12"/>
                    </a:cubicBezTo>
                    <a:cubicBezTo>
                      <a:pt x="31" y="11"/>
                      <a:pt x="30" y="11"/>
                      <a:pt x="30" y="11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9" y="10"/>
                      <a:pt x="28" y="9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6" y="7"/>
                      <a:pt x="25" y="7"/>
                      <a:pt x="24" y="7"/>
                    </a:cubicBezTo>
                    <a:cubicBezTo>
                      <a:pt x="17" y="2"/>
                      <a:pt x="9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5"/>
                      <a:pt x="0" y="95"/>
                      <a:pt x="0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90" name="Freeform 20"/>
              <p:cNvSpPr/>
              <p:nvPr/>
            </p:nvSpPr>
            <p:spPr bwMode="auto">
              <a:xfrm>
                <a:off x="9413875" y="-1595438"/>
                <a:ext cx="176213" cy="357188"/>
              </a:xfrm>
              <a:custGeom>
                <a:avLst/>
                <a:gdLst>
                  <a:gd name="T0" fmla="*/ 0 w 47"/>
                  <a:gd name="T1" fmla="*/ 2147483646 h 95"/>
                  <a:gd name="T2" fmla="*/ 2147483646 w 47"/>
                  <a:gd name="T3" fmla="*/ 2147483646 h 95"/>
                  <a:gd name="T4" fmla="*/ 2147483646 w 47"/>
                  <a:gd name="T5" fmla="*/ 2147483646 h 95"/>
                  <a:gd name="T6" fmla="*/ 2147483646 w 47"/>
                  <a:gd name="T7" fmla="*/ 2147483646 h 95"/>
                  <a:gd name="T8" fmla="*/ 2147483646 w 47"/>
                  <a:gd name="T9" fmla="*/ 2147483646 h 95"/>
                  <a:gd name="T10" fmla="*/ 2147483646 w 47"/>
                  <a:gd name="T11" fmla="*/ 2147483646 h 95"/>
                  <a:gd name="T12" fmla="*/ 2147483646 w 47"/>
                  <a:gd name="T13" fmla="*/ 2147483646 h 95"/>
                  <a:gd name="T14" fmla="*/ 2147483646 w 47"/>
                  <a:gd name="T15" fmla="*/ 2147483646 h 95"/>
                  <a:gd name="T16" fmla="*/ 2147483646 w 47"/>
                  <a:gd name="T17" fmla="*/ 2147483646 h 95"/>
                  <a:gd name="T18" fmla="*/ 2147483646 w 47"/>
                  <a:gd name="T19" fmla="*/ 2147483646 h 95"/>
                  <a:gd name="T20" fmla="*/ 2147483646 w 47"/>
                  <a:gd name="T21" fmla="*/ 2147483646 h 95"/>
                  <a:gd name="T22" fmla="*/ 2147483646 w 47"/>
                  <a:gd name="T23" fmla="*/ 2147483646 h 95"/>
                  <a:gd name="T24" fmla="*/ 2147483646 w 47"/>
                  <a:gd name="T25" fmla="*/ 2147483646 h 95"/>
                  <a:gd name="T26" fmla="*/ 2147483646 w 47"/>
                  <a:gd name="T27" fmla="*/ 0 h 95"/>
                  <a:gd name="T28" fmla="*/ 2147483646 w 47"/>
                  <a:gd name="T29" fmla="*/ 2147483646 h 95"/>
                  <a:gd name="T30" fmla="*/ 0 w 47"/>
                  <a:gd name="T31" fmla="*/ 2147483646 h 9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7" h="95">
                    <a:moveTo>
                      <a:pt x="0" y="47"/>
                    </a:moveTo>
                    <a:cubicBezTo>
                      <a:pt x="0" y="61"/>
                      <a:pt x="5" y="73"/>
                      <a:pt x="13" y="82"/>
                    </a:cubicBezTo>
                    <a:cubicBezTo>
                      <a:pt x="17" y="86"/>
                      <a:pt x="22" y="89"/>
                      <a:pt x="27" y="92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28" y="92"/>
                      <a:pt x="29" y="92"/>
                      <a:pt x="29" y="93"/>
                    </a:cubicBezTo>
                    <a:cubicBezTo>
                      <a:pt x="30" y="93"/>
                      <a:pt x="30" y="93"/>
                      <a:pt x="31" y="93"/>
                    </a:cubicBezTo>
                    <a:cubicBezTo>
                      <a:pt x="32" y="93"/>
                      <a:pt x="32" y="93"/>
                      <a:pt x="32" y="93"/>
                    </a:cubicBezTo>
                    <a:cubicBezTo>
                      <a:pt x="32" y="94"/>
                      <a:pt x="33" y="94"/>
                      <a:pt x="33" y="94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4" y="94"/>
                      <a:pt x="35" y="94"/>
                      <a:pt x="35" y="94"/>
                    </a:cubicBezTo>
                    <a:cubicBezTo>
                      <a:pt x="37" y="95"/>
                      <a:pt x="38" y="95"/>
                      <a:pt x="39" y="95"/>
                    </a:cubicBezTo>
                    <a:cubicBezTo>
                      <a:pt x="40" y="95"/>
                      <a:pt x="40" y="95"/>
                      <a:pt x="41" y="95"/>
                    </a:cubicBezTo>
                    <a:cubicBezTo>
                      <a:pt x="43" y="95"/>
                      <a:pt x="45" y="95"/>
                      <a:pt x="47" y="95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3" y="0"/>
                      <a:pt x="22" y="5"/>
                      <a:pt x="13" y="13"/>
                    </a:cubicBezTo>
                    <a:cubicBezTo>
                      <a:pt x="5" y="22"/>
                      <a:pt x="0" y="34"/>
                      <a:pt x="0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5" name="组合 24"/>
          <p:cNvGrpSpPr/>
          <p:nvPr/>
        </p:nvGrpSpPr>
        <p:grpSpPr bwMode="auto">
          <a:xfrm>
            <a:off x="755650" y="3067050"/>
            <a:ext cx="3255963" cy="884238"/>
            <a:chOff x="756171" y="3066412"/>
            <a:chExt cx="3254914" cy="885194"/>
          </a:xfrm>
        </p:grpSpPr>
        <p:sp>
          <p:nvSpPr>
            <p:cNvPr id="44" name="Rectangle 32"/>
            <p:cNvSpPr/>
            <p:nvPr/>
          </p:nvSpPr>
          <p:spPr bwMode="auto">
            <a:xfrm>
              <a:off x="756171" y="3066412"/>
              <a:ext cx="3254914" cy="885194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72" name="矩形 114"/>
            <p:cNvSpPr>
              <a:spLocks noChangeArrowheads="1"/>
            </p:cNvSpPr>
            <p:nvPr/>
          </p:nvSpPr>
          <p:spPr bwMode="auto">
            <a:xfrm>
              <a:off x="1676574" y="3252336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573" name="组合 115"/>
            <p:cNvGrpSpPr/>
            <p:nvPr/>
          </p:nvGrpSpPr>
          <p:grpSpPr bwMode="auto">
            <a:xfrm>
              <a:off x="1002715" y="3303643"/>
              <a:ext cx="420074" cy="419923"/>
              <a:chOff x="6253162" y="-3030538"/>
              <a:chExt cx="2123251" cy="2122488"/>
            </a:xfrm>
          </p:grpSpPr>
          <p:sp>
            <p:nvSpPr>
              <p:cNvPr id="117" name="Freeform 21"/>
              <p:cNvSpPr/>
              <p:nvPr/>
            </p:nvSpPr>
            <p:spPr bwMode="auto">
              <a:xfrm>
                <a:off x="6250332" y="-3032749"/>
                <a:ext cx="2125666" cy="2128651"/>
              </a:xfrm>
              <a:custGeom>
                <a:avLst/>
                <a:gdLst>
                  <a:gd name="T0" fmla="*/ 566 w 566"/>
                  <a:gd name="T1" fmla="*/ 283 h 566"/>
                  <a:gd name="T2" fmla="*/ 389 w 566"/>
                  <a:gd name="T3" fmla="*/ 545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4 w 566"/>
                  <a:gd name="T11" fmla="*/ 24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2"/>
                      <a:pt x="493" y="504"/>
                      <a:pt x="389" y="545"/>
                    </a:cubicBezTo>
                    <a:cubicBezTo>
                      <a:pt x="356" y="559"/>
                      <a:pt x="321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26" y="0"/>
                      <a:pt x="545" y="106"/>
                      <a:pt x="564" y="244"/>
                    </a:cubicBezTo>
                    <a:cubicBezTo>
                      <a:pt x="565" y="257"/>
                      <a:pt x="566" y="270"/>
                      <a:pt x="566" y="283"/>
                    </a:cubicBezTo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75" name="Freeform 22"/>
              <p:cNvSpPr/>
              <p:nvPr/>
            </p:nvSpPr>
            <p:spPr bwMode="auto">
              <a:xfrm>
                <a:off x="7209599" y="-2551111"/>
                <a:ext cx="1166814" cy="1563686"/>
              </a:xfrm>
              <a:custGeom>
                <a:avLst/>
                <a:gdLst>
                  <a:gd name="T0" fmla="*/ 2147483646 w 311"/>
                  <a:gd name="T1" fmla="*/ 0 h 417"/>
                  <a:gd name="T2" fmla="*/ 2147483646 w 311"/>
                  <a:gd name="T3" fmla="*/ 2147483646 h 417"/>
                  <a:gd name="T4" fmla="*/ 2147483646 w 311"/>
                  <a:gd name="T5" fmla="*/ 2147483646 h 417"/>
                  <a:gd name="T6" fmla="*/ 2147483646 w 311"/>
                  <a:gd name="T7" fmla="*/ 2147483646 h 417"/>
                  <a:gd name="T8" fmla="*/ 2147483646 w 311"/>
                  <a:gd name="T9" fmla="*/ 2147483646 h 417"/>
                  <a:gd name="T10" fmla="*/ 2147483646 w 311"/>
                  <a:gd name="T11" fmla="*/ 2147483646 h 417"/>
                  <a:gd name="T12" fmla="*/ 2147483646 w 311"/>
                  <a:gd name="T13" fmla="*/ 2147483646 h 417"/>
                  <a:gd name="T14" fmla="*/ 2147483646 w 311"/>
                  <a:gd name="T15" fmla="*/ 2147483646 h 417"/>
                  <a:gd name="T16" fmla="*/ 2147483646 w 311"/>
                  <a:gd name="T17" fmla="*/ 2147483646 h 417"/>
                  <a:gd name="T18" fmla="*/ 0 w 311"/>
                  <a:gd name="T19" fmla="*/ 2147483646 h 417"/>
                  <a:gd name="T20" fmla="*/ 2147483646 w 311"/>
                  <a:gd name="T21" fmla="*/ 2147483646 h 417"/>
                  <a:gd name="T22" fmla="*/ 2147483646 w 311"/>
                  <a:gd name="T23" fmla="*/ 2147483646 h 417"/>
                  <a:gd name="T24" fmla="*/ 2147483646 w 311"/>
                  <a:gd name="T25" fmla="*/ 2147483646 h 417"/>
                  <a:gd name="T26" fmla="*/ 2147483646 w 311"/>
                  <a:gd name="T27" fmla="*/ 2147483646 h 417"/>
                  <a:gd name="T28" fmla="*/ 2147483646 w 311"/>
                  <a:gd name="T29" fmla="*/ 2147483646 h 417"/>
                  <a:gd name="T30" fmla="*/ 2147483646 w 311"/>
                  <a:gd name="T31" fmla="*/ 2147483646 h 417"/>
                  <a:gd name="T32" fmla="*/ 2147483646 w 311"/>
                  <a:gd name="T33" fmla="*/ 2147483646 h 417"/>
                  <a:gd name="T34" fmla="*/ 2147483646 w 311"/>
                  <a:gd name="T35" fmla="*/ 2147483646 h 417"/>
                  <a:gd name="T36" fmla="*/ 2147483646 w 311"/>
                  <a:gd name="T37" fmla="*/ 2147483646 h 417"/>
                  <a:gd name="T38" fmla="*/ 2147483646 w 311"/>
                  <a:gd name="T39" fmla="*/ 2147483646 h 417"/>
                  <a:gd name="T40" fmla="*/ 2147483646 w 311"/>
                  <a:gd name="T41" fmla="*/ 2147483646 h 417"/>
                  <a:gd name="T42" fmla="*/ 2147483646 w 311"/>
                  <a:gd name="T43" fmla="*/ 0 h 4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11" h="417">
                    <a:moveTo>
                      <a:pt x="103" y="0"/>
                    </a:moveTo>
                    <a:cubicBezTo>
                      <a:pt x="108" y="3"/>
                      <a:pt x="112" y="6"/>
                      <a:pt x="116" y="9"/>
                    </a:cubicBezTo>
                    <a:cubicBezTo>
                      <a:pt x="138" y="27"/>
                      <a:pt x="148" y="52"/>
                      <a:pt x="148" y="83"/>
                    </a:cubicBezTo>
                    <a:cubicBezTo>
                      <a:pt x="148" y="125"/>
                      <a:pt x="131" y="157"/>
                      <a:pt x="97" y="176"/>
                    </a:cubicBezTo>
                    <a:cubicBezTo>
                      <a:pt x="71" y="191"/>
                      <a:pt x="57" y="206"/>
                      <a:pt x="55" y="221"/>
                    </a:cubicBezTo>
                    <a:cubicBezTo>
                      <a:pt x="54" y="225"/>
                      <a:pt x="54" y="229"/>
                      <a:pt x="53" y="233"/>
                    </a:cubicBezTo>
                    <a:cubicBezTo>
                      <a:pt x="52" y="237"/>
                      <a:pt x="49" y="238"/>
                      <a:pt x="44" y="238"/>
                    </a:cubicBezTo>
                    <a:cubicBezTo>
                      <a:pt x="27" y="238"/>
                      <a:pt x="14" y="239"/>
                      <a:pt x="7" y="241"/>
                    </a:cubicBezTo>
                    <a:cubicBezTo>
                      <a:pt x="5" y="242"/>
                      <a:pt x="4" y="242"/>
                      <a:pt x="3" y="242"/>
                    </a:cubicBezTo>
                    <a:cubicBezTo>
                      <a:pt x="2" y="242"/>
                      <a:pt x="1" y="242"/>
                      <a:pt x="0" y="241"/>
                    </a:cubicBezTo>
                    <a:cubicBezTo>
                      <a:pt x="23" y="257"/>
                      <a:pt x="23" y="257"/>
                      <a:pt x="23" y="257"/>
                    </a:cubicBezTo>
                    <a:cubicBezTo>
                      <a:pt x="25" y="256"/>
                      <a:pt x="28" y="256"/>
                      <a:pt x="31" y="256"/>
                    </a:cubicBezTo>
                    <a:cubicBezTo>
                      <a:pt x="45" y="256"/>
                      <a:pt x="56" y="261"/>
                      <a:pt x="65" y="270"/>
                    </a:cubicBezTo>
                    <a:cubicBezTo>
                      <a:pt x="74" y="279"/>
                      <a:pt x="79" y="290"/>
                      <a:pt x="79" y="304"/>
                    </a:cubicBezTo>
                    <a:cubicBezTo>
                      <a:pt x="79" y="317"/>
                      <a:pt x="74" y="328"/>
                      <a:pt x="65" y="338"/>
                    </a:cubicBezTo>
                    <a:cubicBezTo>
                      <a:pt x="56" y="347"/>
                      <a:pt x="45" y="352"/>
                      <a:pt x="31" y="352"/>
                    </a:cubicBezTo>
                    <a:cubicBezTo>
                      <a:pt x="24" y="352"/>
                      <a:pt x="17" y="351"/>
                      <a:pt x="11" y="348"/>
                    </a:cubicBezTo>
                    <a:cubicBezTo>
                      <a:pt x="134" y="417"/>
                      <a:pt x="134" y="417"/>
                      <a:pt x="134" y="417"/>
                    </a:cubicBezTo>
                    <a:cubicBezTo>
                      <a:pt x="238" y="376"/>
                      <a:pt x="311" y="274"/>
                      <a:pt x="311" y="155"/>
                    </a:cubicBezTo>
                    <a:cubicBezTo>
                      <a:pt x="311" y="142"/>
                      <a:pt x="310" y="129"/>
                      <a:pt x="309" y="116"/>
                    </a:cubicBezTo>
                    <a:cubicBezTo>
                      <a:pt x="309" y="116"/>
                      <a:pt x="309" y="116"/>
                      <a:pt x="309" y="116"/>
                    </a:cubicBezTo>
                    <a:cubicBezTo>
                      <a:pt x="103" y="0"/>
                      <a:pt x="103" y="0"/>
                      <a:pt x="103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6" name="Freeform 23"/>
              <p:cNvSpPr/>
              <p:nvPr/>
            </p:nvSpPr>
            <p:spPr bwMode="auto">
              <a:xfrm>
                <a:off x="7326312" y="-2614613"/>
                <a:ext cx="438150" cy="958850"/>
              </a:xfrm>
              <a:custGeom>
                <a:avLst/>
                <a:gdLst>
                  <a:gd name="T0" fmla="*/ 2147483646 w 117"/>
                  <a:gd name="T1" fmla="*/ 2147483646 h 256"/>
                  <a:gd name="T2" fmla="*/ 2147483646 w 117"/>
                  <a:gd name="T3" fmla="*/ 0 h 256"/>
                  <a:gd name="T4" fmla="*/ 0 w 117"/>
                  <a:gd name="T5" fmla="*/ 0 h 256"/>
                  <a:gd name="T6" fmla="*/ 0 w 117"/>
                  <a:gd name="T7" fmla="*/ 2147483646 h 256"/>
                  <a:gd name="T8" fmla="*/ 2147483646 w 117"/>
                  <a:gd name="T9" fmla="*/ 2147483646 h 256"/>
                  <a:gd name="T10" fmla="*/ 0 w 117"/>
                  <a:gd name="T11" fmla="*/ 2147483646 h 256"/>
                  <a:gd name="T12" fmla="*/ 0 w 117"/>
                  <a:gd name="T13" fmla="*/ 2147483646 h 256"/>
                  <a:gd name="T14" fmla="*/ 2147483646 w 117"/>
                  <a:gd name="T15" fmla="*/ 2147483646 h 256"/>
                  <a:gd name="T16" fmla="*/ 2147483646 w 117"/>
                  <a:gd name="T17" fmla="*/ 2147483646 h 256"/>
                  <a:gd name="T18" fmla="*/ 2147483646 w 117"/>
                  <a:gd name="T19" fmla="*/ 2147483646 h 256"/>
                  <a:gd name="T20" fmla="*/ 2147483646 w 117"/>
                  <a:gd name="T21" fmla="*/ 2147483646 h 256"/>
                  <a:gd name="T22" fmla="*/ 2147483646 w 117"/>
                  <a:gd name="T23" fmla="*/ 2147483646 h 256"/>
                  <a:gd name="T24" fmla="*/ 2147483646 w 117"/>
                  <a:gd name="T25" fmla="*/ 2147483646 h 25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7" h="256">
                    <a:moveTo>
                      <a:pt x="85" y="26"/>
                    </a:moveTo>
                    <a:cubicBezTo>
                      <a:pt x="65" y="9"/>
                      <a:pt x="39" y="0"/>
                      <a:pt x="8" y="0"/>
                    </a:cubicBezTo>
                    <a:cubicBezTo>
                      <a:pt x="5" y="0"/>
                      <a:pt x="3" y="0"/>
                      <a:pt x="0" y="0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9" y="103"/>
                      <a:pt x="14" y="112"/>
                      <a:pt x="14" y="126"/>
                    </a:cubicBezTo>
                    <a:cubicBezTo>
                      <a:pt x="14" y="136"/>
                      <a:pt x="9" y="149"/>
                      <a:pt x="0" y="163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4" y="255"/>
                      <a:pt x="8" y="255"/>
                      <a:pt x="13" y="255"/>
                    </a:cubicBezTo>
                    <a:cubicBezTo>
                      <a:pt x="18" y="255"/>
                      <a:pt x="21" y="254"/>
                      <a:pt x="22" y="250"/>
                    </a:cubicBezTo>
                    <a:cubicBezTo>
                      <a:pt x="23" y="246"/>
                      <a:pt x="23" y="242"/>
                      <a:pt x="24" y="238"/>
                    </a:cubicBezTo>
                    <a:cubicBezTo>
                      <a:pt x="26" y="223"/>
                      <a:pt x="40" y="208"/>
                      <a:pt x="66" y="193"/>
                    </a:cubicBezTo>
                    <a:cubicBezTo>
                      <a:pt x="100" y="174"/>
                      <a:pt x="117" y="142"/>
                      <a:pt x="117" y="100"/>
                    </a:cubicBezTo>
                    <a:cubicBezTo>
                      <a:pt x="117" y="69"/>
                      <a:pt x="107" y="44"/>
                      <a:pt x="8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7" name="Freeform 24"/>
              <p:cNvSpPr/>
              <p:nvPr/>
            </p:nvSpPr>
            <p:spPr bwMode="auto">
              <a:xfrm>
                <a:off x="7186612" y="-2003425"/>
                <a:ext cx="139700" cy="360363"/>
              </a:xfrm>
              <a:custGeom>
                <a:avLst/>
                <a:gdLst>
                  <a:gd name="T0" fmla="*/ 2147483646 w 37"/>
                  <a:gd name="T1" fmla="*/ 2147483646 h 96"/>
                  <a:gd name="T2" fmla="*/ 0 w 37"/>
                  <a:gd name="T3" fmla="*/ 2147483646 h 96"/>
                  <a:gd name="T4" fmla="*/ 2147483646 w 37"/>
                  <a:gd name="T5" fmla="*/ 2147483646 h 96"/>
                  <a:gd name="T6" fmla="*/ 2147483646 w 37"/>
                  <a:gd name="T7" fmla="*/ 2147483646 h 96"/>
                  <a:gd name="T8" fmla="*/ 2147483646 w 37"/>
                  <a:gd name="T9" fmla="*/ 2147483646 h 96"/>
                  <a:gd name="T10" fmla="*/ 2147483646 w 37"/>
                  <a:gd name="T11" fmla="*/ 0 h 96"/>
                  <a:gd name="T12" fmla="*/ 2147483646 w 37"/>
                  <a:gd name="T13" fmla="*/ 2147483646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96">
                    <a:moveTo>
                      <a:pt x="25" y="17"/>
                    </a:moveTo>
                    <a:cubicBezTo>
                      <a:pt x="8" y="38"/>
                      <a:pt x="0" y="56"/>
                      <a:pt x="0" y="71"/>
                    </a:cubicBezTo>
                    <a:cubicBezTo>
                      <a:pt x="0" y="88"/>
                      <a:pt x="3" y="96"/>
                      <a:pt x="9" y="96"/>
                    </a:cubicBezTo>
                    <a:cubicBezTo>
                      <a:pt x="10" y="96"/>
                      <a:pt x="11" y="96"/>
                      <a:pt x="13" y="95"/>
                    </a:cubicBezTo>
                    <a:cubicBezTo>
                      <a:pt x="18" y="94"/>
                      <a:pt x="27" y="93"/>
                      <a:pt x="37" y="93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4" y="5"/>
                      <a:pt x="30" y="11"/>
                      <a:pt x="2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8" name="Freeform 25"/>
              <p:cNvSpPr/>
              <p:nvPr/>
            </p:nvSpPr>
            <p:spPr bwMode="auto">
              <a:xfrm>
                <a:off x="6853237" y="-2614613"/>
                <a:ext cx="473075" cy="482600"/>
              </a:xfrm>
              <a:custGeom>
                <a:avLst/>
                <a:gdLst>
                  <a:gd name="T0" fmla="*/ 2147483646 w 126"/>
                  <a:gd name="T1" fmla="*/ 2147483646 h 129"/>
                  <a:gd name="T2" fmla="*/ 2147483646 w 126"/>
                  <a:gd name="T3" fmla="*/ 2147483646 h 129"/>
                  <a:gd name="T4" fmla="*/ 2147483646 w 126"/>
                  <a:gd name="T5" fmla="*/ 2147483646 h 129"/>
                  <a:gd name="T6" fmla="*/ 2147483646 w 126"/>
                  <a:gd name="T7" fmla="*/ 2147483646 h 129"/>
                  <a:gd name="T8" fmla="*/ 2147483646 w 126"/>
                  <a:gd name="T9" fmla="*/ 2147483646 h 129"/>
                  <a:gd name="T10" fmla="*/ 2147483646 w 126"/>
                  <a:gd name="T11" fmla="*/ 0 h 129"/>
                  <a:gd name="T12" fmla="*/ 2147483646 w 126"/>
                  <a:gd name="T13" fmla="*/ 2147483646 h 1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29">
                    <a:moveTo>
                      <a:pt x="79" y="7"/>
                    </a:moveTo>
                    <a:cubicBezTo>
                      <a:pt x="53" y="13"/>
                      <a:pt x="0" y="43"/>
                      <a:pt x="6" y="86"/>
                    </a:cubicBezTo>
                    <a:cubicBezTo>
                      <a:pt x="12" y="129"/>
                      <a:pt x="38" y="115"/>
                      <a:pt x="46" y="110"/>
                    </a:cubicBezTo>
                    <a:cubicBezTo>
                      <a:pt x="69" y="96"/>
                      <a:pt x="89" y="93"/>
                      <a:pt x="104" y="93"/>
                    </a:cubicBezTo>
                    <a:cubicBezTo>
                      <a:pt x="113" y="93"/>
                      <a:pt x="121" y="94"/>
                      <a:pt x="126" y="98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1" y="1"/>
                      <a:pt x="95" y="3"/>
                      <a:pt x="7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9" name="Freeform 26"/>
              <p:cNvSpPr/>
              <p:nvPr/>
            </p:nvSpPr>
            <p:spPr bwMode="auto">
              <a:xfrm>
                <a:off x="7148512" y="-1590675"/>
                <a:ext cx="177800" cy="358775"/>
              </a:xfrm>
              <a:custGeom>
                <a:avLst/>
                <a:gdLst>
                  <a:gd name="T0" fmla="*/ 2147483646 w 47"/>
                  <a:gd name="T1" fmla="*/ 2147483646 h 96"/>
                  <a:gd name="T2" fmla="*/ 0 w 47"/>
                  <a:gd name="T3" fmla="*/ 2147483646 h 96"/>
                  <a:gd name="T4" fmla="*/ 2147483646 w 47"/>
                  <a:gd name="T5" fmla="*/ 2147483646 h 96"/>
                  <a:gd name="T6" fmla="*/ 2147483646 w 47"/>
                  <a:gd name="T7" fmla="*/ 2147483646 h 96"/>
                  <a:gd name="T8" fmla="*/ 2147483646 w 47"/>
                  <a:gd name="T9" fmla="*/ 2147483646 h 96"/>
                  <a:gd name="T10" fmla="*/ 2147483646 w 47"/>
                  <a:gd name="T11" fmla="*/ 0 h 96"/>
                  <a:gd name="T12" fmla="*/ 2147483646 w 47"/>
                  <a:gd name="T13" fmla="*/ 0 h 96"/>
                  <a:gd name="T14" fmla="*/ 2147483646 w 47"/>
                  <a:gd name="T15" fmla="*/ 2147483646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7" h="96">
                    <a:moveTo>
                      <a:pt x="14" y="14"/>
                    </a:moveTo>
                    <a:cubicBezTo>
                      <a:pt x="5" y="23"/>
                      <a:pt x="0" y="34"/>
                      <a:pt x="0" y="48"/>
                    </a:cubicBezTo>
                    <a:cubicBezTo>
                      <a:pt x="0" y="61"/>
                      <a:pt x="5" y="72"/>
                      <a:pt x="14" y="82"/>
                    </a:cubicBezTo>
                    <a:cubicBezTo>
                      <a:pt x="23" y="91"/>
                      <a:pt x="34" y="96"/>
                      <a:pt x="47" y="96"/>
                    </a:cubicBezTo>
                    <a:cubicBezTo>
                      <a:pt x="47" y="96"/>
                      <a:pt x="47" y="96"/>
                      <a:pt x="47" y="96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4" y="0"/>
                      <a:pt x="23" y="5"/>
                      <a:pt x="14" y="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0" name="Freeform 27"/>
              <p:cNvSpPr/>
              <p:nvPr/>
            </p:nvSpPr>
            <p:spPr bwMode="auto">
              <a:xfrm>
                <a:off x="7326312" y="-1590675"/>
                <a:ext cx="179388" cy="358775"/>
              </a:xfrm>
              <a:custGeom>
                <a:avLst/>
                <a:gdLst>
                  <a:gd name="T0" fmla="*/ 2147483646 w 48"/>
                  <a:gd name="T1" fmla="*/ 2147483646 h 96"/>
                  <a:gd name="T2" fmla="*/ 2147483646 w 48"/>
                  <a:gd name="T3" fmla="*/ 2147483646 h 96"/>
                  <a:gd name="T4" fmla="*/ 2147483646 w 48"/>
                  <a:gd name="T5" fmla="*/ 2147483646 h 96"/>
                  <a:gd name="T6" fmla="*/ 0 w 48"/>
                  <a:gd name="T7" fmla="*/ 0 h 96"/>
                  <a:gd name="T8" fmla="*/ 0 w 48"/>
                  <a:gd name="T9" fmla="*/ 2147483646 h 96"/>
                  <a:gd name="T10" fmla="*/ 2147483646 w 48"/>
                  <a:gd name="T11" fmla="*/ 2147483646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96">
                    <a:moveTo>
                      <a:pt x="34" y="82"/>
                    </a:moveTo>
                    <a:cubicBezTo>
                      <a:pt x="43" y="72"/>
                      <a:pt x="48" y="61"/>
                      <a:pt x="48" y="48"/>
                    </a:cubicBezTo>
                    <a:cubicBezTo>
                      <a:pt x="48" y="34"/>
                      <a:pt x="43" y="23"/>
                      <a:pt x="34" y="14"/>
                    </a:cubicBezTo>
                    <a:cubicBezTo>
                      <a:pt x="25" y="5"/>
                      <a:pt x="14" y="0"/>
                      <a:pt x="0" y="0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4" y="96"/>
                      <a:pt x="25" y="91"/>
                      <a:pt x="34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pic>
        <p:nvPicPr>
          <p:cNvPr id="34" name="Picture 23" descr="WCOM_09_Jeff_002.jpg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5113" y="1203325"/>
            <a:ext cx="1265237" cy="274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组合 1"/>
          <p:cNvGrpSpPr/>
          <p:nvPr/>
        </p:nvGrpSpPr>
        <p:grpSpPr bwMode="auto">
          <a:xfrm>
            <a:off x="755650" y="4014788"/>
            <a:ext cx="2593975" cy="431800"/>
            <a:chOff x="756171" y="4015274"/>
            <a:chExt cx="2593463" cy="432003"/>
          </a:xfrm>
        </p:grpSpPr>
        <p:sp>
          <p:nvSpPr>
            <p:cNvPr id="49" name="Rectangle 47"/>
            <p:cNvSpPr/>
            <p:nvPr/>
          </p:nvSpPr>
          <p:spPr bwMode="auto">
            <a:xfrm>
              <a:off x="756171" y="4015274"/>
              <a:ext cx="2593463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1332320" y="4047039"/>
              <a:ext cx="1107856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63" name="Freeform 51"/>
            <p:cNvSpPr>
              <a:spLocks noEditPoints="1"/>
            </p:cNvSpPr>
            <p:nvPr/>
          </p:nvSpPr>
          <p:spPr bwMode="auto">
            <a:xfrm rot="10800000" flipH="1" flipV="1">
              <a:off x="2447256" y="415981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2564" name="组合 22"/>
            <p:cNvGrpSpPr/>
            <p:nvPr/>
          </p:nvGrpSpPr>
          <p:grpSpPr bwMode="auto">
            <a:xfrm>
              <a:off x="2831755" y="4073310"/>
              <a:ext cx="316515" cy="315930"/>
              <a:chOff x="9471025" y="4283075"/>
              <a:chExt cx="2576513" cy="2571750"/>
            </a:xfrm>
          </p:grpSpPr>
          <p:sp>
            <p:nvSpPr>
              <p:cNvPr id="12" name="Freeform 12"/>
              <p:cNvSpPr/>
              <p:nvPr/>
            </p:nvSpPr>
            <p:spPr bwMode="auto">
              <a:xfrm>
                <a:off x="9474736" y="4289004"/>
                <a:ext cx="2571109" cy="2559884"/>
              </a:xfrm>
              <a:custGeom>
                <a:avLst/>
                <a:gdLst>
                  <a:gd name="T0" fmla="*/ 0 w 687"/>
                  <a:gd name="T1" fmla="*/ 624 h 686"/>
                  <a:gd name="T2" fmla="*/ 62 w 687"/>
                  <a:gd name="T3" fmla="*/ 686 h 686"/>
                  <a:gd name="T4" fmla="*/ 624 w 687"/>
                  <a:gd name="T5" fmla="*/ 686 h 686"/>
                  <a:gd name="T6" fmla="*/ 687 w 687"/>
                  <a:gd name="T7" fmla="*/ 624 h 686"/>
                  <a:gd name="T8" fmla="*/ 687 w 687"/>
                  <a:gd name="T9" fmla="*/ 62 h 686"/>
                  <a:gd name="T10" fmla="*/ 624 w 687"/>
                  <a:gd name="T11" fmla="*/ 0 h 686"/>
                  <a:gd name="T12" fmla="*/ 62 w 687"/>
                  <a:gd name="T13" fmla="*/ 0 h 686"/>
                  <a:gd name="T14" fmla="*/ 0 w 687"/>
                  <a:gd name="T15" fmla="*/ 62 h 686"/>
                  <a:gd name="T16" fmla="*/ 0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0" y="624"/>
                    </a:moveTo>
                    <a:cubicBezTo>
                      <a:pt x="0" y="659"/>
                      <a:pt x="28" y="686"/>
                      <a:pt x="62" y="686"/>
                    </a:cubicBezTo>
                    <a:cubicBezTo>
                      <a:pt x="624" y="686"/>
                      <a:pt x="624" y="686"/>
                      <a:pt x="624" y="686"/>
                    </a:cubicBezTo>
                    <a:cubicBezTo>
                      <a:pt x="659" y="686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66" name="Freeform 13"/>
              <p:cNvSpPr/>
              <p:nvPr/>
            </p:nvSpPr>
            <p:spPr bwMode="auto">
              <a:xfrm>
                <a:off x="9605963" y="4886325"/>
                <a:ext cx="2441575" cy="1968500"/>
              </a:xfrm>
              <a:custGeom>
                <a:avLst/>
                <a:gdLst>
                  <a:gd name="T0" fmla="*/ 2147483646 w 651"/>
                  <a:gd name="T1" fmla="*/ 2147483646 h 525"/>
                  <a:gd name="T2" fmla="*/ 2147483646 w 651"/>
                  <a:gd name="T3" fmla="*/ 2147483646 h 525"/>
                  <a:gd name="T4" fmla="*/ 2147483646 w 651"/>
                  <a:gd name="T5" fmla="*/ 0 h 525"/>
                  <a:gd name="T6" fmla="*/ 2147483646 w 651"/>
                  <a:gd name="T7" fmla="*/ 2147483646 h 525"/>
                  <a:gd name="T8" fmla="*/ 2147483646 w 651"/>
                  <a:gd name="T9" fmla="*/ 2147483646 h 525"/>
                  <a:gd name="T10" fmla="*/ 0 w 651"/>
                  <a:gd name="T11" fmla="*/ 2147483646 h 525"/>
                  <a:gd name="T12" fmla="*/ 2147483646 w 651"/>
                  <a:gd name="T13" fmla="*/ 2147483646 h 525"/>
                  <a:gd name="T14" fmla="*/ 2147483646 w 651"/>
                  <a:gd name="T15" fmla="*/ 2147483646 h 525"/>
                  <a:gd name="T16" fmla="*/ 2147483646 w 651"/>
                  <a:gd name="T17" fmla="*/ 2147483646 h 525"/>
                  <a:gd name="T18" fmla="*/ 2147483646 w 651"/>
                  <a:gd name="T19" fmla="*/ 2147483646 h 525"/>
                  <a:gd name="T20" fmla="*/ 2147483646 w 651"/>
                  <a:gd name="T21" fmla="*/ 2147483646 h 5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51" h="525">
                    <a:moveTo>
                      <a:pt x="608" y="222"/>
                    </a:moveTo>
                    <a:cubicBezTo>
                      <a:pt x="593" y="236"/>
                      <a:pt x="593" y="236"/>
                      <a:pt x="593" y="236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57" y="0"/>
                      <a:pt x="235" y="23"/>
                      <a:pt x="235" y="20"/>
                    </a:cubicBezTo>
                    <a:cubicBezTo>
                      <a:pt x="236" y="16"/>
                      <a:pt x="169" y="17"/>
                      <a:pt x="169" y="17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384" y="525"/>
                      <a:pt x="384" y="525"/>
                      <a:pt x="384" y="525"/>
                    </a:cubicBezTo>
                    <a:cubicBezTo>
                      <a:pt x="588" y="525"/>
                      <a:pt x="588" y="525"/>
                      <a:pt x="588" y="525"/>
                    </a:cubicBezTo>
                    <a:cubicBezTo>
                      <a:pt x="623" y="525"/>
                      <a:pt x="651" y="498"/>
                      <a:pt x="651" y="463"/>
                    </a:cubicBezTo>
                    <a:cubicBezTo>
                      <a:pt x="651" y="264"/>
                      <a:pt x="651" y="264"/>
                      <a:pt x="651" y="264"/>
                    </a:cubicBezTo>
                    <a:lnTo>
                      <a:pt x="608" y="222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67" name="Freeform 14"/>
              <p:cNvSpPr/>
              <p:nvPr/>
            </p:nvSpPr>
            <p:spPr bwMode="auto">
              <a:xfrm>
                <a:off x="10382250" y="5284787"/>
                <a:ext cx="641350" cy="685800"/>
              </a:xfrm>
              <a:custGeom>
                <a:avLst/>
                <a:gdLst>
                  <a:gd name="T0" fmla="*/ 2147483646 w 171"/>
                  <a:gd name="T1" fmla="*/ 2147483646 h 183"/>
                  <a:gd name="T2" fmla="*/ 2147483646 w 171"/>
                  <a:gd name="T3" fmla="*/ 2147483646 h 183"/>
                  <a:gd name="T4" fmla="*/ 2147483646 w 171"/>
                  <a:gd name="T5" fmla="*/ 2147483646 h 183"/>
                  <a:gd name="T6" fmla="*/ 2147483646 w 171"/>
                  <a:gd name="T7" fmla="*/ 2147483646 h 183"/>
                  <a:gd name="T8" fmla="*/ 2147483646 w 171"/>
                  <a:gd name="T9" fmla="*/ 2147483646 h 183"/>
                  <a:gd name="T10" fmla="*/ 2147483646 w 171"/>
                  <a:gd name="T11" fmla="*/ 2147483646 h 183"/>
                  <a:gd name="T12" fmla="*/ 2147483646 w 171"/>
                  <a:gd name="T13" fmla="*/ 2147483646 h 183"/>
                  <a:gd name="T14" fmla="*/ 2147483646 w 171"/>
                  <a:gd name="T15" fmla="*/ 2147483646 h 183"/>
                  <a:gd name="T16" fmla="*/ 2147483646 w 171"/>
                  <a:gd name="T17" fmla="*/ 2147483646 h 183"/>
                  <a:gd name="T18" fmla="*/ 2147483646 w 171"/>
                  <a:gd name="T19" fmla="*/ 2147483646 h 183"/>
                  <a:gd name="T20" fmla="*/ 2147483646 w 171"/>
                  <a:gd name="T21" fmla="*/ 2147483646 h 183"/>
                  <a:gd name="T22" fmla="*/ 2147483646 w 171"/>
                  <a:gd name="T23" fmla="*/ 2147483646 h 183"/>
                  <a:gd name="T24" fmla="*/ 2147483646 w 171"/>
                  <a:gd name="T25" fmla="*/ 2147483646 h 183"/>
                  <a:gd name="T26" fmla="*/ 2147483646 w 171"/>
                  <a:gd name="T27" fmla="*/ 2147483646 h 183"/>
                  <a:gd name="T28" fmla="*/ 2147483646 w 171"/>
                  <a:gd name="T29" fmla="*/ 2147483646 h 183"/>
                  <a:gd name="T30" fmla="*/ 2147483646 w 171"/>
                  <a:gd name="T31" fmla="*/ 2147483646 h 183"/>
                  <a:gd name="T32" fmla="*/ 2147483646 w 171"/>
                  <a:gd name="T33" fmla="*/ 2147483646 h 18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71" h="183">
                    <a:moveTo>
                      <a:pt x="165" y="62"/>
                    </a:moveTo>
                    <a:cubicBezTo>
                      <a:pt x="93" y="4"/>
                      <a:pt x="93" y="4"/>
                      <a:pt x="93" y="4"/>
                    </a:cubicBezTo>
                    <a:cubicBezTo>
                      <a:pt x="89" y="0"/>
                      <a:pt x="82" y="0"/>
                      <a:pt x="77" y="4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2" y="65"/>
                      <a:pt x="0" y="73"/>
                      <a:pt x="1" y="79"/>
                    </a:cubicBezTo>
                    <a:cubicBezTo>
                      <a:pt x="29" y="172"/>
                      <a:pt x="29" y="172"/>
                      <a:pt x="29" y="172"/>
                    </a:cubicBezTo>
                    <a:cubicBezTo>
                      <a:pt x="30" y="178"/>
                      <a:pt x="36" y="183"/>
                      <a:pt x="42" y="183"/>
                    </a:cubicBezTo>
                    <a:cubicBezTo>
                      <a:pt x="64" y="183"/>
                      <a:pt x="64" y="183"/>
                      <a:pt x="64" y="183"/>
                    </a:cubicBezTo>
                    <a:cubicBezTo>
                      <a:pt x="64" y="110"/>
                      <a:pt x="64" y="110"/>
                      <a:pt x="64" y="110"/>
                    </a:cubicBezTo>
                    <a:cubicBezTo>
                      <a:pt x="64" y="105"/>
                      <a:pt x="66" y="101"/>
                      <a:pt x="68" y="101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5" y="101"/>
                      <a:pt x="107" y="105"/>
                      <a:pt x="107" y="110"/>
                    </a:cubicBezTo>
                    <a:cubicBezTo>
                      <a:pt x="107" y="183"/>
                      <a:pt x="107" y="183"/>
                      <a:pt x="107" y="183"/>
                    </a:cubicBezTo>
                    <a:cubicBezTo>
                      <a:pt x="129" y="183"/>
                      <a:pt x="129" y="183"/>
                      <a:pt x="129" y="183"/>
                    </a:cubicBezTo>
                    <a:cubicBezTo>
                      <a:pt x="135" y="183"/>
                      <a:pt x="141" y="178"/>
                      <a:pt x="142" y="172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1" y="73"/>
                      <a:pt x="169" y="65"/>
                      <a:pt x="165" y="6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68" name="Freeform 15"/>
              <p:cNvSpPr/>
              <p:nvPr/>
            </p:nvSpPr>
            <p:spPr bwMode="auto">
              <a:xfrm>
                <a:off x="10310813" y="5164137"/>
                <a:ext cx="784225" cy="338138"/>
              </a:xfrm>
              <a:custGeom>
                <a:avLst/>
                <a:gdLst>
                  <a:gd name="T0" fmla="*/ 2147483646 w 209"/>
                  <a:gd name="T1" fmla="*/ 2147483646 h 90"/>
                  <a:gd name="T2" fmla="*/ 2147483646 w 209"/>
                  <a:gd name="T3" fmla="*/ 2147483646 h 90"/>
                  <a:gd name="T4" fmla="*/ 2147483646 w 209"/>
                  <a:gd name="T5" fmla="*/ 2147483646 h 90"/>
                  <a:gd name="T6" fmla="*/ 2147483646 w 209"/>
                  <a:gd name="T7" fmla="*/ 2147483646 h 90"/>
                  <a:gd name="T8" fmla="*/ 2147483646 w 209"/>
                  <a:gd name="T9" fmla="*/ 2147483646 h 90"/>
                  <a:gd name="T10" fmla="*/ 2147483646 w 209"/>
                  <a:gd name="T11" fmla="*/ 2147483646 h 90"/>
                  <a:gd name="T12" fmla="*/ 2147483646 w 209"/>
                  <a:gd name="T13" fmla="*/ 2147483646 h 90"/>
                  <a:gd name="T14" fmla="*/ 2147483646 w 209"/>
                  <a:gd name="T15" fmla="*/ 2147483646 h 90"/>
                  <a:gd name="T16" fmla="*/ 2147483646 w 209"/>
                  <a:gd name="T17" fmla="*/ 2147483646 h 90"/>
                  <a:gd name="T18" fmla="*/ 2147483646 w 209"/>
                  <a:gd name="T19" fmla="*/ 2147483646 h 90"/>
                  <a:gd name="T20" fmla="*/ 2147483646 w 209"/>
                  <a:gd name="T21" fmla="*/ 2147483646 h 90"/>
                  <a:gd name="T22" fmla="*/ 2147483646 w 209"/>
                  <a:gd name="T23" fmla="*/ 2147483646 h 90"/>
                  <a:gd name="T24" fmla="*/ 2147483646 w 209"/>
                  <a:gd name="T25" fmla="*/ 2147483646 h 90"/>
                  <a:gd name="T26" fmla="*/ 2147483646 w 209"/>
                  <a:gd name="T27" fmla="*/ 2147483646 h 90"/>
                  <a:gd name="T28" fmla="*/ 2147483646 w 209"/>
                  <a:gd name="T29" fmla="*/ 2147483646 h 90"/>
                  <a:gd name="T30" fmla="*/ 2147483646 w 209"/>
                  <a:gd name="T31" fmla="*/ 2147483646 h 90"/>
                  <a:gd name="T32" fmla="*/ 2147483646 w 209"/>
                  <a:gd name="T33" fmla="*/ 2147483646 h 90"/>
                  <a:gd name="T34" fmla="*/ 2147483646 w 209"/>
                  <a:gd name="T35" fmla="*/ 2147483646 h 90"/>
                  <a:gd name="T36" fmla="*/ 2147483646 w 209"/>
                  <a:gd name="T37" fmla="*/ 2147483646 h 90"/>
                  <a:gd name="T38" fmla="*/ 2147483646 w 209"/>
                  <a:gd name="T39" fmla="*/ 2147483646 h 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09" h="90">
                    <a:moveTo>
                      <a:pt x="205" y="74"/>
                    </a:moveTo>
                    <a:cubicBezTo>
                      <a:pt x="173" y="48"/>
                      <a:pt x="173" y="48"/>
                      <a:pt x="173" y="48"/>
                    </a:cubicBezTo>
                    <a:cubicBezTo>
                      <a:pt x="173" y="26"/>
                      <a:pt x="173" y="26"/>
                      <a:pt x="173" y="26"/>
                    </a:cubicBezTo>
                    <a:cubicBezTo>
                      <a:pt x="173" y="19"/>
                      <a:pt x="168" y="14"/>
                      <a:pt x="163" y="14"/>
                    </a:cubicBezTo>
                    <a:cubicBezTo>
                      <a:pt x="158" y="14"/>
                      <a:pt x="158" y="14"/>
                      <a:pt x="158" y="14"/>
                    </a:cubicBezTo>
                    <a:cubicBezTo>
                      <a:pt x="153" y="14"/>
                      <a:pt x="149" y="19"/>
                      <a:pt x="149" y="26"/>
                    </a:cubicBezTo>
                    <a:cubicBezTo>
                      <a:pt x="149" y="30"/>
                      <a:pt x="149" y="30"/>
                      <a:pt x="149" y="30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1" y="0"/>
                      <a:pt x="98" y="0"/>
                      <a:pt x="91" y="6"/>
                    </a:cubicBezTo>
                    <a:cubicBezTo>
                      <a:pt x="4" y="74"/>
                      <a:pt x="4" y="74"/>
                      <a:pt x="4" y="74"/>
                    </a:cubicBezTo>
                    <a:cubicBezTo>
                      <a:pt x="0" y="77"/>
                      <a:pt x="0" y="82"/>
                      <a:pt x="2" y="85"/>
                    </a:cubicBezTo>
                    <a:cubicBezTo>
                      <a:pt x="4" y="89"/>
                      <a:pt x="9" y="90"/>
                      <a:pt x="12" y="87"/>
                    </a:cubicBezTo>
                    <a:cubicBezTo>
                      <a:pt x="99" y="19"/>
                      <a:pt x="99" y="19"/>
                      <a:pt x="99" y="19"/>
                    </a:cubicBezTo>
                    <a:cubicBezTo>
                      <a:pt x="102" y="17"/>
                      <a:pt x="107" y="17"/>
                      <a:pt x="110" y="19"/>
                    </a:cubicBezTo>
                    <a:cubicBezTo>
                      <a:pt x="149" y="49"/>
                      <a:pt x="149" y="49"/>
                      <a:pt x="149" y="49"/>
                    </a:cubicBezTo>
                    <a:cubicBezTo>
                      <a:pt x="149" y="50"/>
                      <a:pt x="149" y="50"/>
                      <a:pt x="149" y="50"/>
                    </a:cubicBezTo>
                    <a:cubicBezTo>
                      <a:pt x="149" y="50"/>
                      <a:pt x="149" y="50"/>
                      <a:pt x="149" y="50"/>
                    </a:cubicBezTo>
                    <a:cubicBezTo>
                      <a:pt x="197" y="87"/>
                      <a:pt x="197" y="87"/>
                      <a:pt x="197" y="87"/>
                    </a:cubicBezTo>
                    <a:cubicBezTo>
                      <a:pt x="200" y="90"/>
                      <a:pt x="205" y="89"/>
                      <a:pt x="207" y="85"/>
                    </a:cubicBezTo>
                    <a:cubicBezTo>
                      <a:pt x="209" y="82"/>
                      <a:pt x="209" y="77"/>
                      <a:pt x="205" y="7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69" name="Freeform 16"/>
              <p:cNvSpPr/>
              <p:nvPr/>
            </p:nvSpPr>
            <p:spPr bwMode="auto">
              <a:xfrm>
                <a:off x="9602788" y="4867275"/>
                <a:ext cx="1376363" cy="555625"/>
              </a:xfrm>
              <a:custGeom>
                <a:avLst/>
                <a:gdLst>
                  <a:gd name="T0" fmla="*/ 2147483646 w 367"/>
                  <a:gd name="T1" fmla="*/ 2147483646 h 148"/>
                  <a:gd name="T2" fmla="*/ 2147483646 w 367"/>
                  <a:gd name="T3" fmla="*/ 0 h 148"/>
                  <a:gd name="T4" fmla="*/ 2147483646 w 367"/>
                  <a:gd name="T5" fmla="*/ 0 h 148"/>
                  <a:gd name="T6" fmla="*/ 2147483646 w 367"/>
                  <a:gd name="T7" fmla="*/ 2147483646 h 148"/>
                  <a:gd name="T8" fmla="*/ 2147483646 w 367"/>
                  <a:gd name="T9" fmla="*/ 2147483646 h 148"/>
                  <a:gd name="T10" fmla="*/ 0 w 367"/>
                  <a:gd name="T11" fmla="*/ 2147483646 h 148"/>
                  <a:gd name="T12" fmla="*/ 0 w 367"/>
                  <a:gd name="T13" fmla="*/ 2147483646 h 148"/>
                  <a:gd name="T14" fmla="*/ 2147483646 w 367"/>
                  <a:gd name="T15" fmla="*/ 2147483646 h 148"/>
                  <a:gd name="T16" fmla="*/ 2147483646 w 367"/>
                  <a:gd name="T17" fmla="*/ 2147483646 h 148"/>
                  <a:gd name="T18" fmla="*/ 2147483646 w 367"/>
                  <a:gd name="T19" fmla="*/ 2147483646 h 148"/>
                  <a:gd name="T20" fmla="*/ 2147483646 w 367"/>
                  <a:gd name="T21" fmla="*/ 2147483646 h 148"/>
                  <a:gd name="T22" fmla="*/ 2147483646 w 367"/>
                  <a:gd name="T23" fmla="*/ 2147483646 h 148"/>
                  <a:gd name="T24" fmla="*/ 2147483646 w 367"/>
                  <a:gd name="T25" fmla="*/ 2147483646 h 148"/>
                  <a:gd name="T26" fmla="*/ 2147483646 w 367"/>
                  <a:gd name="T27" fmla="*/ 2147483646 h 148"/>
                  <a:gd name="T28" fmla="*/ 2147483646 w 367"/>
                  <a:gd name="T29" fmla="*/ 2147483646 h 148"/>
                  <a:gd name="T30" fmla="*/ 2147483646 w 367"/>
                  <a:gd name="T31" fmla="*/ 2147483646 h 14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67" h="148">
                    <a:moveTo>
                      <a:pt x="352" y="1"/>
                    </a:moveTo>
                    <a:cubicBezTo>
                      <a:pt x="350" y="1"/>
                      <a:pt x="346" y="0"/>
                      <a:pt x="340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85" y="0"/>
                      <a:pt x="182" y="0"/>
                      <a:pt x="179" y="1"/>
                    </a:cubicBezTo>
                    <a:cubicBezTo>
                      <a:pt x="125" y="2"/>
                      <a:pt x="95" y="69"/>
                      <a:pt x="53" y="81"/>
                    </a:cubicBezTo>
                    <a:cubicBezTo>
                      <a:pt x="23" y="89"/>
                      <a:pt x="17" y="82"/>
                      <a:pt x="0" y="78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10" y="147"/>
                      <a:pt x="10" y="147"/>
                      <a:pt x="25" y="147"/>
                    </a:cubicBezTo>
                    <a:cubicBezTo>
                      <a:pt x="55" y="147"/>
                      <a:pt x="112" y="148"/>
                      <a:pt x="129" y="146"/>
                    </a:cubicBezTo>
                    <a:cubicBezTo>
                      <a:pt x="145" y="144"/>
                      <a:pt x="204" y="94"/>
                      <a:pt x="214" y="86"/>
                    </a:cubicBezTo>
                    <a:cubicBezTo>
                      <a:pt x="231" y="70"/>
                      <a:pt x="253" y="59"/>
                      <a:pt x="245" y="44"/>
                    </a:cubicBezTo>
                    <a:cubicBezTo>
                      <a:pt x="236" y="30"/>
                      <a:pt x="155" y="87"/>
                      <a:pt x="149" y="78"/>
                    </a:cubicBezTo>
                    <a:cubicBezTo>
                      <a:pt x="142" y="68"/>
                      <a:pt x="183" y="49"/>
                      <a:pt x="204" y="41"/>
                    </a:cubicBezTo>
                    <a:cubicBezTo>
                      <a:pt x="224" y="34"/>
                      <a:pt x="267" y="29"/>
                      <a:pt x="295" y="26"/>
                    </a:cubicBezTo>
                    <a:cubicBezTo>
                      <a:pt x="324" y="24"/>
                      <a:pt x="363" y="23"/>
                      <a:pt x="365" y="10"/>
                    </a:cubicBezTo>
                    <a:cubicBezTo>
                      <a:pt x="367" y="4"/>
                      <a:pt x="362" y="2"/>
                      <a:pt x="35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0" name="Freeform 17"/>
              <p:cNvSpPr/>
              <p:nvPr/>
            </p:nvSpPr>
            <p:spPr bwMode="auto">
              <a:xfrm>
                <a:off x="10517188" y="5695950"/>
                <a:ext cx="1376363" cy="552450"/>
              </a:xfrm>
              <a:custGeom>
                <a:avLst/>
                <a:gdLst>
                  <a:gd name="T0" fmla="*/ 2147483646 w 367"/>
                  <a:gd name="T1" fmla="*/ 2147483646 h 147"/>
                  <a:gd name="T2" fmla="*/ 2147483646 w 367"/>
                  <a:gd name="T3" fmla="*/ 2147483646 h 147"/>
                  <a:gd name="T4" fmla="*/ 2147483646 w 367"/>
                  <a:gd name="T5" fmla="*/ 2147483646 h 147"/>
                  <a:gd name="T6" fmla="*/ 2147483646 w 367"/>
                  <a:gd name="T7" fmla="*/ 2147483646 h 147"/>
                  <a:gd name="T8" fmla="*/ 2147483646 w 367"/>
                  <a:gd name="T9" fmla="*/ 2147483646 h 147"/>
                  <a:gd name="T10" fmla="*/ 2147483646 w 367"/>
                  <a:gd name="T11" fmla="*/ 2147483646 h 147"/>
                  <a:gd name="T12" fmla="*/ 2147483646 w 367"/>
                  <a:gd name="T13" fmla="*/ 2147483646 h 147"/>
                  <a:gd name="T14" fmla="*/ 2147483646 w 367"/>
                  <a:gd name="T15" fmla="*/ 2147483646 h 147"/>
                  <a:gd name="T16" fmla="*/ 2147483646 w 367"/>
                  <a:gd name="T17" fmla="*/ 2147483646 h 147"/>
                  <a:gd name="T18" fmla="*/ 2147483646 w 367"/>
                  <a:gd name="T19" fmla="*/ 2147483646 h 147"/>
                  <a:gd name="T20" fmla="*/ 2147483646 w 367"/>
                  <a:gd name="T21" fmla="*/ 2147483646 h 147"/>
                  <a:gd name="T22" fmla="*/ 2147483646 w 367"/>
                  <a:gd name="T23" fmla="*/ 2147483646 h 147"/>
                  <a:gd name="T24" fmla="*/ 2147483646 w 367"/>
                  <a:gd name="T25" fmla="*/ 2147483646 h 147"/>
                  <a:gd name="T26" fmla="*/ 2147483646 w 367"/>
                  <a:gd name="T27" fmla="*/ 2147483646 h 147"/>
                  <a:gd name="T28" fmla="*/ 2147483646 w 367"/>
                  <a:gd name="T29" fmla="*/ 2147483646 h 147"/>
                  <a:gd name="T30" fmla="*/ 2147483646 w 367"/>
                  <a:gd name="T31" fmla="*/ 2147483646 h 14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67" h="147">
                    <a:moveTo>
                      <a:pt x="15" y="147"/>
                    </a:moveTo>
                    <a:cubicBezTo>
                      <a:pt x="17" y="147"/>
                      <a:pt x="21" y="147"/>
                      <a:pt x="27" y="147"/>
                    </a:cubicBezTo>
                    <a:cubicBezTo>
                      <a:pt x="179" y="147"/>
                      <a:pt x="179" y="147"/>
                      <a:pt x="179" y="147"/>
                    </a:cubicBezTo>
                    <a:cubicBezTo>
                      <a:pt x="182" y="147"/>
                      <a:pt x="185" y="147"/>
                      <a:pt x="188" y="147"/>
                    </a:cubicBezTo>
                    <a:cubicBezTo>
                      <a:pt x="242" y="145"/>
                      <a:pt x="272" y="78"/>
                      <a:pt x="314" y="67"/>
                    </a:cubicBezTo>
                    <a:cubicBezTo>
                      <a:pt x="344" y="59"/>
                      <a:pt x="350" y="65"/>
                      <a:pt x="367" y="70"/>
                    </a:cubicBezTo>
                    <a:cubicBezTo>
                      <a:pt x="367" y="1"/>
                      <a:pt x="367" y="1"/>
                      <a:pt x="367" y="1"/>
                    </a:cubicBezTo>
                    <a:cubicBezTo>
                      <a:pt x="357" y="1"/>
                      <a:pt x="357" y="1"/>
                      <a:pt x="342" y="1"/>
                    </a:cubicBezTo>
                    <a:cubicBezTo>
                      <a:pt x="312" y="1"/>
                      <a:pt x="255" y="0"/>
                      <a:pt x="238" y="1"/>
                    </a:cubicBezTo>
                    <a:cubicBezTo>
                      <a:pt x="222" y="3"/>
                      <a:pt x="163" y="53"/>
                      <a:pt x="153" y="61"/>
                    </a:cubicBezTo>
                    <a:cubicBezTo>
                      <a:pt x="136" y="77"/>
                      <a:pt x="114" y="88"/>
                      <a:pt x="122" y="103"/>
                    </a:cubicBezTo>
                    <a:cubicBezTo>
                      <a:pt x="131" y="118"/>
                      <a:pt x="212" y="60"/>
                      <a:pt x="218" y="69"/>
                    </a:cubicBezTo>
                    <a:cubicBezTo>
                      <a:pt x="225" y="79"/>
                      <a:pt x="184" y="98"/>
                      <a:pt x="163" y="106"/>
                    </a:cubicBezTo>
                    <a:cubicBezTo>
                      <a:pt x="143" y="114"/>
                      <a:pt x="100" y="119"/>
                      <a:pt x="72" y="121"/>
                    </a:cubicBezTo>
                    <a:cubicBezTo>
                      <a:pt x="43" y="124"/>
                      <a:pt x="4" y="124"/>
                      <a:pt x="2" y="137"/>
                    </a:cubicBezTo>
                    <a:cubicBezTo>
                      <a:pt x="0" y="143"/>
                      <a:pt x="5" y="146"/>
                      <a:pt x="15" y="1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" name="组合 3"/>
          <p:cNvGrpSpPr/>
          <p:nvPr/>
        </p:nvGrpSpPr>
        <p:grpSpPr bwMode="auto">
          <a:xfrm>
            <a:off x="6062663" y="4014788"/>
            <a:ext cx="2586037" cy="431800"/>
            <a:chOff x="6063231" y="4015274"/>
            <a:chExt cx="2585259" cy="432003"/>
          </a:xfrm>
        </p:grpSpPr>
        <p:sp>
          <p:nvSpPr>
            <p:cNvPr id="55" name="Rectangle 53"/>
            <p:cNvSpPr/>
            <p:nvPr/>
          </p:nvSpPr>
          <p:spPr bwMode="auto">
            <a:xfrm>
              <a:off x="6063231" y="4015274"/>
              <a:ext cx="2585259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6744063" y="4047039"/>
              <a:ext cx="1107742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55" name="Freeform 51"/>
            <p:cNvSpPr>
              <a:spLocks noEditPoints="1"/>
            </p:cNvSpPr>
            <p:nvPr/>
          </p:nvSpPr>
          <p:spPr bwMode="auto">
            <a:xfrm rot="10800000" flipH="1" flipV="1">
              <a:off x="7834132" y="4159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2556" name="组合 23"/>
            <p:cNvGrpSpPr/>
            <p:nvPr/>
          </p:nvGrpSpPr>
          <p:grpSpPr bwMode="auto">
            <a:xfrm>
              <a:off x="8143372" y="4073310"/>
              <a:ext cx="316515" cy="315930"/>
              <a:chOff x="9471025" y="-2643188"/>
              <a:chExt cx="2576513" cy="2571751"/>
            </a:xfrm>
          </p:grpSpPr>
          <p:sp>
            <p:nvSpPr>
              <p:cNvPr id="19" name="Freeform 18"/>
              <p:cNvSpPr/>
              <p:nvPr/>
            </p:nvSpPr>
            <p:spPr bwMode="auto">
              <a:xfrm>
                <a:off x="9474646" y="-2637259"/>
                <a:ext cx="2570841" cy="2559885"/>
              </a:xfrm>
              <a:custGeom>
                <a:avLst/>
                <a:gdLst>
                  <a:gd name="T0" fmla="*/ 0 w 687"/>
                  <a:gd name="T1" fmla="*/ 624 h 686"/>
                  <a:gd name="T2" fmla="*/ 62 w 687"/>
                  <a:gd name="T3" fmla="*/ 686 h 686"/>
                  <a:gd name="T4" fmla="*/ 624 w 687"/>
                  <a:gd name="T5" fmla="*/ 686 h 686"/>
                  <a:gd name="T6" fmla="*/ 687 w 687"/>
                  <a:gd name="T7" fmla="*/ 624 h 686"/>
                  <a:gd name="T8" fmla="*/ 687 w 687"/>
                  <a:gd name="T9" fmla="*/ 62 h 686"/>
                  <a:gd name="T10" fmla="*/ 624 w 687"/>
                  <a:gd name="T11" fmla="*/ 0 h 686"/>
                  <a:gd name="T12" fmla="*/ 62 w 687"/>
                  <a:gd name="T13" fmla="*/ 0 h 686"/>
                  <a:gd name="T14" fmla="*/ 0 w 687"/>
                  <a:gd name="T15" fmla="*/ 62 h 686"/>
                  <a:gd name="T16" fmla="*/ 0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0" y="624"/>
                    </a:moveTo>
                    <a:cubicBezTo>
                      <a:pt x="0" y="659"/>
                      <a:pt x="28" y="686"/>
                      <a:pt x="62" y="686"/>
                    </a:cubicBezTo>
                    <a:cubicBezTo>
                      <a:pt x="624" y="686"/>
                      <a:pt x="624" y="686"/>
                      <a:pt x="624" y="686"/>
                    </a:cubicBezTo>
                    <a:cubicBezTo>
                      <a:pt x="659" y="686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58" name="Freeform 19"/>
              <p:cNvSpPr/>
              <p:nvPr/>
            </p:nvSpPr>
            <p:spPr bwMode="auto">
              <a:xfrm>
                <a:off x="9963150" y="-2241550"/>
                <a:ext cx="2084388" cy="2170113"/>
              </a:xfrm>
              <a:custGeom>
                <a:avLst/>
                <a:gdLst>
                  <a:gd name="T0" fmla="*/ 2147483646 w 556"/>
                  <a:gd name="T1" fmla="*/ 2147483646 h 579"/>
                  <a:gd name="T2" fmla="*/ 2147483646 w 556"/>
                  <a:gd name="T3" fmla="*/ 2147483646 h 579"/>
                  <a:gd name="T4" fmla="*/ 2147483646 w 556"/>
                  <a:gd name="T5" fmla="*/ 0 h 579"/>
                  <a:gd name="T6" fmla="*/ 2147483646 w 556"/>
                  <a:gd name="T7" fmla="*/ 2147483646 h 579"/>
                  <a:gd name="T8" fmla="*/ 2147483646 w 556"/>
                  <a:gd name="T9" fmla="*/ 2147483646 h 579"/>
                  <a:gd name="T10" fmla="*/ 2147483646 w 556"/>
                  <a:gd name="T11" fmla="*/ 2147483646 h 579"/>
                  <a:gd name="T12" fmla="*/ 2147483646 w 556"/>
                  <a:gd name="T13" fmla="*/ 2147483646 h 579"/>
                  <a:gd name="T14" fmla="*/ 2147483646 w 556"/>
                  <a:gd name="T15" fmla="*/ 2147483646 h 579"/>
                  <a:gd name="T16" fmla="*/ 0 w 556"/>
                  <a:gd name="T17" fmla="*/ 2147483646 h 579"/>
                  <a:gd name="T18" fmla="*/ 2147483646 w 556"/>
                  <a:gd name="T19" fmla="*/ 2147483646 h 579"/>
                  <a:gd name="T20" fmla="*/ 2147483646 w 556"/>
                  <a:gd name="T21" fmla="*/ 2147483646 h 579"/>
                  <a:gd name="T22" fmla="*/ 2147483646 w 556"/>
                  <a:gd name="T23" fmla="*/ 2147483646 h 579"/>
                  <a:gd name="T24" fmla="*/ 2147483646 w 556"/>
                  <a:gd name="T25" fmla="*/ 2147483646 h 579"/>
                  <a:gd name="T26" fmla="*/ 2147483646 w 556"/>
                  <a:gd name="T27" fmla="*/ 2147483646 h 5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56" h="579">
                    <a:moveTo>
                      <a:pt x="334" y="8"/>
                    </a:moveTo>
                    <a:cubicBezTo>
                      <a:pt x="282" y="61"/>
                      <a:pt x="282" y="61"/>
                      <a:pt x="282" y="61"/>
                    </a:cubicBezTo>
                    <a:cubicBezTo>
                      <a:pt x="221" y="0"/>
                      <a:pt x="221" y="0"/>
                      <a:pt x="221" y="0"/>
                    </a:cubicBezTo>
                    <a:cubicBezTo>
                      <a:pt x="164" y="57"/>
                      <a:pt x="164" y="57"/>
                      <a:pt x="164" y="57"/>
                    </a:cubicBezTo>
                    <a:cubicBezTo>
                      <a:pt x="301" y="194"/>
                      <a:pt x="301" y="194"/>
                      <a:pt x="301" y="194"/>
                    </a:cubicBezTo>
                    <a:cubicBezTo>
                      <a:pt x="271" y="178"/>
                      <a:pt x="271" y="178"/>
                      <a:pt x="271" y="178"/>
                    </a:cubicBezTo>
                    <a:cubicBezTo>
                      <a:pt x="200" y="108"/>
                      <a:pt x="200" y="108"/>
                      <a:pt x="200" y="108"/>
                    </a:cubicBezTo>
                    <a:cubicBezTo>
                      <a:pt x="119" y="189"/>
                      <a:pt x="119" y="189"/>
                      <a:pt x="119" y="189"/>
                    </a:cubicBezTo>
                    <a:cubicBezTo>
                      <a:pt x="0" y="495"/>
                      <a:pt x="0" y="495"/>
                      <a:pt x="0" y="495"/>
                    </a:cubicBezTo>
                    <a:cubicBezTo>
                      <a:pt x="84" y="579"/>
                      <a:pt x="84" y="579"/>
                      <a:pt x="84" y="579"/>
                    </a:cubicBezTo>
                    <a:cubicBezTo>
                      <a:pt x="493" y="579"/>
                      <a:pt x="493" y="579"/>
                      <a:pt x="493" y="579"/>
                    </a:cubicBezTo>
                    <a:cubicBezTo>
                      <a:pt x="528" y="579"/>
                      <a:pt x="556" y="552"/>
                      <a:pt x="556" y="517"/>
                    </a:cubicBezTo>
                    <a:cubicBezTo>
                      <a:pt x="556" y="230"/>
                      <a:pt x="556" y="230"/>
                      <a:pt x="556" y="230"/>
                    </a:cubicBezTo>
                    <a:lnTo>
                      <a:pt x="334" y="8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59" name="Freeform 20"/>
              <p:cNvSpPr/>
              <p:nvPr/>
            </p:nvSpPr>
            <p:spPr bwMode="auto">
              <a:xfrm>
                <a:off x="10447338" y="-1431925"/>
                <a:ext cx="862013" cy="858838"/>
              </a:xfrm>
              <a:custGeom>
                <a:avLst/>
                <a:gdLst>
                  <a:gd name="T0" fmla="*/ 2147483646 w 230"/>
                  <a:gd name="T1" fmla="*/ 2147483646 h 229"/>
                  <a:gd name="T2" fmla="*/ 2147483646 w 230"/>
                  <a:gd name="T3" fmla="*/ 2147483646 h 229"/>
                  <a:gd name="T4" fmla="*/ 2147483646 w 230"/>
                  <a:gd name="T5" fmla="*/ 2147483646 h 229"/>
                  <a:gd name="T6" fmla="*/ 2147483646 w 230"/>
                  <a:gd name="T7" fmla="*/ 0 h 229"/>
                  <a:gd name="T8" fmla="*/ 2147483646 w 230"/>
                  <a:gd name="T9" fmla="*/ 0 h 229"/>
                  <a:gd name="T10" fmla="*/ 2147483646 w 230"/>
                  <a:gd name="T11" fmla="*/ 2147483646 h 229"/>
                  <a:gd name="T12" fmla="*/ 2147483646 w 230"/>
                  <a:gd name="T13" fmla="*/ 2147483646 h 229"/>
                  <a:gd name="T14" fmla="*/ 2147483646 w 230"/>
                  <a:gd name="T15" fmla="*/ 2147483646 h 229"/>
                  <a:gd name="T16" fmla="*/ 0 w 230"/>
                  <a:gd name="T17" fmla="*/ 2147483646 h 229"/>
                  <a:gd name="T18" fmla="*/ 0 w 230"/>
                  <a:gd name="T19" fmla="*/ 2147483646 h 229"/>
                  <a:gd name="T20" fmla="*/ 2147483646 w 230"/>
                  <a:gd name="T21" fmla="*/ 2147483646 h 229"/>
                  <a:gd name="T22" fmla="*/ 2147483646 w 230"/>
                  <a:gd name="T23" fmla="*/ 2147483646 h 229"/>
                  <a:gd name="T24" fmla="*/ 2147483646 w 230"/>
                  <a:gd name="T25" fmla="*/ 2147483646 h 229"/>
                  <a:gd name="T26" fmla="*/ 2147483646 w 230"/>
                  <a:gd name="T27" fmla="*/ 2147483646 h 229"/>
                  <a:gd name="T28" fmla="*/ 2147483646 w 230"/>
                  <a:gd name="T29" fmla="*/ 2147483646 h 229"/>
                  <a:gd name="T30" fmla="*/ 2147483646 w 230"/>
                  <a:gd name="T31" fmla="*/ 2147483646 h 229"/>
                  <a:gd name="T32" fmla="*/ 2147483646 w 230"/>
                  <a:gd name="T33" fmla="*/ 2147483646 h 229"/>
                  <a:gd name="T34" fmla="*/ 2147483646 w 230"/>
                  <a:gd name="T35" fmla="*/ 2147483646 h 229"/>
                  <a:gd name="T36" fmla="*/ 2147483646 w 230"/>
                  <a:gd name="T37" fmla="*/ 2147483646 h 229"/>
                  <a:gd name="T38" fmla="*/ 2147483646 w 230"/>
                  <a:gd name="T39" fmla="*/ 2147483646 h 229"/>
                  <a:gd name="T40" fmla="*/ 2147483646 w 230"/>
                  <a:gd name="T41" fmla="*/ 2147483646 h 2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230" h="229">
                    <a:moveTo>
                      <a:pt x="216" y="73"/>
                    </a:moveTo>
                    <a:cubicBezTo>
                      <a:pt x="157" y="73"/>
                      <a:pt x="157" y="73"/>
                      <a:pt x="157" y="73"/>
                    </a:cubicBezTo>
                    <a:cubicBezTo>
                      <a:pt x="157" y="13"/>
                      <a:pt x="157" y="13"/>
                      <a:pt x="157" y="13"/>
                    </a:cubicBezTo>
                    <a:cubicBezTo>
                      <a:pt x="157" y="6"/>
                      <a:pt x="150" y="0"/>
                      <a:pt x="143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79" y="0"/>
                      <a:pt x="73" y="6"/>
                      <a:pt x="73" y="13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6" y="73"/>
                      <a:pt x="0" y="79"/>
                      <a:pt x="0" y="87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50"/>
                      <a:pt x="6" y="156"/>
                      <a:pt x="14" y="156"/>
                    </a:cubicBezTo>
                    <a:cubicBezTo>
                      <a:pt x="73" y="156"/>
                      <a:pt x="73" y="156"/>
                      <a:pt x="73" y="156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3" y="223"/>
                      <a:pt x="79" y="229"/>
                      <a:pt x="87" y="229"/>
                    </a:cubicBezTo>
                    <a:cubicBezTo>
                      <a:pt x="143" y="229"/>
                      <a:pt x="143" y="229"/>
                      <a:pt x="143" y="229"/>
                    </a:cubicBezTo>
                    <a:cubicBezTo>
                      <a:pt x="150" y="229"/>
                      <a:pt x="157" y="223"/>
                      <a:pt x="157" y="215"/>
                    </a:cubicBezTo>
                    <a:cubicBezTo>
                      <a:pt x="157" y="156"/>
                      <a:pt x="157" y="156"/>
                      <a:pt x="157" y="156"/>
                    </a:cubicBezTo>
                    <a:cubicBezTo>
                      <a:pt x="216" y="156"/>
                      <a:pt x="216" y="156"/>
                      <a:pt x="216" y="156"/>
                    </a:cubicBezTo>
                    <a:cubicBezTo>
                      <a:pt x="223" y="156"/>
                      <a:pt x="230" y="150"/>
                      <a:pt x="230" y="142"/>
                    </a:cubicBezTo>
                    <a:cubicBezTo>
                      <a:pt x="230" y="87"/>
                      <a:pt x="230" y="87"/>
                      <a:pt x="230" y="87"/>
                    </a:cubicBezTo>
                    <a:cubicBezTo>
                      <a:pt x="230" y="79"/>
                      <a:pt x="223" y="73"/>
                      <a:pt x="216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60" name="Freeform 21"/>
              <p:cNvSpPr/>
              <p:nvPr/>
            </p:nvSpPr>
            <p:spPr bwMode="auto">
              <a:xfrm>
                <a:off x="9955213" y="-2298700"/>
                <a:ext cx="1665288" cy="1924050"/>
              </a:xfrm>
              <a:custGeom>
                <a:avLst/>
                <a:gdLst>
                  <a:gd name="T0" fmla="*/ 2147483646 w 444"/>
                  <a:gd name="T1" fmla="*/ 2147483646 h 513"/>
                  <a:gd name="T2" fmla="*/ 2147483646 w 444"/>
                  <a:gd name="T3" fmla="*/ 2147483646 h 513"/>
                  <a:gd name="T4" fmla="*/ 2147483646 w 444"/>
                  <a:gd name="T5" fmla="*/ 0 h 513"/>
                  <a:gd name="T6" fmla="*/ 2147483646 w 444"/>
                  <a:gd name="T7" fmla="*/ 2147483646 h 513"/>
                  <a:gd name="T8" fmla="*/ 2147483646 w 444"/>
                  <a:gd name="T9" fmla="*/ 2147483646 h 513"/>
                  <a:gd name="T10" fmla="*/ 2147483646 w 444"/>
                  <a:gd name="T11" fmla="*/ 2147483646 h 513"/>
                  <a:gd name="T12" fmla="*/ 2147483646 w 444"/>
                  <a:gd name="T13" fmla="*/ 2147483646 h 513"/>
                  <a:gd name="T14" fmla="*/ 2147483646 w 444"/>
                  <a:gd name="T15" fmla="*/ 2147483646 h 513"/>
                  <a:gd name="T16" fmla="*/ 2147483646 w 444"/>
                  <a:gd name="T17" fmla="*/ 2147483646 h 513"/>
                  <a:gd name="T18" fmla="*/ 2147483646 w 444"/>
                  <a:gd name="T19" fmla="*/ 2147483646 h 513"/>
                  <a:gd name="T20" fmla="*/ 2147483646 w 444"/>
                  <a:gd name="T21" fmla="*/ 2147483646 h 513"/>
                  <a:gd name="T22" fmla="*/ 2147483646 w 444"/>
                  <a:gd name="T23" fmla="*/ 2147483646 h 513"/>
                  <a:gd name="T24" fmla="*/ 2147483646 w 444"/>
                  <a:gd name="T25" fmla="*/ 2147483646 h 513"/>
                  <a:gd name="T26" fmla="*/ 2147483646 w 444"/>
                  <a:gd name="T27" fmla="*/ 2147483646 h 513"/>
                  <a:gd name="T28" fmla="*/ 2147483646 w 444"/>
                  <a:gd name="T29" fmla="*/ 2147483646 h 513"/>
                  <a:gd name="T30" fmla="*/ 2147483646 w 444"/>
                  <a:gd name="T31" fmla="*/ 2147483646 h 513"/>
                  <a:gd name="T32" fmla="*/ 2147483646 w 444"/>
                  <a:gd name="T33" fmla="*/ 2147483646 h 513"/>
                  <a:gd name="T34" fmla="*/ 2147483646 w 444"/>
                  <a:gd name="T35" fmla="*/ 2147483646 h 513"/>
                  <a:gd name="T36" fmla="*/ 2147483646 w 444"/>
                  <a:gd name="T37" fmla="*/ 2147483646 h 513"/>
                  <a:gd name="T38" fmla="*/ 2147483646 w 444"/>
                  <a:gd name="T39" fmla="*/ 2147483646 h 513"/>
                  <a:gd name="T40" fmla="*/ 2147483646 w 444"/>
                  <a:gd name="T41" fmla="*/ 2147483646 h 513"/>
                  <a:gd name="T42" fmla="*/ 2147483646 w 444"/>
                  <a:gd name="T43" fmla="*/ 2147483646 h 513"/>
                  <a:gd name="T44" fmla="*/ 2147483646 w 444"/>
                  <a:gd name="T45" fmla="*/ 2147483646 h 513"/>
                  <a:gd name="T46" fmla="*/ 2147483646 w 444"/>
                  <a:gd name="T47" fmla="*/ 2147483646 h 513"/>
                  <a:gd name="T48" fmla="*/ 2147483646 w 444"/>
                  <a:gd name="T49" fmla="*/ 2147483646 h 513"/>
                  <a:gd name="T50" fmla="*/ 2147483646 w 444"/>
                  <a:gd name="T51" fmla="*/ 2147483646 h 513"/>
                  <a:gd name="T52" fmla="*/ 2147483646 w 444"/>
                  <a:gd name="T53" fmla="*/ 2147483646 h 513"/>
                  <a:gd name="T54" fmla="*/ 2147483646 w 444"/>
                  <a:gd name="T55" fmla="*/ 2147483646 h 513"/>
                  <a:gd name="T56" fmla="*/ 2147483646 w 444"/>
                  <a:gd name="T57" fmla="*/ 2147483646 h 513"/>
                  <a:gd name="T58" fmla="*/ 2147483646 w 444"/>
                  <a:gd name="T59" fmla="*/ 2147483646 h 513"/>
                  <a:gd name="T60" fmla="*/ 2147483646 w 444"/>
                  <a:gd name="T61" fmla="*/ 2147483646 h 513"/>
                  <a:gd name="T62" fmla="*/ 2147483646 w 444"/>
                  <a:gd name="T63" fmla="*/ 2147483646 h 513"/>
                  <a:gd name="T64" fmla="*/ 2147483646 w 444"/>
                  <a:gd name="T65" fmla="*/ 2147483646 h 513"/>
                  <a:gd name="T66" fmla="*/ 0 w 444"/>
                  <a:gd name="T67" fmla="*/ 2147483646 h 513"/>
                  <a:gd name="T68" fmla="*/ 0 w 444"/>
                  <a:gd name="T69" fmla="*/ 2147483646 h 513"/>
                  <a:gd name="T70" fmla="*/ 2147483646 w 444"/>
                  <a:gd name="T71" fmla="*/ 2147483646 h 513"/>
                  <a:gd name="T72" fmla="*/ 2147483646 w 444"/>
                  <a:gd name="T73" fmla="*/ 2147483646 h 513"/>
                  <a:gd name="T74" fmla="*/ 2147483646 w 444"/>
                  <a:gd name="T75" fmla="*/ 2147483646 h 51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44" h="513">
                    <a:moveTo>
                      <a:pt x="338" y="206"/>
                    </a:moveTo>
                    <a:cubicBezTo>
                      <a:pt x="367" y="185"/>
                      <a:pt x="386" y="152"/>
                      <a:pt x="386" y="113"/>
                    </a:cubicBezTo>
                    <a:cubicBezTo>
                      <a:pt x="386" y="51"/>
                      <a:pt x="335" y="0"/>
                      <a:pt x="272" y="0"/>
                    </a:cubicBezTo>
                    <a:cubicBezTo>
                      <a:pt x="224" y="0"/>
                      <a:pt x="182" y="31"/>
                      <a:pt x="166" y="74"/>
                    </a:cubicBezTo>
                    <a:cubicBezTo>
                      <a:pt x="219" y="85"/>
                      <a:pt x="258" y="131"/>
                      <a:pt x="258" y="187"/>
                    </a:cubicBezTo>
                    <a:cubicBezTo>
                      <a:pt x="258" y="194"/>
                      <a:pt x="257" y="201"/>
                      <a:pt x="256" y="208"/>
                    </a:cubicBezTo>
                    <a:cubicBezTo>
                      <a:pt x="273" y="208"/>
                      <a:pt x="273" y="208"/>
                      <a:pt x="273" y="208"/>
                    </a:cubicBezTo>
                    <a:cubicBezTo>
                      <a:pt x="292" y="208"/>
                      <a:pt x="308" y="224"/>
                      <a:pt x="308" y="243"/>
                    </a:cubicBezTo>
                    <a:cubicBezTo>
                      <a:pt x="308" y="243"/>
                      <a:pt x="308" y="265"/>
                      <a:pt x="308" y="283"/>
                    </a:cubicBezTo>
                    <a:cubicBezTo>
                      <a:pt x="326" y="283"/>
                      <a:pt x="348" y="283"/>
                      <a:pt x="348" y="283"/>
                    </a:cubicBezTo>
                    <a:cubicBezTo>
                      <a:pt x="358" y="283"/>
                      <a:pt x="366" y="287"/>
                      <a:pt x="373" y="293"/>
                    </a:cubicBezTo>
                    <a:cubicBezTo>
                      <a:pt x="379" y="300"/>
                      <a:pt x="383" y="309"/>
                      <a:pt x="383" y="318"/>
                    </a:cubicBezTo>
                    <a:cubicBezTo>
                      <a:pt x="383" y="375"/>
                      <a:pt x="383" y="375"/>
                      <a:pt x="383" y="375"/>
                    </a:cubicBezTo>
                    <a:cubicBezTo>
                      <a:pt x="383" y="384"/>
                      <a:pt x="379" y="393"/>
                      <a:pt x="373" y="399"/>
                    </a:cubicBezTo>
                    <a:cubicBezTo>
                      <a:pt x="366" y="406"/>
                      <a:pt x="358" y="410"/>
                      <a:pt x="348" y="410"/>
                    </a:cubicBezTo>
                    <a:cubicBezTo>
                      <a:pt x="348" y="410"/>
                      <a:pt x="326" y="410"/>
                      <a:pt x="308" y="410"/>
                    </a:cubicBezTo>
                    <a:cubicBezTo>
                      <a:pt x="308" y="428"/>
                      <a:pt x="308" y="450"/>
                      <a:pt x="308" y="450"/>
                    </a:cubicBezTo>
                    <a:cubicBezTo>
                      <a:pt x="308" y="469"/>
                      <a:pt x="292" y="485"/>
                      <a:pt x="273" y="485"/>
                    </a:cubicBezTo>
                    <a:cubicBezTo>
                      <a:pt x="216" y="485"/>
                      <a:pt x="216" y="485"/>
                      <a:pt x="216" y="485"/>
                    </a:cubicBezTo>
                    <a:cubicBezTo>
                      <a:pt x="197" y="485"/>
                      <a:pt x="182" y="469"/>
                      <a:pt x="182" y="450"/>
                    </a:cubicBezTo>
                    <a:cubicBezTo>
                      <a:pt x="182" y="450"/>
                      <a:pt x="182" y="428"/>
                      <a:pt x="182" y="410"/>
                    </a:cubicBezTo>
                    <a:cubicBezTo>
                      <a:pt x="164" y="410"/>
                      <a:pt x="141" y="410"/>
                      <a:pt x="141" y="410"/>
                    </a:cubicBezTo>
                    <a:cubicBezTo>
                      <a:pt x="122" y="410"/>
                      <a:pt x="107" y="394"/>
                      <a:pt x="107" y="375"/>
                    </a:cubicBezTo>
                    <a:cubicBezTo>
                      <a:pt x="107" y="318"/>
                      <a:pt x="107" y="318"/>
                      <a:pt x="107" y="318"/>
                    </a:cubicBezTo>
                    <a:cubicBezTo>
                      <a:pt x="107" y="299"/>
                      <a:pt x="122" y="283"/>
                      <a:pt x="141" y="283"/>
                    </a:cubicBezTo>
                    <a:cubicBezTo>
                      <a:pt x="141" y="283"/>
                      <a:pt x="164" y="283"/>
                      <a:pt x="182" y="283"/>
                    </a:cubicBezTo>
                    <a:cubicBezTo>
                      <a:pt x="182" y="265"/>
                      <a:pt x="182" y="243"/>
                      <a:pt x="182" y="243"/>
                    </a:cubicBezTo>
                    <a:cubicBezTo>
                      <a:pt x="182" y="224"/>
                      <a:pt x="197" y="208"/>
                      <a:pt x="216" y="208"/>
                    </a:cubicBezTo>
                    <a:cubicBezTo>
                      <a:pt x="230" y="208"/>
                      <a:pt x="230" y="208"/>
                      <a:pt x="230" y="208"/>
                    </a:cubicBezTo>
                    <a:cubicBezTo>
                      <a:pt x="232" y="201"/>
                      <a:pt x="233" y="194"/>
                      <a:pt x="233" y="186"/>
                    </a:cubicBezTo>
                    <a:cubicBezTo>
                      <a:pt x="233" y="135"/>
                      <a:pt x="191" y="94"/>
                      <a:pt x="140" y="94"/>
                    </a:cubicBezTo>
                    <a:cubicBezTo>
                      <a:pt x="89" y="94"/>
                      <a:pt x="47" y="135"/>
                      <a:pt x="47" y="186"/>
                    </a:cubicBezTo>
                    <a:cubicBezTo>
                      <a:pt x="47" y="218"/>
                      <a:pt x="63" y="245"/>
                      <a:pt x="86" y="262"/>
                    </a:cubicBezTo>
                    <a:cubicBezTo>
                      <a:pt x="38" y="263"/>
                      <a:pt x="0" y="302"/>
                      <a:pt x="0" y="349"/>
                    </a:cubicBezTo>
                    <a:cubicBezTo>
                      <a:pt x="0" y="513"/>
                      <a:pt x="0" y="513"/>
                      <a:pt x="0" y="513"/>
                    </a:cubicBezTo>
                    <a:cubicBezTo>
                      <a:pt x="444" y="513"/>
                      <a:pt x="444" y="513"/>
                      <a:pt x="444" y="513"/>
                    </a:cubicBezTo>
                    <a:cubicBezTo>
                      <a:pt x="444" y="312"/>
                      <a:pt x="444" y="312"/>
                      <a:pt x="444" y="312"/>
                    </a:cubicBezTo>
                    <a:cubicBezTo>
                      <a:pt x="444" y="254"/>
                      <a:pt x="397" y="207"/>
                      <a:pt x="338" y="20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" name="组合 2"/>
          <p:cNvGrpSpPr/>
          <p:nvPr/>
        </p:nvGrpSpPr>
        <p:grpSpPr bwMode="auto">
          <a:xfrm>
            <a:off x="3409950" y="4014788"/>
            <a:ext cx="2593975" cy="431800"/>
            <a:chOff x="3409698" y="4015274"/>
            <a:chExt cx="2593463" cy="432003"/>
          </a:xfrm>
        </p:grpSpPr>
        <p:sp>
          <p:nvSpPr>
            <p:cNvPr id="52" name="Rectangle 50"/>
            <p:cNvSpPr/>
            <p:nvPr/>
          </p:nvSpPr>
          <p:spPr bwMode="auto">
            <a:xfrm>
              <a:off x="3409698" y="4015274"/>
              <a:ext cx="2593463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矩形 78"/>
            <p:cNvSpPr/>
            <p:nvPr/>
          </p:nvSpPr>
          <p:spPr>
            <a:xfrm>
              <a:off x="3969975" y="4047039"/>
              <a:ext cx="1107856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44" name="Freeform 51"/>
            <p:cNvSpPr>
              <a:spLocks noEditPoints="1"/>
            </p:cNvSpPr>
            <p:nvPr/>
          </p:nvSpPr>
          <p:spPr bwMode="auto">
            <a:xfrm rot="10800000" flipH="1" flipV="1">
              <a:off x="5104257" y="4159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2545" name="组合 38"/>
            <p:cNvGrpSpPr/>
            <p:nvPr/>
          </p:nvGrpSpPr>
          <p:grpSpPr bwMode="auto">
            <a:xfrm>
              <a:off x="5486121" y="4073116"/>
              <a:ext cx="316710" cy="316319"/>
              <a:chOff x="9809163" y="863600"/>
              <a:chExt cx="2578100" cy="2574926"/>
            </a:xfrm>
          </p:grpSpPr>
          <p:sp>
            <p:nvSpPr>
              <p:cNvPr id="27" name="Freeform 26"/>
              <p:cNvSpPr/>
              <p:nvPr/>
            </p:nvSpPr>
            <p:spPr bwMode="auto">
              <a:xfrm>
                <a:off x="9806046" y="858184"/>
                <a:ext cx="2584017" cy="2585758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5 h 687"/>
                  <a:gd name="T8" fmla="*/ 687 w 687"/>
                  <a:gd name="T9" fmla="*/ 62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47" name="Freeform 27"/>
              <p:cNvSpPr/>
              <p:nvPr/>
            </p:nvSpPr>
            <p:spPr bwMode="auto">
              <a:xfrm>
                <a:off x="9990138" y="1293813"/>
                <a:ext cx="2397125" cy="2144713"/>
              </a:xfrm>
              <a:custGeom>
                <a:avLst/>
                <a:gdLst>
                  <a:gd name="T0" fmla="*/ 2147483646 w 639"/>
                  <a:gd name="T1" fmla="*/ 2147483646 h 572"/>
                  <a:gd name="T2" fmla="*/ 2147483646 w 639"/>
                  <a:gd name="T3" fmla="*/ 2147483646 h 572"/>
                  <a:gd name="T4" fmla="*/ 2147483646 w 639"/>
                  <a:gd name="T5" fmla="*/ 2147483646 h 572"/>
                  <a:gd name="T6" fmla="*/ 2147483646 w 639"/>
                  <a:gd name="T7" fmla="*/ 2147483646 h 572"/>
                  <a:gd name="T8" fmla="*/ 2147483646 w 639"/>
                  <a:gd name="T9" fmla="*/ 2147483646 h 572"/>
                  <a:gd name="T10" fmla="*/ 2147483646 w 639"/>
                  <a:gd name="T11" fmla="*/ 2147483646 h 572"/>
                  <a:gd name="T12" fmla="*/ 2147483646 w 639"/>
                  <a:gd name="T13" fmla="*/ 2147483646 h 572"/>
                  <a:gd name="T14" fmla="*/ 2147483646 w 639"/>
                  <a:gd name="T15" fmla="*/ 2147483646 h 572"/>
                  <a:gd name="T16" fmla="*/ 2147483646 w 639"/>
                  <a:gd name="T17" fmla="*/ 0 h 572"/>
                  <a:gd name="T18" fmla="*/ 2147483646 w 639"/>
                  <a:gd name="T19" fmla="*/ 2147483646 h 572"/>
                  <a:gd name="T20" fmla="*/ 2147483646 w 639"/>
                  <a:gd name="T21" fmla="*/ 2147483646 h 572"/>
                  <a:gd name="T22" fmla="*/ 0 w 639"/>
                  <a:gd name="T23" fmla="*/ 2147483646 h 572"/>
                  <a:gd name="T24" fmla="*/ 2147483646 w 639"/>
                  <a:gd name="T25" fmla="*/ 2147483646 h 572"/>
                  <a:gd name="T26" fmla="*/ 2147483646 w 639"/>
                  <a:gd name="T27" fmla="*/ 2147483646 h 572"/>
                  <a:gd name="T28" fmla="*/ 2147483646 w 639"/>
                  <a:gd name="T29" fmla="*/ 2147483646 h 572"/>
                  <a:gd name="T30" fmla="*/ 2147483646 w 639"/>
                  <a:gd name="T31" fmla="*/ 2147483646 h 572"/>
                  <a:gd name="T32" fmla="*/ 2147483646 w 639"/>
                  <a:gd name="T33" fmla="*/ 2147483646 h 572"/>
                  <a:gd name="T34" fmla="*/ 2147483646 w 639"/>
                  <a:gd name="T35" fmla="*/ 2147483646 h 572"/>
                  <a:gd name="T36" fmla="*/ 2147483646 w 639"/>
                  <a:gd name="T37" fmla="*/ 2147483646 h 572"/>
                  <a:gd name="T38" fmla="*/ 2147483646 w 639"/>
                  <a:gd name="T39" fmla="*/ 2147483646 h 572"/>
                  <a:gd name="T40" fmla="*/ 2147483646 w 639"/>
                  <a:gd name="T41" fmla="*/ 2147483646 h 5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639" h="572">
                    <a:moveTo>
                      <a:pt x="552" y="187"/>
                    </a:moveTo>
                    <a:cubicBezTo>
                      <a:pt x="542" y="197"/>
                      <a:pt x="542" y="197"/>
                      <a:pt x="542" y="197"/>
                    </a:cubicBezTo>
                    <a:cubicBezTo>
                      <a:pt x="433" y="88"/>
                      <a:pt x="433" y="88"/>
                      <a:pt x="433" y="88"/>
                    </a:cubicBezTo>
                    <a:cubicBezTo>
                      <a:pt x="385" y="62"/>
                      <a:pt x="385" y="62"/>
                      <a:pt x="385" y="62"/>
                    </a:cubicBezTo>
                    <a:cubicBezTo>
                      <a:pt x="321" y="34"/>
                      <a:pt x="321" y="34"/>
                      <a:pt x="321" y="34"/>
                    </a:cubicBezTo>
                    <a:cubicBezTo>
                      <a:pt x="454" y="167"/>
                      <a:pt x="454" y="167"/>
                      <a:pt x="454" y="167"/>
                    </a:cubicBezTo>
                    <a:cubicBezTo>
                      <a:pt x="440" y="158"/>
                      <a:pt x="427" y="173"/>
                      <a:pt x="413" y="165"/>
                    </a:cubicBezTo>
                    <a:cubicBezTo>
                      <a:pt x="402" y="157"/>
                      <a:pt x="377" y="134"/>
                      <a:pt x="379" y="118"/>
                    </a:cubicBezTo>
                    <a:cubicBezTo>
                      <a:pt x="261" y="0"/>
                      <a:pt x="261" y="0"/>
                      <a:pt x="261" y="0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178" y="422"/>
                      <a:pt x="178" y="422"/>
                      <a:pt x="178" y="422"/>
                    </a:cubicBezTo>
                    <a:cubicBezTo>
                      <a:pt x="97" y="502"/>
                      <a:pt x="97" y="502"/>
                      <a:pt x="97" y="502"/>
                    </a:cubicBezTo>
                    <a:cubicBezTo>
                      <a:pt x="167" y="572"/>
                      <a:pt x="167" y="572"/>
                      <a:pt x="167" y="572"/>
                    </a:cubicBezTo>
                    <a:cubicBezTo>
                      <a:pt x="576" y="572"/>
                      <a:pt x="576" y="572"/>
                      <a:pt x="576" y="572"/>
                    </a:cubicBezTo>
                    <a:cubicBezTo>
                      <a:pt x="611" y="572"/>
                      <a:pt x="639" y="544"/>
                      <a:pt x="639" y="510"/>
                    </a:cubicBezTo>
                    <a:cubicBezTo>
                      <a:pt x="639" y="433"/>
                      <a:pt x="639" y="433"/>
                      <a:pt x="639" y="433"/>
                    </a:cubicBezTo>
                    <a:cubicBezTo>
                      <a:pt x="639" y="289"/>
                      <a:pt x="639" y="289"/>
                      <a:pt x="639" y="289"/>
                    </a:cubicBezTo>
                    <a:cubicBezTo>
                      <a:pt x="639" y="273"/>
                      <a:pt x="639" y="273"/>
                      <a:pt x="639" y="273"/>
                    </a:cubicBezTo>
                    <a:lnTo>
                      <a:pt x="552" y="187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48" name="Freeform 28"/>
              <p:cNvSpPr/>
              <p:nvPr/>
            </p:nvSpPr>
            <p:spPr bwMode="auto">
              <a:xfrm>
                <a:off x="11520488" y="2535238"/>
                <a:ext cx="319088" cy="657225"/>
              </a:xfrm>
              <a:custGeom>
                <a:avLst/>
                <a:gdLst>
                  <a:gd name="T0" fmla="*/ 2147483646 w 85"/>
                  <a:gd name="T1" fmla="*/ 2147483646 h 175"/>
                  <a:gd name="T2" fmla="*/ 2147483646 w 85"/>
                  <a:gd name="T3" fmla="*/ 2147483646 h 175"/>
                  <a:gd name="T4" fmla="*/ 2147483646 w 85"/>
                  <a:gd name="T5" fmla="*/ 0 h 175"/>
                  <a:gd name="T6" fmla="*/ 0 w 85"/>
                  <a:gd name="T7" fmla="*/ 2147483646 h 175"/>
                  <a:gd name="T8" fmla="*/ 2147483646 w 85"/>
                  <a:gd name="T9" fmla="*/ 2147483646 h 175"/>
                  <a:gd name="T10" fmla="*/ 2147483646 w 85"/>
                  <a:gd name="T11" fmla="*/ 2147483646 h 175"/>
                  <a:gd name="T12" fmla="*/ 2147483646 w 85"/>
                  <a:gd name="T13" fmla="*/ 2147483646 h 175"/>
                  <a:gd name="T14" fmla="*/ 2147483646 w 85"/>
                  <a:gd name="T15" fmla="*/ 2147483646 h 175"/>
                  <a:gd name="T16" fmla="*/ 2147483646 w 85"/>
                  <a:gd name="T17" fmla="*/ 2147483646 h 1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5" h="175">
                    <a:moveTo>
                      <a:pt x="49" y="70"/>
                    </a:moveTo>
                    <a:cubicBezTo>
                      <a:pt x="59" y="63"/>
                      <a:pt x="65" y="51"/>
                      <a:pt x="65" y="38"/>
                    </a:cubicBezTo>
                    <a:cubicBezTo>
                      <a:pt x="65" y="17"/>
                      <a:pt x="48" y="0"/>
                      <a:pt x="26" y="0"/>
                    </a:cubicBezTo>
                    <a:cubicBezTo>
                      <a:pt x="16" y="0"/>
                      <a:pt x="7" y="3"/>
                      <a:pt x="0" y="10"/>
                    </a:cubicBezTo>
                    <a:cubicBezTo>
                      <a:pt x="5" y="20"/>
                      <a:pt x="8" y="32"/>
                      <a:pt x="8" y="44"/>
                    </a:cubicBezTo>
                    <a:cubicBezTo>
                      <a:pt x="8" y="175"/>
                      <a:pt x="8" y="175"/>
                      <a:pt x="8" y="175"/>
                    </a:cubicBezTo>
                    <a:cubicBezTo>
                      <a:pt x="85" y="175"/>
                      <a:pt x="85" y="175"/>
                      <a:pt x="85" y="175"/>
                    </a:cubicBezTo>
                    <a:cubicBezTo>
                      <a:pt x="85" y="106"/>
                      <a:pt x="85" y="106"/>
                      <a:pt x="85" y="106"/>
                    </a:cubicBezTo>
                    <a:cubicBezTo>
                      <a:pt x="85" y="87"/>
                      <a:pt x="69" y="70"/>
                      <a:pt x="49" y="7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49" name="Freeform 29"/>
              <p:cNvSpPr/>
              <p:nvPr/>
            </p:nvSpPr>
            <p:spPr bwMode="auto">
              <a:xfrm>
                <a:off x="10769601" y="1935163"/>
                <a:ext cx="679450" cy="1257300"/>
              </a:xfrm>
              <a:custGeom>
                <a:avLst/>
                <a:gdLst>
                  <a:gd name="T0" fmla="*/ 2147483646 w 181"/>
                  <a:gd name="T1" fmla="*/ 2147483646 h 335"/>
                  <a:gd name="T2" fmla="*/ 2147483646 w 181"/>
                  <a:gd name="T3" fmla="*/ 2147483646 h 335"/>
                  <a:gd name="T4" fmla="*/ 2147483646 w 181"/>
                  <a:gd name="T5" fmla="*/ 0 h 335"/>
                  <a:gd name="T6" fmla="*/ 0 w 181"/>
                  <a:gd name="T7" fmla="*/ 2147483646 h 335"/>
                  <a:gd name="T8" fmla="*/ 2147483646 w 181"/>
                  <a:gd name="T9" fmla="*/ 2147483646 h 335"/>
                  <a:gd name="T10" fmla="*/ 2147483646 w 181"/>
                  <a:gd name="T11" fmla="*/ 2147483646 h 335"/>
                  <a:gd name="T12" fmla="*/ 2147483646 w 181"/>
                  <a:gd name="T13" fmla="*/ 2147483646 h 335"/>
                  <a:gd name="T14" fmla="*/ 2147483646 w 181"/>
                  <a:gd name="T15" fmla="*/ 2147483646 h 335"/>
                  <a:gd name="T16" fmla="*/ 2147483646 w 181"/>
                  <a:gd name="T17" fmla="*/ 2147483646 h 335"/>
                  <a:gd name="T18" fmla="*/ 2147483646 w 181"/>
                  <a:gd name="T19" fmla="*/ 2147483646 h 335"/>
                  <a:gd name="T20" fmla="*/ 2147483646 w 181"/>
                  <a:gd name="T21" fmla="*/ 2147483646 h 33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1" h="335">
                    <a:moveTo>
                      <a:pt x="112" y="134"/>
                    </a:moveTo>
                    <a:cubicBezTo>
                      <a:pt x="131" y="121"/>
                      <a:pt x="143" y="99"/>
                      <a:pt x="143" y="74"/>
                    </a:cubicBezTo>
                    <a:cubicBezTo>
                      <a:pt x="143" y="33"/>
                      <a:pt x="110" y="0"/>
                      <a:pt x="69" y="0"/>
                    </a:cubicBezTo>
                    <a:cubicBezTo>
                      <a:pt x="37" y="0"/>
                      <a:pt x="10" y="20"/>
                      <a:pt x="0" y="48"/>
                    </a:cubicBezTo>
                    <a:cubicBezTo>
                      <a:pt x="33" y="56"/>
                      <a:pt x="58" y="86"/>
                      <a:pt x="58" y="122"/>
                    </a:cubicBezTo>
                    <a:cubicBezTo>
                      <a:pt x="58" y="136"/>
                      <a:pt x="54" y="150"/>
                      <a:pt x="46" y="162"/>
                    </a:cubicBezTo>
                    <a:cubicBezTo>
                      <a:pt x="72" y="173"/>
                      <a:pt x="89" y="198"/>
                      <a:pt x="89" y="228"/>
                    </a:cubicBezTo>
                    <a:cubicBezTo>
                      <a:pt x="89" y="335"/>
                      <a:pt x="89" y="335"/>
                      <a:pt x="89" y="335"/>
                    </a:cubicBezTo>
                    <a:cubicBezTo>
                      <a:pt x="181" y="335"/>
                      <a:pt x="181" y="335"/>
                      <a:pt x="181" y="335"/>
                    </a:cubicBezTo>
                    <a:cubicBezTo>
                      <a:pt x="181" y="204"/>
                      <a:pt x="181" y="204"/>
                      <a:pt x="181" y="204"/>
                    </a:cubicBezTo>
                    <a:cubicBezTo>
                      <a:pt x="181" y="166"/>
                      <a:pt x="150" y="135"/>
                      <a:pt x="112" y="1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50" name="Freeform 30"/>
              <p:cNvSpPr/>
              <p:nvPr/>
            </p:nvSpPr>
            <p:spPr bwMode="auto">
              <a:xfrm>
                <a:off x="10345738" y="2209800"/>
                <a:ext cx="660400" cy="982663"/>
              </a:xfrm>
              <a:custGeom>
                <a:avLst/>
                <a:gdLst>
                  <a:gd name="T0" fmla="*/ 2147483646 w 176"/>
                  <a:gd name="T1" fmla="*/ 2147483646 h 262"/>
                  <a:gd name="T2" fmla="*/ 2147483646 w 176"/>
                  <a:gd name="T3" fmla="*/ 2147483646 h 262"/>
                  <a:gd name="T4" fmla="*/ 2147483646 w 176"/>
                  <a:gd name="T5" fmla="*/ 0 h 262"/>
                  <a:gd name="T6" fmla="*/ 2147483646 w 176"/>
                  <a:gd name="T7" fmla="*/ 2147483646 h 262"/>
                  <a:gd name="T8" fmla="*/ 2147483646 w 176"/>
                  <a:gd name="T9" fmla="*/ 2147483646 h 262"/>
                  <a:gd name="T10" fmla="*/ 0 w 176"/>
                  <a:gd name="T11" fmla="*/ 2147483646 h 262"/>
                  <a:gd name="T12" fmla="*/ 0 w 176"/>
                  <a:gd name="T13" fmla="*/ 2147483646 h 262"/>
                  <a:gd name="T14" fmla="*/ 2147483646 w 176"/>
                  <a:gd name="T15" fmla="*/ 2147483646 h 262"/>
                  <a:gd name="T16" fmla="*/ 2147483646 w 176"/>
                  <a:gd name="T17" fmla="*/ 2147483646 h 262"/>
                  <a:gd name="T18" fmla="*/ 2147483646 w 176"/>
                  <a:gd name="T19" fmla="*/ 2147483646 h 26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6" h="262">
                    <a:moveTo>
                      <a:pt x="122" y="105"/>
                    </a:moveTo>
                    <a:cubicBezTo>
                      <a:pt x="136" y="94"/>
                      <a:pt x="146" y="77"/>
                      <a:pt x="146" y="58"/>
                    </a:cubicBezTo>
                    <a:cubicBezTo>
                      <a:pt x="146" y="26"/>
                      <a:pt x="120" y="0"/>
                      <a:pt x="88" y="0"/>
                    </a:cubicBezTo>
                    <a:cubicBezTo>
                      <a:pt x="56" y="0"/>
                      <a:pt x="30" y="26"/>
                      <a:pt x="30" y="58"/>
                    </a:cubicBezTo>
                    <a:cubicBezTo>
                      <a:pt x="30" y="77"/>
                      <a:pt x="40" y="94"/>
                      <a:pt x="55" y="105"/>
                    </a:cubicBezTo>
                    <a:cubicBezTo>
                      <a:pt x="25" y="106"/>
                      <a:pt x="0" y="130"/>
                      <a:pt x="0" y="159"/>
                    </a:cubicBezTo>
                    <a:cubicBezTo>
                      <a:pt x="0" y="262"/>
                      <a:pt x="0" y="262"/>
                      <a:pt x="0" y="262"/>
                    </a:cubicBezTo>
                    <a:cubicBezTo>
                      <a:pt x="176" y="262"/>
                      <a:pt x="176" y="262"/>
                      <a:pt x="176" y="262"/>
                    </a:cubicBezTo>
                    <a:cubicBezTo>
                      <a:pt x="176" y="159"/>
                      <a:pt x="176" y="159"/>
                      <a:pt x="176" y="159"/>
                    </a:cubicBezTo>
                    <a:cubicBezTo>
                      <a:pt x="176" y="130"/>
                      <a:pt x="152" y="106"/>
                      <a:pt x="122" y="10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51" name="Freeform 31"/>
              <p:cNvSpPr/>
              <p:nvPr/>
            </p:nvSpPr>
            <p:spPr bwMode="auto">
              <a:xfrm>
                <a:off x="9974263" y="1282700"/>
                <a:ext cx="1017588" cy="930275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0 w 271"/>
                  <a:gd name="T7" fmla="*/ 2147483646 h 248"/>
                  <a:gd name="T8" fmla="*/ 0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266" y="0"/>
                    </a:moveTo>
                    <a:cubicBezTo>
                      <a:pt x="266" y="0"/>
                      <a:pt x="257" y="7"/>
                      <a:pt x="225" y="20"/>
                    </a:cubicBezTo>
                    <a:cubicBezTo>
                      <a:pt x="105" y="69"/>
                      <a:pt x="85" y="136"/>
                      <a:pt x="72" y="160"/>
                    </a:cubicBezTo>
                    <a:cubicBezTo>
                      <a:pt x="52" y="194"/>
                      <a:pt x="0" y="188"/>
                      <a:pt x="0" y="188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23" y="248"/>
                      <a:pt x="61" y="245"/>
                      <a:pt x="82" y="238"/>
                    </a:cubicBezTo>
                    <a:cubicBezTo>
                      <a:pt x="104" y="231"/>
                      <a:pt x="123" y="222"/>
                      <a:pt x="134" y="215"/>
                    </a:cubicBezTo>
                    <a:cubicBezTo>
                      <a:pt x="165" y="195"/>
                      <a:pt x="175" y="176"/>
                      <a:pt x="186" y="154"/>
                    </a:cubicBezTo>
                    <a:cubicBezTo>
                      <a:pt x="197" y="133"/>
                      <a:pt x="210" y="113"/>
                      <a:pt x="199" y="103"/>
                    </a:cubicBezTo>
                    <a:cubicBezTo>
                      <a:pt x="188" y="93"/>
                      <a:pt x="140" y="179"/>
                      <a:pt x="135" y="138"/>
                    </a:cubicBezTo>
                    <a:cubicBezTo>
                      <a:pt x="133" y="111"/>
                      <a:pt x="193" y="61"/>
                      <a:pt x="223" y="44"/>
                    </a:cubicBezTo>
                    <a:cubicBezTo>
                      <a:pt x="254" y="28"/>
                      <a:pt x="257" y="28"/>
                      <a:pt x="264" y="19"/>
                    </a:cubicBezTo>
                    <a:cubicBezTo>
                      <a:pt x="271" y="10"/>
                      <a:pt x="266" y="0"/>
                      <a:pt x="26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52" name="Freeform 32"/>
              <p:cNvSpPr/>
              <p:nvPr/>
            </p:nvSpPr>
            <p:spPr bwMode="auto">
              <a:xfrm>
                <a:off x="11047413" y="1282700"/>
                <a:ext cx="1017588" cy="930275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2147483646 w 271"/>
                  <a:gd name="T7" fmla="*/ 2147483646 h 248"/>
                  <a:gd name="T8" fmla="*/ 2147483646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5" y="0"/>
                    </a:moveTo>
                    <a:cubicBezTo>
                      <a:pt x="5" y="0"/>
                      <a:pt x="14" y="7"/>
                      <a:pt x="46" y="20"/>
                    </a:cubicBezTo>
                    <a:cubicBezTo>
                      <a:pt x="166" y="69"/>
                      <a:pt x="186" y="136"/>
                      <a:pt x="199" y="160"/>
                    </a:cubicBezTo>
                    <a:cubicBezTo>
                      <a:pt x="219" y="194"/>
                      <a:pt x="271" y="188"/>
                      <a:pt x="271" y="188"/>
                    </a:cubicBezTo>
                    <a:cubicBezTo>
                      <a:pt x="271" y="247"/>
                      <a:pt x="271" y="247"/>
                      <a:pt x="271" y="247"/>
                    </a:cubicBezTo>
                    <a:cubicBezTo>
                      <a:pt x="248" y="248"/>
                      <a:pt x="210" y="245"/>
                      <a:pt x="189" y="238"/>
                    </a:cubicBezTo>
                    <a:cubicBezTo>
                      <a:pt x="167" y="231"/>
                      <a:pt x="148" y="222"/>
                      <a:pt x="137" y="215"/>
                    </a:cubicBezTo>
                    <a:cubicBezTo>
                      <a:pt x="106" y="195"/>
                      <a:pt x="96" y="176"/>
                      <a:pt x="85" y="154"/>
                    </a:cubicBezTo>
                    <a:cubicBezTo>
                      <a:pt x="74" y="133"/>
                      <a:pt x="61" y="113"/>
                      <a:pt x="72" y="103"/>
                    </a:cubicBezTo>
                    <a:cubicBezTo>
                      <a:pt x="83" y="93"/>
                      <a:pt x="131" y="179"/>
                      <a:pt x="136" y="138"/>
                    </a:cubicBezTo>
                    <a:cubicBezTo>
                      <a:pt x="138" y="111"/>
                      <a:pt x="78" y="61"/>
                      <a:pt x="48" y="44"/>
                    </a:cubicBezTo>
                    <a:cubicBezTo>
                      <a:pt x="17" y="28"/>
                      <a:pt x="14" y="28"/>
                      <a:pt x="7" y="19"/>
                    </a:cubicBezTo>
                    <a:cubicBezTo>
                      <a:pt x="0" y="1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3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8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3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2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3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6" dur="3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3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0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3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3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8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3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2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5"/>
          <p:cNvCxnSpPr>
            <a:cxnSpLocks noChangeShapeType="1"/>
          </p:cNvCxnSpPr>
          <p:nvPr/>
        </p:nvCxnSpPr>
        <p:spPr bwMode="auto">
          <a:xfrm>
            <a:off x="1103313" y="3395663"/>
            <a:ext cx="6950075" cy="0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Straight Connector 6"/>
          <p:cNvCxnSpPr>
            <a:cxnSpLocks noChangeShapeType="1"/>
          </p:cNvCxnSpPr>
          <p:nvPr/>
        </p:nvCxnSpPr>
        <p:spPr bwMode="auto">
          <a:xfrm flipV="1">
            <a:off x="1133475" y="315753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Straight Connector 7"/>
          <p:cNvCxnSpPr>
            <a:cxnSpLocks noChangeShapeType="1"/>
          </p:cNvCxnSpPr>
          <p:nvPr/>
        </p:nvCxnSpPr>
        <p:spPr bwMode="auto">
          <a:xfrm flipV="1">
            <a:off x="3417888" y="315753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Connector 8"/>
          <p:cNvCxnSpPr>
            <a:cxnSpLocks noChangeShapeType="1"/>
          </p:cNvCxnSpPr>
          <p:nvPr/>
        </p:nvCxnSpPr>
        <p:spPr bwMode="auto">
          <a:xfrm flipV="1">
            <a:off x="5734050" y="315753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Rectangle 10"/>
          <p:cNvSpPr/>
          <p:nvPr/>
        </p:nvSpPr>
        <p:spPr bwMode="auto">
          <a:xfrm>
            <a:off x="1103313" y="1285875"/>
            <a:ext cx="5580062" cy="469900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Rectangle 11"/>
          <p:cNvSpPr/>
          <p:nvPr/>
        </p:nvSpPr>
        <p:spPr bwMode="auto">
          <a:xfrm>
            <a:off x="1103313" y="1871663"/>
            <a:ext cx="3340100" cy="468312"/>
          </a:xfrm>
          <a:prstGeom prst="rect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12"/>
          <p:cNvSpPr/>
          <p:nvPr/>
        </p:nvSpPr>
        <p:spPr bwMode="auto">
          <a:xfrm>
            <a:off x="1103313" y="2482850"/>
            <a:ext cx="1941512" cy="468313"/>
          </a:xfrm>
          <a:prstGeom prst="rect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13"/>
          <p:cNvCxnSpPr>
            <a:cxnSpLocks noChangeShapeType="1"/>
          </p:cNvCxnSpPr>
          <p:nvPr/>
        </p:nvCxnSpPr>
        <p:spPr bwMode="auto">
          <a:xfrm flipV="1">
            <a:off x="8018463" y="315753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8" name="矩形 57"/>
          <p:cNvSpPr>
            <a:spLocks noChangeArrowheads="1"/>
          </p:cNvSpPr>
          <p:nvPr/>
        </p:nvSpPr>
        <p:spPr bwMode="auto">
          <a:xfrm>
            <a:off x="5372100" y="1317625"/>
            <a:ext cx="725488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59" name="矩形 58"/>
          <p:cNvSpPr>
            <a:spLocks noChangeArrowheads="1"/>
          </p:cNvSpPr>
          <p:nvPr/>
        </p:nvSpPr>
        <p:spPr bwMode="auto">
          <a:xfrm>
            <a:off x="1816100" y="2514600"/>
            <a:ext cx="725488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60" name="矩形 59"/>
          <p:cNvSpPr>
            <a:spLocks noChangeArrowheads="1"/>
          </p:cNvSpPr>
          <p:nvPr/>
        </p:nvSpPr>
        <p:spPr bwMode="auto">
          <a:xfrm>
            <a:off x="3140075" y="1903413"/>
            <a:ext cx="725488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5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 bwMode="auto">
          <a:xfrm>
            <a:off x="1403350" y="3508375"/>
            <a:ext cx="1685925" cy="782638"/>
            <a:chOff x="1403648" y="3508614"/>
            <a:chExt cx="1685835" cy="782569"/>
          </a:xfrm>
        </p:grpSpPr>
        <p:sp>
          <p:nvSpPr>
            <p:cNvPr id="64" name="矩形 63"/>
            <p:cNvSpPr/>
            <p:nvPr/>
          </p:nvSpPr>
          <p:spPr>
            <a:xfrm>
              <a:off x="1403648" y="3508614"/>
              <a:ext cx="1685835" cy="78256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1" name="矩形 60"/>
            <p:cNvSpPr/>
            <p:nvPr/>
          </p:nvSpPr>
          <p:spPr>
            <a:xfrm>
              <a:off x="1403648" y="3537186"/>
              <a:ext cx="1679485" cy="71113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" name="组合 2"/>
          <p:cNvGrpSpPr/>
          <p:nvPr/>
        </p:nvGrpSpPr>
        <p:grpSpPr bwMode="auto">
          <a:xfrm>
            <a:off x="3706813" y="3508375"/>
            <a:ext cx="1685925" cy="782638"/>
            <a:chOff x="3706999" y="3508614"/>
            <a:chExt cx="1685836" cy="782569"/>
          </a:xfrm>
        </p:grpSpPr>
        <p:sp>
          <p:nvSpPr>
            <p:cNvPr id="65" name="矩形 64"/>
            <p:cNvSpPr/>
            <p:nvPr/>
          </p:nvSpPr>
          <p:spPr>
            <a:xfrm>
              <a:off x="3706999" y="3508614"/>
              <a:ext cx="1685836" cy="782569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矩形 65"/>
            <p:cNvSpPr/>
            <p:nvPr/>
          </p:nvSpPr>
          <p:spPr>
            <a:xfrm>
              <a:off x="3706999" y="3537186"/>
              <a:ext cx="1679486" cy="71113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" name="组合 3"/>
          <p:cNvGrpSpPr/>
          <p:nvPr/>
        </p:nvGrpSpPr>
        <p:grpSpPr bwMode="auto">
          <a:xfrm>
            <a:off x="6045200" y="3508375"/>
            <a:ext cx="1685925" cy="782638"/>
            <a:chOff x="6044992" y="3508614"/>
            <a:chExt cx="1685835" cy="782569"/>
          </a:xfrm>
        </p:grpSpPr>
        <p:sp>
          <p:nvSpPr>
            <p:cNvPr id="67" name="矩形 66"/>
            <p:cNvSpPr/>
            <p:nvPr/>
          </p:nvSpPr>
          <p:spPr>
            <a:xfrm>
              <a:off x="6044992" y="3508614"/>
              <a:ext cx="1685835" cy="78256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矩形 67"/>
            <p:cNvSpPr/>
            <p:nvPr/>
          </p:nvSpPr>
          <p:spPr>
            <a:xfrm>
              <a:off x="6044992" y="3537186"/>
              <a:ext cx="1679485" cy="71113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9" name="Rectangle 29"/>
          <p:cNvSpPr/>
          <p:nvPr/>
        </p:nvSpPr>
        <p:spPr>
          <a:xfrm>
            <a:off x="6702425" y="1379538"/>
            <a:ext cx="1384300" cy="360362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1545">
              <a:lnSpc>
                <a:spcPct val="85000"/>
              </a:lnSpc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文字</a:t>
            </a: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70" name="Rectangle 29"/>
          <p:cNvSpPr/>
          <p:nvPr/>
        </p:nvSpPr>
        <p:spPr>
          <a:xfrm>
            <a:off x="4448175" y="1938338"/>
            <a:ext cx="1384300" cy="360362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1545">
              <a:lnSpc>
                <a:spcPct val="85000"/>
              </a:lnSpc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文字</a:t>
            </a: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71" name="Rectangle 29"/>
          <p:cNvSpPr/>
          <p:nvPr/>
        </p:nvSpPr>
        <p:spPr>
          <a:xfrm>
            <a:off x="3054350" y="2538413"/>
            <a:ext cx="1384300" cy="360362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1545">
              <a:lnSpc>
                <a:spcPct val="85000"/>
              </a:lnSpc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文字</a:t>
            </a: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grpSp>
        <p:nvGrpSpPr>
          <p:cNvPr id="23571" name="组合 72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75" name="矩形 74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6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3600" name="组合 76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78" name="矩形 77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602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603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81" name="Freeform 51"/>
          <p:cNvSpPr>
            <a:spLocks noEditPoints="1"/>
          </p:cNvSpPr>
          <p:nvPr/>
        </p:nvSpPr>
        <p:spPr bwMode="auto">
          <a:xfrm rot="10800000" flipH="1" flipV="1">
            <a:off x="5124450" y="1449388"/>
            <a:ext cx="157163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2" name="Freeform 51"/>
          <p:cNvSpPr>
            <a:spLocks noEditPoints="1"/>
          </p:cNvSpPr>
          <p:nvPr/>
        </p:nvSpPr>
        <p:spPr bwMode="auto">
          <a:xfrm rot="10800000" flipH="1" flipV="1">
            <a:off x="2922588" y="2035175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3" name="Freeform 51"/>
          <p:cNvSpPr>
            <a:spLocks noEditPoints="1"/>
          </p:cNvSpPr>
          <p:nvPr/>
        </p:nvSpPr>
        <p:spPr bwMode="auto">
          <a:xfrm rot="10800000" flipH="1" flipV="1">
            <a:off x="1649413" y="2646363"/>
            <a:ext cx="158750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3575" name="组合 71"/>
          <p:cNvGrpSpPr/>
          <p:nvPr/>
        </p:nvGrpSpPr>
        <p:grpSpPr bwMode="auto">
          <a:xfrm>
            <a:off x="-1331913" y="2794000"/>
            <a:ext cx="336550" cy="336550"/>
            <a:chOff x="1989137" y="-1925638"/>
            <a:chExt cx="960438" cy="958850"/>
          </a:xfrm>
        </p:grpSpPr>
        <p:sp>
          <p:nvSpPr>
            <p:cNvPr id="84" name="Oval 56"/>
            <p:cNvSpPr>
              <a:spLocks noChangeArrowheads="1"/>
            </p:cNvSpPr>
            <p:nvPr/>
          </p:nvSpPr>
          <p:spPr bwMode="auto">
            <a:xfrm>
              <a:off x="1989137" y="-1925638"/>
              <a:ext cx="960438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95" name="Freeform 57"/>
            <p:cNvSpPr/>
            <p:nvPr/>
          </p:nvSpPr>
          <p:spPr bwMode="auto">
            <a:xfrm>
              <a:off x="2300287" y="-1685925"/>
              <a:ext cx="635000" cy="688975"/>
            </a:xfrm>
            <a:custGeom>
              <a:avLst/>
              <a:gdLst>
                <a:gd name="T0" fmla="*/ 2147483646 w 169"/>
                <a:gd name="T1" fmla="*/ 0 h 184"/>
                <a:gd name="T2" fmla="*/ 2147483646 w 169"/>
                <a:gd name="T3" fmla="*/ 2147483646 h 184"/>
                <a:gd name="T4" fmla="*/ 2147483646 w 169"/>
                <a:gd name="T5" fmla="*/ 2147483646 h 184"/>
                <a:gd name="T6" fmla="*/ 2147483646 w 169"/>
                <a:gd name="T7" fmla="*/ 2147483646 h 184"/>
                <a:gd name="T8" fmla="*/ 2147483646 w 169"/>
                <a:gd name="T9" fmla="*/ 2147483646 h 184"/>
                <a:gd name="T10" fmla="*/ 2147483646 w 169"/>
                <a:gd name="T11" fmla="*/ 2147483646 h 184"/>
                <a:gd name="T12" fmla="*/ 2147483646 w 169"/>
                <a:gd name="T13" fmla="*/ 2147483646 h 184"/>
                <a:gd name="T14" fmla="*/ 2147483646 w 169"/>
                <a:gd name="T15" fmla="*/ 2147483646 h 184"/>
                <a:gd name="T16" fmla="*/ 0 w 169"/>
                <a:gd name="T17" fmla="*/ 2147483646 h 184"/>
                <a:gd name="T18" fmla="*/ 2147483646 w 169"/>
                <a:gd name="T19" fmla="*/ 2147483646 h 184"/>
                <a:gd name="T20" fmla="*/ 2147483646 w 169"/>
                <a:gd name="T21" fmla="*/ 2147483646 h 184"/>
                <a:gd name="T22" fmla="*/ 2147483646 w 169"/>
                <a:gd name="T23" fmla="*/ 0 h 18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9" h="184">
                  <a:moveTo>
                    <a:pt x="73" y="0"/>
                  </a:move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184"/>
                    <a:pt x="91" y="184"/>
                    <a:pt x="91" y="184"/>
                  </a:cubicBezTo>
                  <a:cubicBezTo>
                    <a:pt x="129" y="169"/>
                    <a:pt x="158" y="136"/>
                    <a:pt x="169" y="96"/>
                  </a:cubicBezTo>
                  <a:cubicBezTo>
                    <a:pt x="73" y="0"/>
                    <a:pt x="73" y="0"/>
                    <a:pt x="73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6" name="Freeform 58"/>
            <p:cNvSpPr/>
            <p:nvPr/>
          </p:nvSpPr>
          <p:spPr bwMode="auto">
            <a:xfrm>
              <a:off x="2365375" y="-1622425"/>
              <a:ext cx="152400" cy="236538"/>
            </a:xfrm>
            <a:custGeom>
              <a:avLst/>
              <a:gdLst>
                <a:gd name="T0" fmla="*/ 2147483646 w 41"/>
                <a:gd name="T1" fmla="*/ 0 h 63"/>
                <a:gd name="T2" fmla="*/ 2147483646 w 41"/>
                <a:gd name="T3" fmla="*/ 0 h 63"/>
                <a:gd name="T4" fmla="*/ 2147483646 w 41"/>
                <a:gd name="T5" fmla="*/ 2147483646 h 63"/>
                <a:gd name="T6" fmla="*/ 0 w 41"/>
                <a:gd name="T7" fmla="*/ 2147483646 h 63"/>
                <a:gd name="T8" fmla="*/ 0 w 41"/>
                <a:gd name="T9" fmla="*/ 2147483646 h 63"/>
                <a:gd name="T10" fmla="*/ 2147483646 w 41"/>
                <a:gd name="T11" fmla="*/ 2147483646 h 63"/>
                <a:gd name="T12" fmla="*/ 2147483646 w 41"/>
                <a:gd name="T13" fmla="*/ 2147483646 h 63"/>
                <a:gd name="T14" fmla="*/ 2147483646 w 41"/>
                <a:gd name="T15" fmla="*/ 0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6" y="7"/>
                    <a:pt x="33" y="13"/>
                    <a:pt x="30" y="19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3"/>
                    <a:pt x="40" y="6"/>
                    <a:pt x="41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7" name="Freeform 59"/>
            <p:cNvSpPr>
              <a:spLocks noEditPoints="1"/>
            </p:cNvSpPr>
            <p:nvPr/>
          </p:nvSpPr>
          <p:spPr bwMode="auto">
            <a:xfrm>
              <a:off x="2300287" y="-1685925"/>
              <a:ext cx="338138" cy="479425"/>
            </a:xfrm>
            <a:custGeom>
              <a:avLst/>
              <a:gdLst>
                <a:gd name="T0" fmla="*/ 2147483646 w 90"/>
                <a:gd name="T1" fmla="*/ 2147483646 h 128"/>
                <a:gd name="T2" fmla="*/ 2147483646 w 90"/>
                <a:gd name="T3" fmla="*/ 2147483646 h 128"/>
                <a:gd name="T4" fmla="*/ 0 w 90"/>
                <a:gd name="T5" fmla="*/ 2147483646 h 128"/>
                <a:gd name="T6" fmla="*/ 0 w 90"/>
                <a:gd name="T7" fmla="*/ 2147483646 h 128"/>
                <a:gd name="T8" fmla="*/ 2147483646 w 90"/>
                <a:gd name="T9" fmla="*/ 0 h 128"/>
                <a:gd name="T10" fmla="*/ 2147483646 w 90"/>
                <a:gd name="T11" fmla="*/ 0 h 128"/>
                <a:gd name="T12" fmla="*/ 2147483646 w 90"/>
                <a:gd name="T13" fmla="*/ 2147483646 h 128"/>
                <a:gd name="T14" fmla="*/ 2147483646 w 90"/>
                <a:gd name="T15" fmla="*/ 2147483646 h 128"/>
                <a:gd name="T16" fmla="*/ 2147483646 w 90"/>
                <a:gd name="T17" fmla="*/ 2147483646 h 128"/>
                <a:gd name="T18" fmla="*/ 2147483646 w 90"/>
                <a:gd name="T19" fmla="*/ 2147483646 h 128"/>
                <a:gd name="T20" fmla="*/ 2147483646 w 90"/>
                <a:gd name="T21" fmla="*/ 2147483646 h 128"/>
                <a:gd name="T22" fmla="*/ 2147483646 w 90"/>
                <a:gd name="T23" fmla="*/ 2147483646 h 128"/>
                <a:gd name="T24" fmla="*/ 2147483646 w 90"/>
                <a:gd name="T25" fmla="*/ 2147483646 h 128"/>
                <a:gd name="T26" fmla="*/ 2147483646 w 90"/>
                <a:gd name="T27" fmla="*/ 2147483646 h 128"/>
                <a:gd name="T28" fmla="*/ 2147483646 w 90"/>
                <a:gd name="T29" fmla="*/ 2147483646 h 128"/>
                <a:gd name="T30" fmla="*/ 2147483646 w 90"/>
                <a:gd name="T31" fmla="*/ 2147483646 h 128"/>
                <a:gd name="T32" fmla="*/ 2147483646 w 90"/>
                <a:gd name="T33" fmla="*/ 2147483646 h 128"/>
                <a:gd name="T34" fmla="*/ 2147483646 w 90"/>
                <a:gd name="T35" fmla="*/ 2147483646 h 128"/>
                <a:gd name="T36" fmla="*/ 2147483646 w 90"/>
                <a:gd name="T37" fmla="*/ 2147483646 h 128"/>
                <a:gd name="T38" fmla="*/ 2147483646 w 90"/>
                <a:gd name="T39" fmla="*/ 2147483646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0" h="128">
                  <a:moveTo>
                    <a:pt x="57" y="128"/>
                  </a:move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lnTo>
                    <a:pt x="57" y="128"/>
                  </a:lnTo>
                  <a:close/>
                  <a:moveTo>
                    <a:pt x="57" y="80"/>
                  </a:moveTo>
                  <a:cubicBezTo>
                    <a:pt x="57" y="37"/>
                    <a:pt x="57" y="37"/>
                    <a:pt x="57" y="37"/>
                  </a:cubicBezTo>
                  <a:cubicBezTo>
                    <a:pt x="57" y="30"/>
                    <a:pt x="57" y="23"/>
                    <a:pt x="58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3" y="24"/>
                    <a:pt x="50" y="30"/>
                    <a:pt x="47" y="36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80"/>
                    <a:pt x="17" y="80"/>
                    <a:pt x="17" y="80"/>
                  </a:cubicBezTo>
                  <a:lnTo>
                    <a:pt x="5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8" name="组合 87"/>
          <p:cNvGrpSpPr/>
          <p:nvPr/>
        </p:nvGrpSpPr>
        <p:grpSpPr bwMode="auto">
          <a:xfrm>
            <a:off x="6097588" y="1352550"/>
            <a:ext cx="336550" cy="336550"/>
            <a:chOff x="730250" y="-1925638"/>
            <a:chExt cx="958850" cy="958850"/>
          </a:xfrm>
        </p:grpSpPr>
        <p:sp>
          <p:nvSpPr>
            <p:cNvPr id="89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90" name="Freeform 61"/>
            <p:cNvSpPr/>
            <p:nvPr/>
          </p:nvSpPr>
          <p:spPr bwMode="auto">
            <a:xfrm>
              <a:off x="1179512" y="-1685925"/>
              <a:ext cx="476250" cy="685800"/>
            </a:xfrm>
            <a:custGeom>
              <a:avLst/>
              <a:gdLst>
                <a:gd name="T0" fmla="*/ 2147483646 w 127"/>
                <a:gd name="T1" fmla="*/ 0 h 183"/>
                <a:gd name="T2" fmla="*/ 2147483646 w 127"/>
                <a:gd name="T3" fmla="*/ 2147483646 h 183"/>
                <a:gd name="T4" fmla="*/ 0 w 127"/>
                <a:gd name="T5" fmla="*/ 2147483646 h 183"/>
                <a:gd name="T6" fmla="*/ 2147483646 w 127"/>
                <a:gd name="T7" fmla="*/ 2147483646 h 183"/>
                <a:gd name="T8" fmla="*/ 2147483646 w 127"/>
                <a:gd name="T9" fmla="*/ 2147483646 h 183"/>
                <a:gd name="T10" fmla="*/ 2147483646 w 127"/>
                <a:gd name="T11" fmla="*/ 0 h 18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7" h="183">
                  <a:moveTo>
                    <a:pt x="16" y="0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55" y="183"/>
                    <a:pt x="55" y="183"/>
                    <a:pt x="55" y="183"/>
                  </a:cubicBezTo>
                  <a:cubicBezTo>
                    <a:pt x="88" y="170"/>
                    <a:pt x="114" y="144"/>
                    <a:pt x="127" y="1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1" name="Freeform 62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2" name="Freeform 63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3" name="Freeform 64"/>
            <p:cNvSpPr/>
            <p:nvPr/>
          </p:nvSpPr>
          <p:spPr bwMode="auto">
            <a:xfrm>
              <a:off x="1085850" y="-1685925"/>
              <a:ext cx="153988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94" name="组合 93"/>
          <p:cNvGrpSpPr/>
          <p:nvPr/>
        </p:nvGrpSpPr>
        <p:grpSpPr bwMode="auto">
          <a:xfrm>
            <a:off x="3865563" y="1938338"/>
            <a:ext cx="334962" cy="334962"/>
            <a:chOff x="-1789113" y="-1925638"/>
            <a:chExt cx="958850" cy="958850"/>
          </a:xfrm>
        </p:grpSpPr>
        <p:sp>
          <p:nvSpPr>
            <p:cNvPr id="95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86" name="Freeform 66"/>
            <p:cNvSpPr/>
            <p:nvPr/>
          </p:nvSpPr>
          <p:spPr bwMode="auto">
            <a:xfrm>
              <a:off x="-1455738" y="-1649413"/>
              <a:ext cx="600075" cy="676275"/>
            </a:xfrm>
            <a:custGeom>
              <a:avLst/>
              <a:gdLst>
                <a:gd name="T0" fmla="*/ 2147483646 w 160"/>
                <a:gd name="T1" fmla="*/ 0 h 180"/>
                <a:gd name="T2" fmla="*/ 2147483646 w 160"/>
                <a:gd name="T3" fmla="*/ 2147483646 h 180"/>
                <a:gd name="T4" fmla="*/ 2147483646 w 160"/>
                <a:gd name="T5" fmla="*/ 2147483646 h 180"/>
                <a:gd name="T6" fmla="*/ 2147483646 w 160"/>
                <a:gd name="T7" fmla="*/ 2147483646 h 180"/>
                <a:gd name="T8" fmla="*/ 2147483646 w 160"/>
                <a:gd name="T9" fmla="*/ 2147483646 h 180"/>
                <a:gd name="T10" fmla="*/ 2147483646 w 160"/>
                <a:gd name="T11" fmla="*/ 2147483646 h 180"/>
                <a:gd name="T12" fmla="*/ 2147483646 w 160"/>
                <a:gd name="T13" fmla="*/ 2147483646 h 180"/>
                <a:gd name="T14" fmla="*/ 0 w 160"/>
                <a:gd name="T15" fmla="*/ 2147483646 h 180"/>
                <a:gd name="T16" fmla="*/ 2147483646 w 160"/>
                <a:gd name="T17" fmla="*/ 2147483646 h 180"/>
                <a:gd name="T18" fmla="*/ 2147483646 w 160"/>
                <a:gd name="T19" fmla="*/ 2147483646 h 180"/>
                <a:gd name="T20" fmla="*/ 2147483646 w 160"/>
                <a:gd name="T21" fmla="*/ 0 h 1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0" h="180">
                  <a:moveTo>
                    <a:pt x="65" y="0"/>
                  </a:moveTo>
                  <a:cubicBezTo>
                    <a:pt x="67" y="3"/>
                    <a:pt x="75" y="12"/>
                    <a:pt x="75" y="27"/>
                  </a:cubicBezTo>
                  <a:cubicBezTo>
                    <a:pt x="75" y="50"/>
                    <a:pt x="59" y="69"/>
                    <a:pt x="33" y="94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62" y="180"/>
                    <a:pt x="62" y="180"/>
                    <a:pt x="62" y="180"/>
                  </a:cubicBezTo>
                  <a:cubicBezTo>
                    <a:pt x="108" y="172"/>
                    <a:pt x="145" y="139"/>
                    <a:pt x="160" y="95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7" name="Freeform 67"/>
            <p:cNvSpPr/>
            <p:nvPr/>
          </p:nvSpPr>
          <p:spPr bwMode="auto">
            <a:xfrm>
              <a:off x="-1425575" y="-1633538"/>
              <a:ext cx="187325" cy="190500"/>
            </a:xfrm>
            <a:custGeom>
              <a:avLst/>
              <a:gdLst>
                <a:gd name="T0" fmla="*/ 2147483646 w 50"/>
                <a:gd name="T1" fmla="*/ 0 h 51"/>
                <a:gd name="T2" fmla="*/ 0 w 50"/>
                <a:gd name="T3" fmla="*/ 2147483646 h 51"/>
                <a:gd name="T4" fmla="*/ 2147483646 w 50"/>
                <a:gd name="T5" fmla="*/ 2147483646 h 51"/>
                <a:gd name="T6" fmla="*/ 2147483646 w 50"/>
                <a:gd name="T7" fmla="*/ 2147483646 h 51"/>
                <a:gd name="T8" fmla="*/ 2147483646 w 50"/>
                <a:gd name="T9" fmla="*/ 0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1">
                  <a:moveTo>
                    <a:pt x="26" y="0"/>
                  </a:moveTo>
                  <a:cubicBezTo>
                    <a:pt x="15" y="0"/>
                    <a:pt x="6" y="6"/>
                    <a:pt x="0" y="1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7" y="42"/>
                    <a:pt x="50" y="34"/>
                    <a:pt x="50" y="25"/>
                  </a:cubicBezTo>
                  <a:cubicBezTo>
                    <a:pt x="50" y="12"/>
                    <a:pt x="44" y="0"/>
                    <a:pt x="26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8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99" name="组合 98"/>
          <p:cNvGrpSpPr/>
          <p:nvPr/>
        </p:nvGrpSpPr>
        <p:grpSpPr bwMode="auto">
          <a:xfrm>
            <a:off x="2541588" y="2547938"/>
            <a:ext cx="338137" cy="339725"/>
            <a:chOff x="-2120900" y="2405063"/>
            <a:chExt cx="968375" cy="968375"/>
          </a:xfrm>
        </p:grpSpPr>
        <p:sp>
          <p:nvSpPr>
            <p:cNvPr id="23579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1" name="Oval 73"/>
            <p:cNvSpPr>
              <a:spLocks noChangeArrowheads="1"/>
            </p:cNvSpPr>
            <p:nvPr/>
          </p:nvSpPr>
          <p:spPr bwMode="auto">
            <a:xfrm>
              <a:off x="-2116355" y="2409587"/>
              <a:ext cx="959285" cy="959325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81" name="Freeform 74"/>
            <p:cNvSpPr/>
            <p:nvPr/>
          </p:nvSpPr>
          <p:spPr bwMode="auto">
            <a:xfrm>
              <a:off x="-1711325" y="2897188"/>
              <a:ext cx="153988" cy="142875"/>
            </a:xfrm>
            <a:custGeom>
              <a:avLst/>
              <a:gdLst>
                <a:gd name="T0" fmla="*/ 2147483646 w 41"/>
                <a:gd name="T1" fmla="*/ 0 h 38"/>
                <a:gd name="T2" fmla="*/ 0 w 41"/>
                <a:gd name="T3" fmla="*/ 0 h 38"/>
                <a:gd name="T4" fmla="*/ 2147483646 w 41"/>
                <a:gd name="T5" fmla="*/ 2147483646 h 38"/>
                <a:gd name="T6" fmla="*/ 2147483646 w 41"/>
                <a:gd name="T7" fmla="*/ 2147483646 h 38"/>
                <a:gd name="T8" fmla="*/ 2147483646 w 41"/>
                <a:gd name="T9" fmla="*/ 0 h 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38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0" y="34"/>
                    <a:pt x="41" y="29"/>
                    <a:pt x="41" y="25"/>
                  </a:cubicBezTo>
                  <a:cubicBezTo>
                    <a:pt x="41" y="7"/>
                    <a:pt x="25" y="0"/>
                    <a:pt x="9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2" name="Freeform 75"/>
            <p:cNvSpPr/>
            <p:nvPr/>
          </p:nvSpPr>
          <p:spPr bwMode="auto">
            <a:xfrm>
              <a:off x="-1746250" y="2693988"/>
              <a:ext cx="173038" cy="146050"/>
            </a:xfrm>
            <a:custGeom>
              <a:avLst/>
              <a:gdLst>
                <a:gd name="T0" fmla="*/ 2147483646 w 46"/>
                <a:gd name="T1" fmla="*/ 0 h 39"/>
                <a:gd name="T2" fmla="*/ 0 w 46"/>
                <a:gd name="T3" fmla="*/ 2147483646 h 39"/>
                <a:gd name="T4" fmla="*/ 2147483646 w 46"/>
                <a:gd name="T5" fmla="*/ 2147483646 h 39"/>
                <a:gd name="T6" fmla="*/ 2147483646 w 46"/>
                <a:gd name="T7" fmla="*/ 2147483646 h 39"/>
                <a:gd name="T8" fmla="*/ 2147483646 w 46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" h="39">
                  <a:moveTo>
                    <a:pt x="24" y="0"/>
                  </a:moveTo>
                  <a:cubicBezTo>
                    <a:pt x="15" y="0"/>
                    <a:pt x="5" y="4"/>
                    <a:pt x="0" y="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9" y="36"/>
                    <a:pt x="46" y="30"/>
                    <a:pt x="46" y="19"/>
                  </a:cubicBezTo>
                  <a:cubicBezTo>
                    <a:pt x="46" y="9"/>
                    <a:pt x="40" y="0"/>
                    <a:pt x="24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3" name="Freeform 76"/>
            <p:cNvSpPr>
              <a:spLocks noEditPoints="1"/>
            </p:cNvSpPr>
            <p:nvPr/>
          </p:nvSpPr>
          <p:spPr bwMode="auto">
            <a:xfrm>
              <a:off x="-1779588" y="2674938"/>
              <a:ext cx="600075" cy="682625"/>
            </a:xfrm>
            <a:custGeom>
              <a:avLst/>
              <a:gdLst>
                <a:gd name="T0" fmla="*/ 2147483646 w 160"/>
                <a:gd name="T1" fmla="*/ 2147483646 h 182"/>
                <a:gd name="T2" fmla="*/ 2147483646 w 160"/>
                <a:gd name="T3" fmla="*/ 2147483646 h 182"/>
                <a:gd name="T4" fmla="*/ 2147483646 w 160"/>
                <a:gd name="T5" fmla="*/ 2147483646 h 182"/>
                <a:gd name="T6" fmla="*/ 2147483646 w 160"/>
                <a:gd name="T7" fmla="*/ 2147483646 h 182"/>
                <a:gd name="T8" fmla="*/ 2147483646 w 160"/>
                <a:gd name="T9" fmla="*/ 2147483646 h 182"/>
                <a:gd name="T10" fmla="*/ 2147483646 w 160"/>
                <a:gd name="T11" fmla="*/ 2147483646 h 182"/>
                <a:gd name="T12" fmla="*/ 0 w 160"/>
                <a:gd name="T13" fmla="*/ 2147483646 h 182"/>
                <a:gd name="T14" fmla="*/ 2147483646 w 160"/>
                <a:gd name="T15" fmla="*/ 2147483646 h 182"/>
                <a:gd name="T16" fmla="*/ 2147483646 w 160"/>
                <a:gd name="T17" fmla="*/ 2147483646 h 182"/>
                <a:gd name="T18" fmla="*/ 2147483646 w 160"/>
                <a:gd name="T19" fmla="*/ 2147483646 h 182"/>
                <a:gd name="T20" fmla="*/ 2147483646 w 160"/>
                <a:gd name="T21" fmla="*/ 0 h 182"/>
                <a:gd name="T22" fmla="*/ 2147483646 w 160"/>
                <a:gd name="T23" fmla="*/ 2147483646 h 182"/>
                <a:gd name="T24" fmla="*/ 2147483646 w 160"/>
                <a:gd name="T25" fmla="*/ 0 h 1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0" h="182">
                  <a:moveTo>
                    <a:pt x="63" y="1"/>
                  </a:moveTo>
                  <a:cubicBezTo>
                    <a:pt x="69" y="6"/>
                    <a:pt x="72" y="14"/>
                    <a:pt x="72" y="21"/>
                  </a:cubicBezTo>
                  <a:cubicBezTo>
                    <a:pt x="72" y="35"/>
                    <a:pt x="64" y="46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64" y="55"/>
                    <a:pt x="76" y="67"/>
                    <a:pt x="76" y="85"/>
                  </a:cubicBezTo>
                  <a:cubicBezTo>
                    <a:pt x="76" y="105"/>
                    <a:pt x="61" y="123"/>
                    <a:pt x="32" y="123"/>
                  </a:cubicBezTo>
                  <a:cubicBezTo>
                    <a:pt x="18" y="123"/>
                    <a:pt x="6" y="118"/>
                    <a:pt x="0" y="114"/>
                  </a:cubicBezTo>
                  <a:cubicBezTo>
                    <a:pt x="67" y="182"/>
                    <a:pt x="67" y="182"/>
                    <a:pt x="67" y="182"/>
                  </a:cubicBezTo>
                  <a:cubicBezTo>
                    <a:pt x="111" y="172"/>
                    <a:pt x="146" y="139"/>
                    <a:pt x="160" y="97"/>
                  </a:cubicBezTo>
                  <a:cubicBezTo>
                    <a:pt x="63" y="1"/>
                    <a:pt x="63" y="1"/>
                    <a:pt x="63" y="1"/>
                  </a:cubicBezTo>
                  <a:moveTo>
                    <a:pt x="63" y="0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4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3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3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3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3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3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3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4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3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3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3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3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3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3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1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4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3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3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3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3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3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3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1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6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37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2" presetClass="entr" presetSubtype="1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2" presetClass="entr" presetSubtype="1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2" presetClass="entr" presetSubtype="1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58" grpId="0"/>
      <p:bldP spid="59" grpId="0"/>
      <p:bldP spid="60" grpId="0"/>
      <p:bldP spid="69" grpId="0"/>
      <p:bldP spid="70" grpId="0"/>
      <p:bldP spid="7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189038"/>
            <a:ext cx="4471988" cy="337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579" name="组合 73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76" name="矩形 75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7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4722" name="组合 77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79" name="矩形 78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724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4725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5" name="组合 14"/>
          <p:cNvGrpSpPr/>
          <p:nvPr/>
        </p:nvGrpSpPr>
        <p:grpSpPr bwMode="auto">
          <a:xfrm>
            <a:off x="6985000" y="2927350"/>
            <a:ext cx="1438275" cy="1635125"/>
            <a:chOff x="6984535" y="2927173"/>
            <a:chExt cx="1438770" cy="1636085"/>
          </a:xfrm>
        </p:grpSpPr>
        <p:sp>
          <p:nvSpPr>
            <p:cNvPr id="10" name="Rectangle 6"/>
            <p:cNvSpPr/>
            <p:nvPr/>
          </p:nvSpPr>
          <p:spPr bwMode="auto">
            <a:xfrm>
              <a:off x="6984535" y="2927173"/>
              <a:ext cx="1438770" cy="163608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>
              <a:off x="7035352" y="3857994"/>
              <a:ext cx="1349839" cy="63060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38" name="组合 7217"/>
            <p:cNvGrpSpPr/>
            <p:nvPr/>
          </p:nvGrpSpPr>
          <p:grpSpPr bwMode="auto">
            <a:xfrm>
              <a:off x="7293948" y="3029348"/>
              <a:ext cx="819945" cy="820957"/>
              <a:chOff x="-4213225" y="-4763"/>
              <a:chExt cx="2573338" cy="2576514"/>
            </a:xfrm>
          </p:grpSpPr>
          <p:sp>
            <p:nvSpPr>
              <p:cNvPr id="4" name="Freeform 6"/>
              <p:cNvSpPr/>
              <p:nvPr/>
            </p:nvSpPr>
            <p:spPr bwMode="auto">
              <a:xfrm>
                <a:off x="-4212421" y="-6380"/>
                <a:ext cx="2571727" cy="2577340"/>
              </a:xfrm>
              <a:custGeom>
                <a:avLst/>
                <a:gdLst>
                  <a:gd name="T0" fmla="*/ 686 w 686"/>
                  <a:gd name="T1" fmla="*/ 625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5 h 687"/>
                  <a:gd name="T8" fmla="*/ 0 w 686"/>
                  <a:gd name="T9" fmla="*/ 63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3 h 687"/>
                  <a:gd name="T16" fmla="*/ 686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5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3"/>
                    </a:cubicBezTo>
                    <a:lnTo>
                      <a:pt x="686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640" name="Freeform 7"/>
              <p:cNvSpPr/>
              <p:nvPr/>
            </p:nvSpPr>
            <p:spPr bwMode="auto">
              <a:xfrm>
                <a:off x="-3819525" y="179388"/>
                <a:ext cx="2179638" cy="2392363"/>
              </a:xfrm>
              <a:custGeom>
                <a:avLst/>
                <a:gdLst>
                  <a:gd name="T0" fmla="*/ 2147483646 w 581"/>
                  <a:gd name="T1" fmla="*/ 0 h 638"/>
                  <a:gd name="T2" fmla="*/ 2147483646 w 581"/>
                  <a:gd name="T3" fmla="*/ 2147483646 h 638"/>
                  <a:gd name="T4" fmla="*/ 2147483646 w 581"/>
                  <a:gd name="T5" fmla="*/ 2147483646 h 638"/>
                  <a:gd name="T6" fmla="*/ 2147483646 w 581"/>
                  <a:gd name="T7" fmla="*/ 2147483646 h 638"/>
                  <a:gd name="T8" fmla="*/ 2147483646 w 581"/>
                  <a:gd name="T9" fmla="*/ 2147483646 h 638"/>
                  <a:gd name="T10" fmla="*/ 2147483646 w 581"/>
                  <a:gd name="T11" fmla="*/ 2147483646 h 638"/>
                  <a:gd name="T12" fmla="*/ 2147483646 w 581"/>
                  <a:gd name="T13" fmla="*/ 2147483646 h 638"/>
                  <a:gd name="T14" fmla="*/ 2147483646 w 581"/>
                  <a:gd name="T15" fmla="*/ 2147483646 h 638"/>
                  <a:gd name="T16" fmla="*/ 2147483646 w 581"/>
                  <a:gd name="T17" fmla="*/ 2147483646 h 638"/>
                  <a:gd name="T18" fmla="*/ 2147483646 w 581"/>
                  <a:gd name="T19" fmla="*/ 2147483646 h 638"/>
                  <a:gd name="T20" fmla="*/ 2147483646 w 581"/>
                  <a:gd name="T21" fmla="*/ 2147483646 h 638"/>
                  <a:gd name="T22" fmla="*/ 2147483646 w 581"/>
                  <a:gd name="T23" fmla="*/ 2147483646 h 638"/>
                  <a:gd name="T24" fmla="*/ 2147483646 w 581"/>
                  <a:gd name="T25" fmla="*/ 2147483646 h 638"/>
                  <a:gd name="T26" fmla="*/ 2147483646 w 581"/>
                  <a:gd name="T27" fmla="*/ 2147483646 h 638"/>
                  <a:gd name="T28" fmla="*/ 2147483646 w 581"/>
                  <a:gd name="T29" fmla="*/ 2147483646 h 638"/>
                  <a:gd name="T30" fmla="*/ 2147483646 w 581"/>
                  <a:gd name="T31" fmla="*/ 2147483646 h 638"/>
                  <a:gd name="T32" fmla="*/ 2147483646 w 581"/>
                  <a:gd name="T33" fmla="*/ 2147483646 h 638"/>
                  <a:gd name="T34" fmla="*/ 2147483646 w 581"/>
                  <a:gd name="T35" fmla="*/ 2147483646 h 638"/>
                  <a:gd name="T36" fmla="*/ 2147483646 w 581"/>
                  <a:gd name="T37" fmla="*/ 2147483646 h 638"/>
                  <a:gd name="T38" fmla="*/ 0 w 581"/>
                  <a:gd name="T39" fmla="*/ 2147483646 h 638"/>
                  <a:gd name="T40" fmla="*/ 2147483646 w 581"/>
                  <a:gd name="T41" fmla="*/ 2147483646 h 638"/>
                  <a:gd name="T42" fmla="*/ 2147483646 w 581"/>
                  <a:gd name="T43" fmla="*/ 2147483646 h 638"/>
                  <a:gd name="T44" fmla="*/ 2147483646 w 581"/>
                  <a:gd name="T45" fmla="*/ 2147483646 h 638"/>
                  <a:gd name="T46" fmla="*/ 2147483646 w 581"/>
                  <a:gd name="T47" fmla="*/ 2147483646 h 638"/>
                  <a:gd name="T48" fmla="*/ 2147483646 w 581"/>
                  <a:gd name="T49" fmla="*/ 2147483646 h 638"/>
                  <a:gd name="T50" fmla="*/ 2147483646 w 581"/>
                  <a:gd name="T51" fmla="*/ 2147483646 h 638"/>
                  <a:gd name="T52" fmla="*/ 2147483646 w 581"/>
                  <a:gd name="T53" fmla="*/ 0 h 63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581" h="638">
                    <a:moveTo>
                      <a:pt x="236" y="0"/>
                    </a:moveTo>
                    <a:cubicBezTo>
                      <a:pt x="215" y="136"/>
                      <a:pt x="215" y="136"/>
                      <a:pt x="215" y="136"/>
                    </a:cubicBezTo>
                    <a:cubicBezTo>
                      <a:pt x="125" y="139"/>
                      <a:pt x="125" y="139"/>
                      <a:pt x="125" y="139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01" y="172"/>
                      <a:pt x="101" y="172"/>
                      <a:pt x="101" y="172"/>
                    </a:cubicBezTo>
                    <a:cubicBezTo>
                      <a:pt x="110" y="182"/>
                      <a:pt x="110" y="182"/>
                      <a:pt x="110" y="182"/>
                    </a:cubicBezTo>
                    <a:cubicBezTo>
                      <a:pt x="102" y="190"/>
                      <a:pt x="102" y="190"/>
                      <a:pt x="102" y="190"/>
                    </a:cubicBezTo>
                    <a:cubicBezTo>
                      <a:pt x="120" y="207"/>
                      <a:pt x="120" y="207"/>
                      <a:pt x="120" y="207"/>
                    </a:cubicBezTo>
                    <a:cubicBezTo>
                      <a:pt x="119" y="208"/>
                      <a:pt x="119" y="208"/>
                      <a:pt x="119" y="208"/>
                    </a:cubicBezTo>
                    <a:cubicBezTo>
                      <a:pt x="101" y="209"/>
                      <a:pt x="101" y="209"/>
                      <a:pt x="101" y="209"/>
                    </a:cubicBezTo>
                    <a:cubicBezTo>
                      <a:pt x="155" y="263"/>
                      <a:pt x="155" y="263"/>
                      <a:pt x="155" y="263"/>
                    </a:cubicBezTo>
                    <a:cubicBezTo>
                      <a:pt x="124" y="264"/>
                      <a:pt x="44" y="266"/>
                      <a:pt x="40" y="266"/>
                    </a:cubicBezTo>
                    <a:cubicBezTo>
                      <a:pt x="37" y="266"/>
                      <a:pt x="35" y="295"/>
                      <a:pt x="33" y="321"/>
                    </a:cubicBezTo>
                    <a:cubicBezTo>
                      <a:pt x="12" y="300"/>
                      <a:pt x="12" y="300"/>
                      <a:pt x="12" y="300"/>
                    </a:cubicBezTo>
                    <a:cubicBezTo>
                      <a:pt x="2" y="310"/>
                      <a:pt x="2" y="310"/>
                      <a:pt x="2" y="310"/>
                    </a:cubicBezTo>
                    <a:cubicBezTo>
                      <a:pt x="18" y="326"/>
                      <a:pt x="18" y="326"/>
                      <a:pt x="18" y="326"/>
                    </a:cubicBezTo>
                    <a:cubicBezTo>
                      <a:pt x="9" y="335"/>
                      <a:pt x="9" y="335"/>
                      <a:pt x="9" y="335"/>
                    </a:cubicBezTo>
                    <a:cubicBezTo>
                      <a:pt x="31" y="357"/>
                      <a:pt x="31" y="357"/>
                      <a:pt x="31" y="357"/>
                    </a:cubicBezTo>
                    <a:cubicBezTo>
                      <a:pt x="31" y="358"/>
                      <a:pt x="31" y="359"/>
                      <a:pt x="31" y="360"/>
                    </a:cubicBezTo>
                    <a:cubicBezTo>
                      <a:pt x="0" y="360"/>
                      <a:pt x="0" y="360"/>
                      <a:pt x="0" y="360"/>
                    </a:cubicBezTo>
                    <a:cubicBezTo>
                      <a:pt x="162" y="522"/>
                      <a:pt x="162" y="522"/>
                      <a:pt x="162" y="522"/>
                    </a:cubicBezTo>
                    <a:cubicBezTo>
                      <a:pt x="148" y="536"/>
                      <a:pt x="148" y="536"/>
                      <a:pt x="148" y="536"/>
                    </a:cubicBezTo>
                    <a:cubicBezTo>
                      <a:pt x="251" y="638"/>
                      <a:pt x="251" y="638"/>
                      <a:pt x="251" y="638"/>
                    </a:cubicBezTo>
                    <a:cubicBezTo>
                      <a:pt x="519" y="638"/>
                      <a:pt x="519" y="638"/>
                      <a:pt x="519" y="638"/>
                    </a:cubicBezTo>
                    <a:cubicBezTo>
                      <a:pt x="554" y="638"/>
                      <a:pt x="581" y="610"/>
                      <a:pt x="581" y="576"/>
                    </a:cubicBezTo>
                    <a:cubicBezTo>
                      <a:pt x="581" y="346"/>
                      <a:pt x="581" y="346"/>
                      <a:pt x="581" y="346"/>
                    </a:cubicBezTo>
                    <a:lnTo>
                      <a:pt x="236" y="0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4641" name="组合 7213"/>
              <p:cNvGrpSpPr/>
              <p:nvPr/>
            </p:nvGrpSpPr>
            <p:grpSpPr bwMode="auto">
              <a:xfrm>
                <a:off x="-3827462" y="174625"/>
                <a:ext cx="1758950" cy="2011363"/>
                <a:chOff x="-3827462" y="174625"/>
                <a:chExt cx="1758950" cy="2011363"/>
              </a:xfrm>
            </p:grpSpPr>
            <p:sp>
              <p:nvSpPr>
                <p:cNvPr id="24642" name="Freeform 8"/>
                <p:cNvSpPr/>
                <p:nvPr/>
              </p:nvSpPr>
              <p:spPr bwMode="auto">
                <a:xfrm>
                  <a:off x="-2949575" y="174625"/>
                  <a:ext cx="330200" cy="2011363"/>
                </a:xfrm>
                <a:custGeom>
                  <a:avLst/>
                  <a:gdLst>
                    <a:gd name="T0" fmla="*/ 2147483646 w 208"/>
                    <a:gd name="T1" fmla="*/ 2147483646 h 1267"/>
                    <a:gd name="T2" fmla="*/ 2147483646 w 208"/>
                    <a:gd name="T3" fmla="*/ 0 h 1267"/>
                    <a:gd name="T4" fmla="*/ 0 w 208"/>
                    <a:gd name="T5" fmla="*/ 0 h 1267"/>
                    <a:gd name="T6" fmla="*/ 2147483646 w 208"/>
                    <a:gd name="T7" fmla="*/ 2147483646 h 1267"/>
                    <a:gd name="T8" fmla="*/ 2147483646 w 208"/>
                    <a:gd name="T9" fmla="*/ 2147483646 h 12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8" h="1267">
                      <a:moveTo>
                        <a:pt x="208" y="1267"/>
                      </a:move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130" y="1267"/>
                      </a:lnTo>
                      <a:lnTo>
                        <a:pt x="208" y="12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3" name="Freeform 9"/>
                <p:cNvSpPr/>
                <p:nvPr/>
              </p:nvSpPr>
              <p:spPr bwMode="auto">
                <a:xfrm>
                  <a:off x="-3268662" y="174625"/>
                  <a:ext cx="330200" cy="2011363"/>
                </a:xfrm>
                <a:custGeom>
                  <a:avLst/>
                  <a:gdLst>
                    <a:gd name="T0" fmla="*/ 2147483646 w 208"/>
                    <a:gd name="T1" fmla="*/ 2147483646 h 1267"/>
                    <a:gd name="T2" fmla="*/ 2147483646 w 208"/>
                    <a:gd name="T3" fmla="*/ 0 h 1267"/>
                    <a:gd name="T4" fmla="*/ 2147483646 w 208"/>
                    <a:gd name="T5" fmla="*/ 0 h 1267"/>
                    <a:gd name="T6" fmla="*/ 0 w 208"/>
                    <a:gd name="T7" fmla="*/ 2147483646 h 1267"/>
                    <a:gd name="T8" fmla="*/ 2147483646 w 208"/>
                    <a:gd name="T9" fmla="*/ 2147483646 h 12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8" h="1267">
                      <a:moveTo>
                        <a:pt x="81" y="1267"/>
                      </a:moveTo>
                      <a:lnTo>
                        <a:pt x="208" y="0"/>
                      </a:lnTo>
                      <a:lnTo>
                        <a:pt x="199" y="0"/>
                      </a:lnTo>
                      <a:lnTo>
                        <a:pt x="0" y="1267"/>
                      </a:lnTo>
                      <a:lnTo>
                        <a:pt x="81" y="12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4" name="Freeform 10"/>
                <p:cNvSpPr/>
                <p:nvPr/>
              </p:nvSpPr>
              <p:spPr bwMode="auto">
                <a:xfrm>
                  <a:off x="-3178175" y="1712913"/>
                  <a:ext cx="468313" cy="407988"/>
                </a:xfrm>
                <a:custGeom>
                  <a:avLst/>
                  <a:gdLst>
                    <a:gd name="T0" fmla="*/ 2147483646 w 295"/>
                    <a:gd name="T1" fmla="*/ 2147483646 h 257"/>
                    <a:gd name="T2" fmla="*/ 0 w 295"/>
                    <a:gd name="T3" fmla="*/ 2147483646 h 257"/>
                    <a:gd name="T4" fmla="*/ 2147483646 w 295"/>
                    <a:gd name="T5" fmla="*/ 0 h 257"/>
                    <a:gd name="T6" fmla="*/ 2147483646 w 295"/>
                    <a:gd name="T7" fmla="*/ 2147483646 h 257"/>
                    <a:gd name="T8" fmla="*/ 2147483646 w 295"/>
                    <a:gd name="T9" fmla="*/ 2147483646 h 2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95" h="257">
                      <a:moveTo>
                        <a:pt x="17" y="257"/>
                      </a:moveTo>
                      <a:lnTo>
                        <a:pt x="0" y="239"/>
                      </a:lnTo>
                      <a:lnTo>
                        <a:pt x="279" y="0"/>
                      </a:lnTo>
                      <a:lnTo>
                        <a:pt x="295" y="21"/>
                      </a:lnTo>
                      <a:lnTo>
                        <a:pt x="17" y="2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5" name="Freeform 11"/>
                <p:cNvSpPr/>
                <p:nvPr/>
              </p:nvSpPr>
              <p:spPr bwMode="auto">
                <a:xfrm>
                  <a:off x="-3178175" y="1712913"/>
                  <a:ext cx="468313" cy="407988"/>
                </a:xfrm>
                <a:custGeom>
                  <a:avLst/>
                  <a:gdLst>
                    <a:gd name="T0" fmla="*/ 2147483646 w 295"/>
                    <a:gd name="T1" fmla="*/ 2147483646 h 257"/>
                    <a:gd name="T2" fmla="*/ 2147483646 w 295"/>
                    <a:gd name="T3" fmla="*/ 2147483646 h 257"/>
                    <a:gd name="T4" fmla="*/ 2147483646 w 295"/>
                    <a:gd name="T5" fmla="*/ 0 h 257"/>
                    <a:gd name="T6" fmla="*/ 0 w 295"/>
                    <a:gd name="T7" fmla="*/ 2147483646 h 257"/>
                    <a:gd name="T8" fmla="*/ 2147483646 w 295"/>
                    <a:gd name="T9" fmla="*/ 2147483646 h 2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95" h="257">
                      <a:moveTo>
                        <a:pt x="279" y="257"/>
                      </a:moveTo>
                      <a:lnTo>
                        <a:pt x="295" y="239"/>
                      </a:lnTo>
                      <a:lnTo>
                        <a:pt x="17" y="0"/>
                      </a:lnTo>
                      <a:lnTo>
                        <a:pt x="0" y="21"/>
                      </a:lnTo>
                      <a:lnTo>
                        <a:pt x="279" y="2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6" name="Freeform 12"/>
                <p:cNvSpPr/>
                <p:nvPr/>
              </p:nvSpPr>
              <p:spPr bwMode="auto">
                <a:xfrm>
                  <a:off x="-3117850" y="1487488"/>
                  <a:ext cx="347663" cy="300038"/>
                </a:xfrm>
                <a:custGeom>
                  <a:avLst/>
                  <a:gdLst>
                    <a:gd name="T0" fmla="*/ 2147483646 w 219"/>
                    <a:gd name="T1" fmla="*/ 2147483646 h 189"/>
                    <a:gd name="T2" fmla="*/ 0 w 219"/>
                    <a:gd name="T3" fmla="*/ 2147483646 h 189"/>
                    <a:gd name="T4" fmla="*/ 2147483646 w 219"/>
                    <a:gd name="T5" fmla="*/ 0 h 189"/>
                    <a:gd name="T6" fmla="*/ 2147483646 w 219"/>
                    <a:gd name="T7" fmla="*/ 2147483646 h 189"/>
                    <a:gd name="T8" fmla="*/ 2147483646 w 219"/>
                    <a:gd name="T9" fmla="*/ 2147483646 h 1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9" h="189">
                      <a:moveTo>
                        <a:pt x="12" y="189"/>
                      </a:moveTo>
                      <a:lnTo>
                        <a:pt x="0" y="175"/>
                      </a:lnTo>
                      <a:lnTo>
                        <a:pt x="208" y="0"/>
                      </a:lnTo>
                      <a:lnTo>
                        <a:pt x="219" y="14"/>
                      </a:lnTo>
                      <a:lnTo>
                        <a:pt x="12" y="1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7" name="Freeform 13"/>
                <p:cNvSpPr/>
                <p:nvPr/>
              </p:nvSpPr>
              <p:spPr bwMode="auto">
                <a:xfrm>
                  <a:off x="-3117850" y="1487488"/>
                  <a:ext cx="347663" cy="300038"/>
                </a:xfrm>
                <a:custGeom>
                  <a:avLst/>
                  <a:gdLst>
                    <a:gd name="T0" fmla="*/ 2147483646 w 219"/>
                    <a:gd name="T1" fmla="*/ 2147483646 h 189"/>
                    <a:gd name="T2" fmla="*/ 2147483646 w 219"/>
                    <a:gd name="T3" fmla="*/ 2147483646 h 189"/>
                    <a:gd name="T4" fmla="*/ 2147483646 w 219"/>
                    <a:gd name="T5" fmla="*/ 0 h 189"/>
                    <a:gd name="T6" fmla="*/ 0 w 219"/>
                    <a:gd name="T7" fmla="*/ 2147483646 h 189"/>
                    <a:gd name="T8" fmla="*/ 2147483646 w 219"/>
                    <a:gd name="T9" fmla="*/ 2147483646 h 1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9" h="189">
                      <a:moveTo>
                        <a:pt x="208" y="189"/>
                      </a:moveTo>
                      <a:lnTo>
                        <a:pt x="219" y="175"/>
                      </a:lnTo>
                      <a:lnTo>
                        <a:pt x="12" y="0"/>
                      </a:lnTo>
                      <a:lnTo>
                        <a:pt x="0" y="14"/>
                      </a:lnTo>
                      <a:lnTo>
                        <a:pt x="208" y="1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8" name="Freeform 14"/>
                <p:cNvSpPr/>
                <p:nvPr/>
              </p:nvSpPr>
              <p:spPr bwMode="auto">
                <a:xfrm>
                  <a:off x="-3092450" y="1266825"/>
                  <a:ext cx="300038" cy="258763"/>
                </a:xfrm>
                <a:custGeom>
                  <a:avLst/>
                  <a:gdLst>
                    <a:gd name="T0" fmla="*/ 2147483646 w 189"/>
                    <a:gd name="T1" fmla="*/ 2147483646 h 163"/>
                    <a:gd name="T2" fmla="*/ 0 w 189"/>
                    <a:gd name="T3" fmla="*/ 2147483646 h 163"/>
                    <a:gd name="T4" fmla="*/ 2147483646 w 189"/>
                    <a:gd name="T5" fmla="*/ 0 h 163"/>
                    <a:gd name="T6" fmla="*/ 2147483646 w 189"/>
                    <a:gd name="T7" fmla="*/ 2147483646 h 163"/>
                    <a:gd name="T8" fmla="*/ 2147483646 w 189"/>
                    <a:gd name="T9" fmla="*/ 2147483646 h 1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9" h="163">
                      <a:moveTo>
                        <a:pt x="10" y="163"/>
                      </a:moveTo>
                      <a:lnTo>
                        <a:pt x="0" y="151"/>
                      </a:lnTo>
                      <a:lnTo>
                        <a:pt x="177" y="0"/>
                      </a:lnTo>
                      <a:lnTo>
                        <a:pt x="189" y="12"/>
                      </a:lnTo>
                      <a:lnTo>
                        <a:pt x="10" y="16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9" name="Freeform 15"/>
                <p:cNvSpPr/>
                <p:nvPr/>
              </p:nvSpPr>
              <p:spPr bwMode="auto">
                <a:xfrm>
                  <a:off x="-3092450" y="1266825"/>
                  <a:ext cx="300038" cy="258763"/>
                </a:xfrm>
                <a:custGeom>
                  <a:avLst/>
                  <a:gdLst>
                    <a:gd name="T0" fmla="*/ 2147483646 w 189"/>
                    <a:gd name="T1" fmla="*/ 2147483646 h 163"/>
                    <a:gd name="T2" fmla="*/ 2147483646 w 189"/>
                    <a:gd name="T3" fmla="*/ 2147483646 h 163"/>
                    <a:gd name="T4" fmla="*/ 2147483646 w 189"/>
                    <a:gd name="T5" fmla="*/ 0 h 163"/>
                    <a:gd name="T6" fmla="*/ 0 w 189"/>
                    <a:gd name="T7" fmla="*/ 2147483646 h 163"/>
                    <a:gd name="T8" fmla="*/ 2147483646 w 189"/>
                    <a:gd name="T9" fmla="*/ 2147483646 h 1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9" h="163">
                      <a:moveTo>
                        <a:pt x="177" y="163"/>
                      </a:moveTo>
                      <a:lnTo>
                        <a:pt x="189" y="151"/>
                      </a:lnTo>
                      <a:lnTo>
                        <a:pt x="10" y="0"/>
                      </a:lnTo>
                      <a:lnTo>
                        <a:pt x="0" y="12"/>
                      </a:lnTo>
                      <a:lnTo>
                        <a:pt x="177" y="16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0" name="Freeform 16"/>
                <p:cNvSpPr/>
                <p:nvPr/>
              </p:nvSpPr>
              <p:spPr bwMode="auto">
                <a:xfrm>
                  <a:off x="-3062287" y="1101725"/>
                  <a:ext cx="236538" cy="201613"/>
                </a:xfrm>
                <a:custGeom>
                  <a:avLst/>
                  <a:gdLst>
                    <a:gd name="T0" fmla="*/ 2147483646 w 149"/>
                    <a:gd name="T1" fmla="*/ 2147483646 h 127"/>
                    <a:gd name="T2" fmla="*/ 0 w 149"/>
                    <a:gd name="T3" fmla="*/ 2147483646 h 127"/>
                    <a:gd name="T4" fmla="*/ 2147483646 w 149"/>
                    <a:gd name="T5" fmla="*/ 0 h 127"/>
                    <a:gd name="T6" fmla="*/ 2147483646 w 149"/>
                    <a:gd name="T7" fmla="*/ 2147483646 h 127"/>
                    <a:gd name="T8" fmla="*/ 2147483646 w 149"/>
                    <a:gd name="T9" fmla="*/ 2147483646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9" h="127">
                      <a:moveTo>
                        <a:pt x="10" y="127"/>
                      </a:moveTo>
                      <a:lnTo>
                        <a:pt x="0" y="118"/>
                      </a:lnTo>
                      <a:lnTo>
                        <a:pt x="140" y="0"/>
                      </a:lnTo>
                      <a:lnTo>
                        <a:pt x="149" y="9"/>
                      </a:lnTo>
                      <a:lnTo>
                        <a:pt x="1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1" name="Freeform 17"/>
                <p:cNvSpPr/>
                <p:nvPr/>
              </p:nvSpPr>
              <p:spPr bwMode="auto">
                <a:xfrm>
                  <a:off x="-3062287" y="1101725"/>
                  <a:ext cx="236538" cy="201613"/>
                </a:xfrm>
                <a:custGeom>
                  <a:avLst/>
                  <a:gdLst>
                    <a:gd name="T0" fmla="*/ 2147483646 w 149"/>
                    <a:gd name="T1" fmla="*/ 2147483646 h 127"/>
                    <a:gd name="T2" fmla="*/ 2147483646 w 149"/>
                    <a:gd name="T3" fmla="*/ 2147483646 h 127"/>
                    <a:gd name="T4" fmla="*/ 2147483646 w 149"/>
                    <a:gd name="T5" fmla="*/ 0 h 127"/>
                    <a:gd name="T6" fmla="*/ 0 w 149"/>
                    <a:gd name="T7" fmla="*/ 2147483646 h 127"/>
                    <a:gd name="T8" fmla="*/ 2147483646 w 149"/>
                    <a:gd name="T9" fmla="*/ 2147483646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9" h="127">
                      <a:moveTo>
                        <a:pt x="140" y="127"/>
                      </a:moveTo>
                      <a:lnTo>
                        <a:pt x="149" y="118"/>
                      </a:lnTo>
                      <a:lnTo>
                        <a:pt x="10" y="0"/>
                      </a:lnTo>
                      <a:lnTo>
                        <a:pt x="0" y="9"/>
                      </a:lnTo>
                      <a:lnTo>
                        <a:pt x="14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2" name="Freeform 18"/>
                <p:cNvSpPr/>
                <p:nvPr/>
              </p:nvSpPr>
              <p:spPr bwMode="auto">
                <a:xfrm>
                  <a:off x="-3046412" y="936625"/>
                  <a:ext cx="206375" cy="176213"/>
                </a:xfrm>
                <a:custGeom>
                  <a:avLst/>
                  <a:gdLst>
                    <a:gd name="T0" fmla="*/ 2147483646 w 130"/>
                    <a:gd name="T1" fmla="*/ 2147483646 h 111"/>
                    <a:gd name="T2" fmla="*/ 0 w 130"/>
                    <a:gd name="T3" fmla="*/ 2147483646 h 111"/>
                    <a:gd name="T4" fmla="*/ 2147483646 w 130"/>
                    <a:gd name="T5" fmla="*/ 0 h 111"/>
                    <a:gd name="T6" fmla="*/ 2147483646 w 130"/>
                    <a:gd name="T7" fmla="*/ 2147483646 h 111"/>
                    <a:gd name="T8" fmla="*/ 2147483646 w 130"/>
                    <a:gd name="T9" fmla="*/ 2147483646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0" h="111">
                      <a:moveTo>
                        <a:pt x="7" y="111"/>
                      </a:moveTo>
                      <a:lnTo>
                        <a:pt x="0" y="101"/>
                      </a:lnTo>
                      <a:lnTo>
                        <a:pt x="123" y="0"/>
                      </a:lnTo>
                      <a:lnTo>
                        <a:pt x="130" y="7"/>
                      </a:lnTo>
                      <a:lnTo>
                        <a:pt x="7" y="1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3" name="Freeform 19"/>
                <p:cNvSpPr/>
                <p:nvPr/>
              </p:nvSpPr>
              <p:spPr bwMode="auto">
                <a:xfrm>
                  <a:off x="-3046412" y="936625"/>
                  <a:ext cx="206375" cy="176213"/>
                </a:xfrm>
                <a:custGeom>
                  <a:avLst/>
                  <a:gdLst>
                    <a:gd name="T0" fmla="*/ 2147483646 w 130"/>
                    <a:gd name="T1" fmla="*/ 2147483646 h 111"/>
                    <a:gd name="T2" fmla="*/ 2147483646 w 130"/>
                    <a:gd name="T3" fmla="*/ 2147483646 h 111"/>
                    <a:gd name="T4" fmla="*/ 2147483646 w 130"/>
                    <a:gd name="T5" fmla="*/ 0 h 111"/>
                    <a:gd name="T6" fmla="*/ 0 w 130"/>
                    <a:gd name="T7" fmla="*/ 2147483646 h 111"/>
                    <a:gd name="T8" fmla="*/ 2147483646 w 130"/>
                    <a:gd name="T9" fmla="*/ 2147483646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0" h="111">
                      <a:moveTo>
                        <a:pt x="123" y="111"/>
                      </a:moveTo>
                      <a:lnTo>
                        <a:pt x="130" y="101"/>
                      </a:lnTo>
                      <a:lnTo>
                        <a:pt x="7" y="0"/>
                      </a:lnTo>
                      <a:lnTo>
                        <a:pt x="0" y="7"/>
                      </a:lnTo>
                      <a:lnTo>
                        <a:pt x="123" y="1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4" name="Freeform 20"/>
                <p:cNvSpPr/>
                <p:nvPr/>
              </p:nvSpPr>
              <p:spPr bwMode="auto">
                <a:xfrm>
                  <a:off x="-3035300" y="796925"/>
                  <a:ext cx="184150" cy="158750"/>
                </a:xfrm>
                <a:custGeom>
                  <a:avLst/>
                  <a:gdLst>
                    <a:gd name="T0" fmla="*/ 2147483646 w 116"/>
                    <a:gd name="T1" fmla="*/ 2147483646 h 100"/>
                    <a:gd name="T2" fmla="*/ 0 w 116"/>
                    <a:gd name="T3" fmla="*/ 2147483646 h 100"/>
                    <a:gd name="T4" fmla="*/ 2147483646 w 116"/>
                    <a:gd name="T5" fmla="*/ 0 h 100"/>
                    <a:gd name="T6" fmla="*/ 2147483646 w 116"/>
                    <a:gd name="T7" fmla="*/ 2147483646 h 100"/>
                    <a:gd name="T8" fmla="*/ 2147483646 w 116"/>
                    <a:gd name="T9" fmla="*/ 2147483646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6" h="100">
                      <a:moveTo>
                        <a:pt x="7" y="100"/>
                      </a:moveTo>
                      <a:lnTo>
                        <a:pt x="0" y="93"/>
                      </a:lnTo>
                      <a:lnTo>
                        <a:pt x="108" y="0"/>
                      </a:lnTo>
                      <a:lnTo>
                        <a:pt x="116" y="8"/>
                      </a:lnTo>
                      <a:lnTo>
                        <a:pt x="7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5" name="Freeform 21"/>
                <p:cNvSpPr/>
                <p:nvPr/>
              </p:nvSpPr>
              <p:spPr bwMode="auto">
                <a:xfrm>
                  <a:off x="-3035300" y="796925"/>
                  <a:ext cx="184150" cy="158750"/>
                </a:xfrm>
                <a:custGeom>
                  <a:avLst/>
                  <a:gdLst>
                    <a:gd name="T0" fmla="*/ 2147483646 w 116"/>
                    <a:gd name="T1" fmla="*/ 2147483646 h 100"/>
                    <a:gd name="T2" fmla="*/ 2147483646 w 116"/>
                    <a:gd name="T3" fmla="*/ 2147483646 h 100"/>
                    <a:gd name="T4" fmla="*/ 2147483646 w 116"/>
                    <a:gd name="T5" fmla="*/ 0 h 100"/>
                    <a:gd name="T6" fmla="*/ 0 w 116"/>
                    <a:gd name="T7" fmla="*/ 2147483646 h 100"/>
                    <a:gd name="T8" fmla="*/ 2147483646 w 116"/>
                    <a:gd name="T9" fmla="*/ 2147483646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6" h="100">
                      <a:moveTo>
                        <a:pt x="108" y="100"/>
                      </a:moveTo>
                      <a:lnTo>
                        <a:pt x="116" y="93"/>
                      </a:lnTo>
                      <a:lnTo>
                        <a:pt x="7" y="0"/>
                      </a:lnTo>
                      <a:lnTo>
                        <a:pt x="0" y="8"/>
                      </a:lnTo>
                      <a:lnTo>
                        <a:pt x="108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6" name="Freeform 22"/>
                <p:cNvSpPr/>
                <p:nvPr/>
              </p:nvSpPr>
              <p:spPr bwMode="auto">
                <a:xfrm>
                  <a:off x="-3013075" y="688975"/>
                  <a:ext cx="138113" cy="123825"/>
                </a:xfrm>
                <a:custGeom>
                  <a:avLst/>
                  <a:gdLst>
                    <a:gd name="T0" fmla="*/ 2147483646 w 87"/>
                    <a:gd name="T1" fmla="*/ 2147483646 h 78"/>
                    <a:gd name="T2" fmla="*/ 0 w 87"/>
                    <a:gd name="T3" fmla="*/ 2147483646 h 78"/>
                    <a:gd name="T4" fmla="*/ 2147483646 w 87"/>
                    <a:gd name="T5" fmla="*/ 0 h 78"/>
                    <a:gd name="T6" fmla="*/ 2147483646 w 87"/>
                    <a:gd name="T7" fmla="*/ 2147483646 h 78"/>
                    <a:gd name="T8" fmla="*/ 2147483646 w 87"/>
                    <a:gd name="T9" fmla="*/ 2147483646 h 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8">
                      <a:moveTo>
                        <a:pt x="5" y="78"/>
                      </a:moveTo>
                      <a:lnTo>
                        <a:pt x="0" y="71"/>
                      </a:lnTo>
                      <a:lnTo>
                        <a:pt x="83" y="0"/>
                      </a:lnTo>
                      <a:lnTo>
                        <a:pt x="87" y="7"/>
                      </a:lnTo>
                      <a:lnTo>
                        <a:pt x="5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7" name="Freeform 23"/>
                <p:cNvSpPr/>
                <p:nvPr/>
              </p:nvSpPr>
              <p:spPr bwMode="auto">
                <a:xfrm>
                  <a:off x="-3013075" y="688975"/>
                  <a:ext cx="138113" cy="123825"/>
                </a:xfrm>
                <a:custGeom>
                  <a:avLst/>
                  <a:gdLst>
                    <a:gd name="T0" fmla="*/ 2147483646 w 87"/>
                    <a:gd name="T1" fmla="*/ 2147483646 h 78"/>
                    <a:gd name="T2" fmla="*/ 2147483646 w 87"/>
                    <a:gd name="T3" fmla="*/ 2147483646 h 78"/>
                    <a:gd name="T4" fmla="*/ 2147483646 w 87"/>
                    <a:gd name="T5" fmla="*/ 0 h 78"/>
                    <a:gd name="T6" fmla="*/ 0 w 87"/>
                    <a:gd name="T7" fmla="*/ 2147483646 h 78"/>
                    <a:gd name="T8" fmla="*/ 2147483646 w 87"/>
                    <a:gd name="T9" fmla="*/ 2147483646 h 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8">
                      <a:moveTo>
                        <a:pt x="83" y="78"/>
                      </a:moveTo>
                      <a:lnTo>
                        <a:pt x="87" y="71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83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8" name="Freeform 24"/>
                <p:cNvSpPr/>
                <p:nvPr/>
              </p:nvSpPr>
              <p:spPr bwMode="auto">
                <a:xfrm>
                  <a:off x="-3013075" y="573088"/>
                  <a:ext cx="138113" cy="119063"/>
                </a:xfrm>
                <a:custGeom>
                  <a:avLst/>
                  <a:gdLst>
                    <a:gd name="T0" fmla="*/ 2147483646 w 87"/>
                    <a:gd name="T1" fmla="*/ 2147483646 h 75"/>
                    <a:gd name="T2" fmla="*/ 0 w 87"/>
                    <a:gd name="T3" fmla="*/ 2147483646 h 75"/>
                    <a:gd name="T4" fmla="*/ 2147483646 w 87"/>
                    <a:gd name="T5" fmla="*/ 0 h 75"/>
                    <a:gd name="T6" fmla="*/ 2147483646 w 87"/>
                    <a:gd name="T7" fmla="*/ 2147483646 h 75"/>
                    <a:gd name="T8" fmla="*/ 2147483646 w 87"/>
                    <a:gd name="T9" fmla="*/ 2147483646 h 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5">
                      <a:moveTo>
                        <a:pt x="5" y="75"/>
                      </a:moveTo>
                      <a:lnTo>
                        <a:pt x="0" y="71"/>
                      </a:lnTo>
                      <a:lnTo>
                        <a:pt x="83" y="0"/>
                      </a:lnTo>
                      <a:lnTo>
                        <a:pt x="87" y="4"/>
                      </a:lnTo>
                      <a:lnTo>
                        <a:pt x="5" y="7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9" name="Rectangle 25"/>
                <p:cNvSpPr>
                  <a:spLocks noChangeArrowheads="1"/>
                </p:cNvSpPr>
                <p:nvPr/>
              </p:nvSpPr>
              <p:spPr bwMode="auto">
                <a:xfrm>
                  <a:off x="-2211387" y="1150938"/>
                  <a:ext cx="41275" cy="3587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0" name="Oval 26"/>
                <p:cNvSpPr>
                  <a:spLocks noChangeArrowheads="1"/>
                </p:cNvSpPr>
                <p:nvPr/>
              </p:nvSpPr>
              <p:spPr bwMode="auto">
                <a:xfrm>
                  <a:off x="-2311400" y="1289050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1" name="Oval 27"/>
                <p:cNvSpPr>
                  <a:spLocks noChangeArrowheads="1"/>
                </p:cNvSpPr>
                <p:nvPr/>
              </p:nvSpPr>
              <p:spPr bwMode="auto">
                <a:xfrm>
                  <a:off x="-2311400" y="1382713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2" name="Oval 28"/>
                <p:cNvSpPr>
                  <a:spLocks noChangeArrowheads="1"/>
                </p:cNvSpPr>
                <p:nvPr/>
              </p:nvSpPr>
              <p:spPr bwMode="auto">
                <a:xfrm>
                  <a:off x="-2311400" y="1479550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3" name="Rectangle 29"/>
                <p:cNvSpPr>
                  <a:spLocks noChangeArrowheads="1"/>
                </p:cNvSpPr>
                <p:nvPr/>
              </p:nvSpPr>
              <p:spPr bwMode="auto">
                <a:xfrm>
                  <a:off x="-3725862" y="1150938"/>
                  <a:ext cx="41275" cy="3587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4" name="Oval 30"/>
                <p:cNvSpPr>
                  <a:spLocks noChangeArrowheads="1"/>
                </p:cNvSpPr>
                <p:nvPr/>
              </p:nvSpPr>
              <p:spPr bwMode="auto">
                <a:xfrm>
                  <a:off x="-3827462" y="1289050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5" name="Oval 31"/>
                <p:cNvSpPr>
                  <a:spLocks noChangeArrowheads="1"/>
                </p:cNvSpPr>
                <p:nvPr/>
              </p:nvSpPr>
              <p:spPr bwMode="auto">
                <a:xfrm>
                  <a:off x="-3827462" y="1382713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6" name="Oval 32"/>
                <p:cNvSpPr>
                  <a:spLocks noChangeArrowheads="1"/>
                </p:cNvSpPr>
                <p:nvPr/>
              </p:nvSpPr>
              <p:spPr bwMode="auto">
                <a:xfrm>
                  <a:off x="-3827462" y="1479550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7" name="Freeform 33"/>
                <p:cNvSpPr/>
                <p:nvPr/>
              </p:nvSpPr>
              <p:spPr bwMode="auto">
                <a:xfrm>
                  <a:off x="-3013075" y="573088"/>
                  <a:ext cx="138113" cy="119063"/>
                </a:xfrm>
                <a:custGeom>
                  <a:avLst/>
                  <a:gdLst>
                    <a:gd name="T0" fmla="*/ 2147483646 w 87"/>
                    <a:gd name="T1" fmla="*/ 2147483646 h 75"/>
                    <a:gd name="T2" fmla="*/ 2147483646 w 87"/>
                    <a:gd name="T3" fmla="*/ 2147483646 h 75"/>
                    <a:gd name="T4" fmla="*/ 2147483646 w 87"/>
                    <a:gd name="T5" fmla="*/ 0 h 75"/>
                    <a:gd name="T6" fmla="*/ 0 w 87"/>
                    <a:gd name="T7" fmla="*/ 2147483646 h 75"/>
                    <a:gd name="T8" fmla="*/ 2147483646 w 87"/>
                    <a:gd name="T9" fmla="*/ 2147483646 h 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5">
                      <a:moveTo>
                        <a:pt x="83" y="75"/>
                      </a:moveTo>
                      <a:lnTo>
                        <a:pt x="87" y="71"/>
                      </a:lnTo>
                      <a:lnTo>
                        <a:pt x="5" y="0"/>
                      </a:lnTo>
                      <a:lnTo>
                        <a:pt x="0" y="4"/>
                      </a:lnTo>
                      <a:lnTo>
                        <a:pt x="83" y="7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68" name="Rectangle 34"/>
                <p:cNvSpPr>
                  <a:spLocks noChangeArrowheads="1"/>
                </p:cNvSpPr>
                <p:nvPr/>
              </p:nvSpPr>
              <p:spPr bwMode="auto">
                <a:xfrm>
                  <a:off x="-2525712" y="692150"/>
                  <a:ext cx="30163" cy="25876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9" name="Oval 35"/>
                <p:cNvSpPr>
                  <a:spLocks noChangeArrowheads="1"/>
                </p:cNvSpPr>
                <p:nvPr/>
              </p:nvSpPr>
              <p:spPr bwMode="auto">
                <a:xfrm>
                  <a:off x="-2597150" y="790575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0" name="Oval 36"/>
                <p:cNvSpPr>
                  <a:spLocks noChangeArrowheads="1"/>
                </p:cNvSpPr>
                <p:nvPr/>
              </p:nvSpPr>
              <p:spPr bwMode="auto">
                <a:xfrm>
                  <a:off x="-2597150" y="862013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1" name="Oval 37"/>
                <p:cNvSpPr>
                  <a:spLocks noChangeArrowheads="1"/>
                </p:cNvSpPr>
                <p:nvPr/>
              </p:nvSpPr>
              <p:spPr bwMode="auto">
                <a:xfrm>
                  <a:off x="-2597150" y="928688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2" name="Rectangle 38"/>
                <p:cNvSpPr>
                  <a:spLocks noChangeArrowheads="1"/>
                </p:cNvSpPr>
                <p:nvPr/>
              </p:nvSpPr>
              <p:spPr bwMode="auto">
                <a:xfrm>
                  <a:off x="-3373437" y="692150"/>
                  <a:ext cx="30163" cy="25876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3" name="Oval 39"/>
                <p:cNvSpPr>
                  <a:spLocks noChangeArrowheads="1"/>
                </p:cNvSpPr>
                <p:nvPr/>
              </p:nvSpPr>
              <p:spPr bwMode="auto">
                <a:xfrm>
                  <a:off x="-3444875" y="790575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4" name="Oval 40"/>
                <p:cNvSpPr>
                  <a:spLocks noChangeArrowheads="1"/>
                </p:cNvSpPr>
                <p:nvPr/>
              </p:nvSpPr>
              <p:spPr bwMode="auto">
                <a:xfrm>
                  <a:off x="-3444875" y="862013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5" name="Oval 41"/>
                <p:cNvSpPr>
                  <a:spLocks noChangeArrowheads="1"/>
                </p:cNvSpPr>
                <p:nvPr/>
              </p:nvSpPr>
              <p:spPr bwMode="auto">
                <a:xfrm>
                  <a:off x="-3444875" y="928688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6" name="Freeform 42"/>
                <p:cNvSpPr/>
                <p:nvPr/>
              </p:nvSpPr>
              <p:spPr bwMode="auto">
                <a:xfrm>
                  <a:off x="-2998787" y="501650"/>
                  <a:ext cx="112713" cy="96838"/>
                </a:xfrm>
                <a:custGeom>
                  <a:avLst/>
                  <a:gdLst>
                    <a:gd name="T0" fmla="*/ 2147483646 w 71"/>
                    <a:gd name="T1" fmla="*/ 2147483646 h 61"/>
                    <a:gd name="T2" fmla="*/ 0 w 71"/>
                    <a:gd name="T3" fmla="*/ 2147483646 h 61"/>
                    <a:gd name="T4" fmla="*/ 2147483646 w 71"/>
                    <a:gd name="T5" fmla="*/ 0 h 61"/>
                    <a:gd name="T6" fmla="*/ 2147483646 w 71"/>
                    <a:gd name="T7" fmla="*/ 2147483646 h 61"/>
                    <a:gd name="T8" fmla="*/ 2147483646 w 71"/>
                    <a:gd name="T9" fmla="*/ 2147483646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1" h="61">
                      <a:moveTo>
                        <a:pt x="3" y="61"/>
                      </a:moveTo>
                      <a:lnTo>
                        <a:pt x="0" y="57"/>
                      </a:lnTo>
                      <a:lnTo>
                        <a:pt x="67" y="0"/>
                      </a:lnTo>
                      <a:lnTo>
                        <a:pt x="71" y="5"/>
                      </a:lnTo>
                      <a:lnTo>
                        <a:pt x="3" y="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7" name="Freeform 43"/>
                <p:cNvSpPr/>
                <p:nvPr/>
              </p:nvSpPr>
              <p:spPr bwMode="auto">
                <a:xfrm>
                  <a:off x="-2998787" y="501650"/>
                  <a:ext cx="112713" cy="96838"/>
                </a:xfrm>
                <a:custGeom>
                  <a:avLst/>
                  <a:gdLst>
                    <a:gd name="T0" fmla="*/ 2147483646 w 71"/>
                    <a:gd name="T1" fmla="*/ 2147483646 h 61"/>
                    <a:gd name="T2" fmla="*/ 2147483646 w 71"/>
                    <a:gd name="T3" fmla="*/ 2147483646 h 61"/>
                    <a:gd name="T4" fmla="*/ 2147483646 w 71"/>
                    <a:gd name="T5" fmla="*/ 0 h 61"/>
                    <a:gd name="T6" fmla="*/ 0 w 71"/>
                    <a:gd name="T7" fmla="*/ 2147483646 h 61"/>
                    <a:gd name="T8" fmla="*/ 2147483646 w 71"/>
                    <a:gd name="T9" fmla="*/ 2147483646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1" h="61">
                      <a:moveTo>
                        <a:pt x="67" y="61"/>
                      </a:moveTo>
                      <a:lnTo>
                        <a:pt x="71" y="57"/>
                      </a:lnTo>
                      <a:lnTo>
                        <a:pt x="3" y="0"/>
                      </a:lnTo>
                      <a:lnTo>
                        <a:pt x="0" y="5"/>
                      </a:lnTo>
                      <a:lnTo>
                        <a:pt x="67" y="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8" name="Freeform 44"/>
                <p:cNvSpPr/>
                <p:nvPr/>
              </p:nvSpPr>
              <p:spPr bwMode="auto">
                <a:xfrm>
                  <a:off x="-2982912" y="433388"/>
                  <a:ext cx="77788" cy="71438"/>
                </a:xfrm>
                <a:custGeom>
                  <a:avLst/>
                  <a:gdLst>
                    <a:gd name="T0" fmla="*/ 2147483646 w 49"/>
                    <a:gd name="T1" fmla="*/ 2147483646 h 45"/>
                    <a:gd name="T2" fmla="*/ 0 w 49"/>
                    <a:gd name="T3" fmla="*/ 2147483646 h 45"/>
                    <a:gd name="T4" fmla="*/ 2147483646 w 49"/>
                    <a:gd name="T5" fmla="*/ 0 h 45"/>
                    <a:gd name="T6" fmla="*/ 2147483646 w 49"/>
                    <a:gd name="T7" fmla="*/ 2147483646 h 45"/>
                    <a:gd name="T8" fmla="*/ 2147483646 w 49"/>
                    <a:gd name="T9" fmla="*/ 2147483646 h 4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5">
                      <a:moveTo>
                        <a:pt x="2" y="45"/>
                      </a:moveTo>
                      <a:lnTo>
                        <a:pt x="0" y="43"/>
                      </a:lnTo>
                      <a:lnTo>
                        <a:pt x="47" y="0"/>
                      </a:lnTo>
                      <a:lnTo>
                        <a:pt x="49" y="5"/>
                      </a:lnTo>
                      <a:lnTo>
                        <a:pt x="2" y="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9" name="Freeform 45"/>
                <p:cNvSpPr/>
                <p:nvPr/>
              </p:nvSpPr>
              <p:spPr bwMode="auto">
                <a:xfrm>
                  <a:off x="-2982912" y="433388"/>
                  <a:ext cx="77788" cy="71438"/>
                </a:xfrm>
                <a:custGeom>
                  <a:avLst/>
                  <a:gdLst>
                    <a:gd name="T0" fmla="*/ 2147483646 w 49"/>
                    <a:gd name="T1" fmla="*/ 2147483646 h 45"/>
                    <a:gd name="T2" fmla="*/ 2147483646 w 49"/>
                    <a:gd name="T3" fmla="*/ 2147483646 h 45"/>
                    <a:gd name="T4" fmla="*/ 2147483646 w 49"/>
                    <a:gd name="T5" fmla="*/ 0 h 45"/>
                    <a:gd name="T6" fmla="*/ 0 w 49"/>
                    <a:gd name="T7" fmla="*/ 2147483646 h 45"/>
                    <a:gd name="T8" fmla="*/ 2147483646 w 49"/>
                    <a:gd name="T9" fmla="*/ 2147483646 h 4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5">
                      <a:moveTo>
                        <a:pt x="47" y="45"/>
                      </a:moveTo>
                      <a:lnTo>
                        <a:pt x="49" y="43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47" y="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0" name="Rectangle 46"/>
                <p:cNvSpPr>
                  <a:spLocks noChangeArrowheads="1"/>
                </p:cNvSpPr>
                <p:nvPr/>
              </p:nvSpPr>
              <p:spPr bwMode="auto">
                <a:xfrm>
                  <a:off x="-3717925" y="1150938"/>
                  <a:ext cx="1555750" cy="333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81" name="Freeform 47"/>
                <p:cNvSpPr/>
                <p:nvPr/>
              </p:nvSpPr>
              <p:spPr bwMode="auto">
                <a:xfrm>
                  <a:off x="-2806700" y="1157288"/>
                  <a:ext cx="644525" cy="198438"/>
                </a:xfrm>
                <a:custGeom>
                  <a:avLst/>
                  <a:gdLst>
                    <a:gd name="T0" fmla="*/ 2147483646 w 406"/>
                    <a:gd name="T1" fmla="*/ 2147483646 h 125"/>
                    <a:gd name="T2" fmla="*/ 2147483646 w 406"/>
                    <a:gd name="T3" fmla="*/ 2147483646 h 125"/>
                    <a:gd name="T4" fmla="*/ 0 w 406"/>
                    <a:gd name="T5" fmla="*/ 2147483646 h 125"/>
                    <a:gd name="T6" fmla="*/ 2147483646 w 406"/>
                    <a:gd name="T7" fmla="*/ 0 h 125"/>
                    <a:gd name="T8" fmla="*/ 2147483646 w 406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6" h="125">
                      <a:moveTo>
                        <a:pt x="406" y="24"/>
                      </a:moveTo>
                      <a:lnTo>
                        <a:pt x="2" y="125"/>
                      </a:lnTo>
                      <a:lnTo>
                        <a:pt x="0" y="104"/>
                      </a:lnTo>
                      <a:lnTo>
                        <a:pt x="404" y="0"/>
                      </a:lnTo>
                      <a:lnTo>
                        <a:pt x="406" y="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2" name="Freeform 48"/>
                <p:cNvSpPr/>
                <p:nvPr/>
              </p:nvSpPr>
              <p:spPr bwMode="auto">
                <a:xfrm>
                  <a:off x="-3717925" y="1157288"/>
                  <a:ext cx="644525" cy="198438"/>
                </a:xfrm>
                <a:custGeom>
                  <a:avLst/>
                  <a:gdLst>
                    <a:gd name="T0" fmla="*/ 0 w 406"/>
                    <a:gd name="T1" fmla="*/ 2147483646 h 125"/>
                    <a:gd name="T2" fmla="*/ 2147483646 w 406"/>
                    <a:gd name="T3" fmla="*/ 2147483646 h 125"/>
                    <a:gd name="T4" fmla="*/ 2147483646 w 406"/>
                    <a:gd name="T5" fmla="*/ 2147483646 h 125"/>
                    <a:gd name="T6" fmla="*/ 2147483646 w 406"/>
                    <a:gd name="T7" fmla="*/ 0 h 125"/>
                    <a:gd name="T8" fmla="*/ 0 w 406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6" h="125">
                      <a:moveTo>
                        <a:pt x="0" y="24"/>
                      </a:moveTo>
                      <a:lnTo>
                        <a:pt x="404" y="125"/>
                      </a:lnTo>
                      <a:lnTo>
                        <a:pt x="406" y="104"/>
                      </a:lnTo>
                      <a:lnTo>
                        <a:pt x="2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3" name="Freeform 49"/>
                <p:cNvSpPr/>
                <p:nvPr/>
              </p:nvSpPr>
              <p:spPr bwMode="auto">
                <a:xfrm>
                  <a:off x="-2754312" y="1165225"/>
                  <a:ext cx="115888" cy="138113"/>
                </a:xfrm>
                <a:custGeom>
                  <a:avLst/>
                  <a:gdLst>
                    <a:gd name="T0" fmla="*/ 2147483646 w 73"/>
                    <a:gd name="T1" fmla="*/ 2147483646 h 87"/>
                    <a:gd name="T2" fmla="*/ 2147483646 w 73"/>
                    <a:gd name="T3" fmla="*/ 2147483646 h 87"/>
                    <a:gd name="T4" fmla="*/ 2147483646 w 73"/>
                    <a:gd name="T5" fmla="*/ 0 h 87"/>
                    <a:gd name="T6" fmla="*/ 0 w 73"/>
                    <a:gd name="T7" fmla="*/ 2147483646 h 87"/>
                    <a:gd name="T8" fmla="*/ 2147483646 w 73"/>
                    <a:gd name="T9" fmla="*/ 2147483646 h 8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87">
                      <a:moveTo>
                        <a:pt x="68" y="87"/>
                      </a:moveTo>
                      <a:lnTo>
                        <a:pt x="73" y="80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68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4" name="Freeform 50"/>
                <p:cNvSpPr/>
                <p:nvPr/>
              </p:nvSpPr>
              <p:spPr bwMode="auto">
                <a:xfrm>
                  <a:off x="-2649537" y="1146175"/>
                  <a:ext cx="115888" cy="142875"/>
                </a:xfrm>
                <a:custGeom>
                  <a:avLst/>
                  <a:gdLst>
                    <a:gd name="T0" fmla="*/ 2147483646 w 73"/>
                    <a:gd name="T1" fmla="*/ 2147483646 h 90"/>
                    <a:gd name="T2" fmla="*/ 2147483646 w 73"/>
                    <a:gd name="T3" fmla="*/ 2147483646 h 90"/>
                    <a:gd name="T4" fmla="*/ 2147483646 w 73"/>
                    <a:gd name="T5" fmla="*/ 0 h 90"/>
                    <a:gd name="T6" fmla="*/ 0 w 73"/>
                    <a:gd name="T7" fmla="*/ 2147483646 h 90"/>
                    <a:gd name="T8" fmla="*/ 2147483646 w 73"/>
                    <a:gd name="T9" fmla="*/ 2147483646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90">
                      <a:moveTo>
                        <a:pt x="71" y="90"/>
                      </a:moveTo>
                      <a:lnTo>
                        <a:pt x="73" y="83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71" y="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5" name="Freeform 51"/>
                <p:cNvSpPr/>
                <p:nvPr/>
              </p:nvSpPr>
              <p:spPr bwMode="auto">
                <a:xfrm>
                  <a:off x="-2522537" y="1165225"/>
                  <a:ext cx="90488" cy="93663"/>
                </a:xfrm>
                <a:custGeom>
                  <a:avLst/>
                  <a:gdLst>
                    <a:gd name="T0" fmla="*/ 2147483646 w 57"/>
                    <a:gd name="T1" fmla="*/ 2147483646 h 59"/>
                    <a:gd name="T2" fmla="*/ 2147483646 w 57"/>
                    <a:gd name="T3" fmla="*/ 2147483646 h 59"/>
                    <a:gd name="T4" fmla="*/ 2147483646 w 57"/>
                    <a:gd name="T5" fmla="*/ 0 h 59"/>
                    <a:gd name="T6" fmla="*/ 0 w 57"/>
                    <a:gd name="T7" fmla="*/ 2147483646 h 59"/>
                    <a:gd name="T8" fmla="*/ 2147483646 w 57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52" y="59"/>
                      </a:moveTo>
                      <a:lnTo>
                        <a:pt x="57" y="52"/>
                      </a:lnTo>
                      <a:lnTo>
                        <a:pt x="5" y="0"/>
                      </a:lnTo>
                      <a:lnTo>
                        <a:pt x="0" y="5"/>
                      </a:lnTo>
                      <a:lnTo>
                        <a:pt x="52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6" name="Freeform 52"/>
                <p:cNvSpPr/>
                <p:nvPr/>
              </p:nvSpPr>
              <p:spPr bwMode="auto">
                <a:xfrm>
                  <a:off x="-2405062" y="1165225"/>
                  <a:ext cx="71438" cy="60325"/>
                </a:xfrm>
                <a:custGeom>
                  <a:avLst/>
                  <a:gdLst>
                    <a:gd name="T0" fmla="*/ 2147483646 w 45"/>
                    <a:gd name="T1" fmla="*/ 2147483646 h 38"/>
                    <a:gd name="T2" fmla="*/ 2147483646 w 45"/>
                    <a:gd name="T3" fmla="*/ 2147483646 h 38"/>
                    <a:gd name="T4" fmla="*/ 2147483646 w 45"/>
                    <a:gd name="T5" fmla="*/ 0 h 38"/>
                    <a:gd name="T6" fmla="*/ 0 w 45"/>
                    <a:gd name="T7" fmla="*/ 2147483646 h 38"/>
                    <a:gd name="T8" fmla="*/ 2147483646 w 45"/>
                    <a:gd name="T9" fmla="*/ 2147483646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38">
                      <a:moveTo>
                        <a:pt x="40" y="38"/>
                      </a:moveTo>
                      <a:lnTo>
                        <a:pt x="45" y="31"/>
                      </a:lnTo>
                      <a:lnTo>
                        <a:pt x="4" y="0"/>
                      </a:lnTo>
                      <a:lnTo>
                        <a:pt x="0" y="7"/>
                      </a:lnTo>
                      <a:lnTo>
                        <a:pt x="40" y="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7" name="Freeform 53"/>
                <p:cNvSpPr/>
                <p:nvPr/>
              </p:nvSpPr>
              <p:spPr bwMode="auto">
                <a:xfrm>
                  <a:off x="-2409825" y="1154113"/>
                  <a:ext cx="76200" cy="93663"/>
                </a:xfrm>
                <a:custGeom>
                  <a:avLst/>
                  <a:gdLst>
                    <a:gd name="T0" fmla="*/ 2147483646 w 48"/>
                    <a:gd name="T1" fmla="*/ 2147483646 h 59"/>
                    <a:gd name="T2" fmla="*/ 0 w 48"/>
                    <a:gd name="T3" fmla="*/ 2147483646 h 59"/>
                    <a:gd name="T4" fmla="*/ 2147483646 w 48"/>
                    <a:gd name="T5" fmla="*/ 0 h 59"/>
                    <a:gd name="T6" fmla="*/ 2147483646 w 48"/>
                    <a:gd name="T7" fmla="*/ 2147483646 h 59"/>
                    <a:gd name="T8" fmla="*/ 2147483646 w 48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8" h="59">
                      <a:moveTo>
                        <a:pt x="3" y="59"/>
                      </a:moveTo>
                      <a:lnTo>
                        <a:pt x="0" y="52"/>
                      </a:lnTo>
                      <a:lnTo>
                        <a:pt x="43" y="0"/>
                      </a:lnTo>
                      <a:lnTo>
                        <a:pt x="48" y="7"/>
                      </a:lnTo>
                      <a:lnTo>
                        <a:pt x="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8" name="Freeform 54"/>
                <p:cNvSpPr/>
                <p:nvPr/>
              </p:nvSpPr>
              <p:spPr bwMode="auto">
                <a:xfrm>
                  <a:off x="-2528887" y="1150938"/>
                  <a:ext cx="107950" cy="127000"/>
                </a:xfrm>
                <a:custGeom>
                  <a:avLst/>
                  <a:gdLst>
                    <a:gd name="T0" fmla="*/ 2147483646 w 68"/>
                    <a:gd name="T1" fmla="*/ 2147483646 h 80"/>
                    <a:gd name="T2" fmla="*/ 0 w 68"/>
                    <a:gd name="T3" fmla="*/ 2147483646 h 80"/>
                    <a:gd name="T4" fmla="*/ 2147483646 w 68"/>
                    <a:gd name="T5" fmla="*/ 0 h 80"/>
                    <a:gd name="T6" fmla="*/ 2147483646 w 68"/>
                    <a:gd name="T7" fmla="*/ 2147483646 h 80"/>
                    <a:gd name="T8" fmla="*/ 2147483646 w 68"/>
                    <a:gd name="T9" fmla="*/ 2147483646 h 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8" h="80">
                      <a:moveTo>
                        <a:pt x="4" y="80"/>
                      </a:moveTo>
                      <a:lnTo>
                        <a:pt x="0" y="75"/>
                      </a:lnTo>
                      <a:lnTo>
                        <a:pt x="63" y="0"/>
                      </a:lnTo>
                      <a:lnTo>
                        <a:pt x="68" y="7"/>
                      </a:lnTo>
                      <a:lnTo>
                        <a:pt x="4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9" name="Freeform 55"/>
                <p:cNvSpPr/>
                <p:nvPr/>
              </p:nvSpPr>
              <p:spPr bwMode="auto">
                <a:xfrm>
                  <a:off x="-2671762" y="1154113"/>
                  <a:ext cx="138113" cy="168275"/>
                </a:xfrm>
                <a:custGeom>
                  <a:avLst/>
                  <a:gdLst>
                    <a:gd name="T0" fmla="*/ 2147483646 w 87"/>
                    <a:gd name="T1" fmla="*/ 2147483646 h 106"/>
                    <a:gd name="T2" fmla="*/ 0 w 87"/>
                    <a:gd name="T3" fmla="*/ 2147483646 h 106"/>
                    <a:gd name="T4" fmla="*/ 2147483646 w 87"/>
                    <a:gd name="T5" fmla="*/ 0 h 106"/>
                    <a:gd name="T6" fmla="*/ 2147483646 w 87"/>
                    <a:gd name="T7" fmla="*/ 2147483646 h 106"/>
                    <a:gd name="T8" fmla="*/ 2147483646 w 87"/>
                    <a:gd name="T9" fmla="*/ 2147483646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106">
                      <a:moveTo>
                        <a:pt x="2" y="106"/>
                      </a:moveTo>
                      <a:lnTo>
                        <a:pt x="0" y="99"/>
                      </a:lnTo>
                      <a:lnTo>
                        <a:pt x="83" y="0"/>
                      </a:lnTo>
                      <a:lnTo>
                        <a:pt x="87" y="7"/>
                      </a:lnTo>
                      <a:lnTo>
                        <a:pt x="2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0" name="Freeform 56"/>
                <p:cNvSpPr/>
                <p:nvPr/>
              </p:nvSpPr>
              <p:spPr bwMode="auto">
                <a:xfrm>
                  <a:off x="-2773362" y="1162050"/>
                  <a:ext cx="127000" cy="182563"/>
                </a:xfrm>
                <a:custGeom>
                  <a:avLst/>
                  <a:gdLst>
                    <a:gd name="T0" fmla="*/ 2147483646 w 80"/>
                    <a:gd name="T1" fmla="*/ 2147483646 h 115"/>
                    <a:gd name="T2" fmla="*/ 0 w 80"/>
                    <a:gd name="T3" fmla="*/ 2147483646 h 115"/>
                    <a:gd name="T4" fmla="*/ 2147483646 w 80"/>
                    <a:gd name="T5" fmla="*/ 0 h 115"/>
                    <a:gd name="T6" fmla="*/ 2147483646 w 80"/>
                    <a:gd name="T7" fmla="*/ 2147483646 h 115"/>
                    <a:gd name="T8" fmla="*/ 2147483646 w 80"/>
                    <a:gd name="T9" fmla="*/ 2147483646 h 1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0" h="115">
                      <a:moveTo>
                        <a:pt x="5" y="115"/>
                      </a:moveTo>
                      <a:lnTo>
                        <a:pt x="0" y="111"/>
                      </a:lnTo>
                      <a:lnTo>
                        <a:pt x="76" y="0"/>
                      </a:lnTo>
                      <a:lnTo>
                        <a:pt x="80" y="7"/>
                      </a:lnTo>
                      <a:lnTo>
                        <a:pt x="5" y="1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1" name="Freeform 57"/>
                <p:cNvSpPr/>
                <p:nvPr/>
              </p:nvSpPr>
              <p:spPr bwMode="auto">
                <a:xfrm>
                  <a:off x="-3241675" y="1165225"/>
                  <a:ext cx="115888" cy="138113"/>
                </a:xfrm>
                <a:custGeom>
                  <a:avLst/>
                  <a:gdLst>
                    <a:gd name="T0" fmla="*/ 2147483646 w 73"/>
                    <a:gd name="T1" fmla="*/ 2147483646 h 87"/>
                    <a:gd name="T2" fmla="*/ 0 w 73"/>
                    <a:gd name="T3" fmla="*/ 2147483646 h 87"/>
                    <a:gd name="T4" fmla="*/ 2147483646 w 73"/>
                    <a:gd name="T5" fmla="*/ 0 h 87"/>
                    <a:gd name="T6" fmla="*/ 2147483646 w 73"/>
                    <a:gd name="T7" fmla="*/ 2147483646 h 87"/>
                    <a:gd name="T8" fmla="*/ 2147483646 w 73"/>
                    <a:gd name="T9" fmla="*/ 2147483646 h 8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87">
                      <a:moveTo>
                        <a:pt x="5" y="87"/>
                      </a:moveTo>
                      <a:lnTo>
                        <a:pt x="0" y="80"/>
                      </a:lnTo>
                      <a:lnTo>
                        <a:pt x="68" y="0"/>
                      </a:lnTo>
                      <a:lnTo>
                        <a:pt x="73" y="5"/>
                      </a:lnTo>
                      <a:lnTo>
                        <a:pt x="5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2" name="Freeform 58"/>
                <p:cNvSpPr/>
                <p:nvPr/>
              </p:nvSpPr>
              <p:spPr bwMode="auto">
                <a:xfrm>
                  <a:off x="-3351212" y="1146175"/>
                  <a:ext cx="117475" cy="142875"/>
                </a:xfrm>
                <a:custGeom>
                  <a:avLst/>
                  <a:gdLst>
                    <a:gd name="T0" fmla="*/ 2147483646 w 74"/>
                    <a:gd name="T1" fmla="*/ 2147483646 h 90"/>
                    <a:gd name="T2" fmla="*/ 0 w 74"/>
                    <a:gd name="T3" fmla="*/ 2147483646 h 90"/>
                    <a:gd name="T4" fmla="*/ 2147483646 w 74"/>
                    <a:gd name="T5" fmla="*/ 0 h 90"/>
                    <a:gd name="T6" fmla="*/ 2147483646 w 74"/>
                    <a:gd name="T7" fmla="*/ 2147483646 h 90"/>
                    <a:gd name="T8" fmla="*/ 2147483646 w 74"/>
                    <a:gd name="T9" fmla="*/ 2147483646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4" h="90">
                      <a:moveTo>
                        <a:pt x="5" y="90"/>
                      </a:moveTo>
                      <a:lnTo>
                        <a:pt x="0" y="83"/>
                      </a:lnTo>
                      <a:lnTo>
                        <a:pt x="69" y="0"/>
                      </a:lnTo>
                      <a:lnTo>
                        <a:pt x="74" y="7"/>
                      </a:lnTo>
                      <a:lnTo>
                        <a:pt x="5" y="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3" name="Freeform 59"/>
                <p:cNvSpPr/>
                <p:nvPr/>
              </p:nvSpPr>
              <p:spPr bwMode="auto">
                <a:xfrm>
                  <a:off x="-3448050" y="1165225"/>
                  <a:ext cx="90488" cy="93663"/>
                </a:xfrm>
                <a:custGeom>
                  <a:avLst/>
                  <a:gdLst>
                    <a:gd name="T0" fmla="*/ 2147483646 w 57"/>
                    <a:gd name="T1" fmla="*/ 2147483646 h 59"/>
                    <a:gd name="T2" fmla="*/ 0 w 57"/>
                    <a:gd name="T3" fmla="*/ 2147483646 h 59"/>
                    <a:gd name="T4" fmla="*/ 2147483646 w 57"/>
                    <a:gd name="T5" fmla="*/ 0 h 59"/>
                    <a:gd name="T6" fmla="*/ 2147483646 w 57"/>
                    <a:gd name="T7" fmla="*/ 2147483646 h 59"/>
                    <a:gd name="T8" fmla="*/ 2147483646 w 57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5" y="59"/>
                      </a:moveTo>
                      <a:lnTo>
                        <a:pt x="0" y="52"/>
                      </a:lnTo>
                      <a:lnTo>
                        <a:pt x="52" y="0"/>
                      </a:lnTo>
                      <a:lnTo>
                        <a:pt x="57" y="5"/>
                      </a:lnTo>
                      <a:lnTo>
                        <a:pt x="5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4" name="Freeform 60"/>
                <p:cNvSpPr/>
                <p:nvPr/>
              </p:nvSpPr>
              <p:spPr bwMode="auto">
                <a:xfrm>
                  <a:off x="-3546475" y="1165225"/>
                  <a:ext cx="68263" cy="60325"/>
                </a:xfrm>
                <a:custGeom>
                  <a:avLst/>
                  <a:gdLst>
                    <a:gd name="T0" fmla="*/ 2147483646 w 43"/>
                    <a:gd name="T1" fmla="*/ 2147483646 h 38"/>
                    <a:gd name="T2" fmla="*/ 0 w 43"/>
                    <a:gd name="T3" fmla="*/ 2147483646 h 38"/>
                    <a:gd name="T4" fmla="*/ 2147483646 w 43"/>
                    <a:gd name="T5" fmla="*/ 0 h 38"/>
                    <a:gd name="T6" fmla="*/ 2147483646 w 43"/>
                    <a:gd name="T7" fmla="*/ 2147483646 h 38"/>
                    <a:gd name="T8" fmla="*/ 2147483646 w 43"/>
                    <a:gd name="T9" fmla="*/ 2147483646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38">
                      <a:moveTo>
                        <a:pt x="5" y="38"/>
                      </a:moveTo>
                      <a:lnTo>
                        <a:pt x="0" y="31"/>
                      </a:lnTo>
                      <a:lnTo>
                        <a:pt x="38" y="0"/>
                      </a:lnTo>
                      <a:lnTo>
                        <a:pt x="43" y="7"/>
                      </a:lnTo>
                      <a:lnTo>
                        <a:pt x="5" y="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5" name="Freeform 61"/>
                <p:cNvSpPr/>
                <p:nvPr/>
              </p:nvSpPr>
              <p:spPr bwMode="auto">
                <a:xfrm>
                  <a:off x="-3546475" y="1154113"/>
                  <a:ext cx="76200" cy="93663"/>
                </a:xfrm>
                <a:custGeom>
                  <a:avLst/>
                  <a:gdLst>
                    <a:gd name="T0" fmla="*/ 2147483646 w 48"/>
                    <a:gd name="T1" fmla="*/ 2147483646 h 59"/>
                    <a:gd name="T2" fmla="*/ 2147483646 w 48"/>
                    <a:gd name="T3" fmla="*/ 2147483646 h 59"/>
                    <a:gd name="T4" fmla="*/ 2147483646 w 48"/>
                    <a:gd name="T5" fmla="*/ 0 h 59"/>
                    <a:gd name="T6" fmla="*/ 0 w 48"/>
                    <a:gd name="T7" fmla="*/ 2147483646 h 59"/>
                    <a:gd name="T8" fmla="*/ 2147483646 w 48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8" h="59">
                      <a:moveTo>
                        <a:pt x="43" y="59"/>
                      </a:moveTo>
                      <a:lnTo>
                        <a:pt x="48" y="52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4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6" name="Freeform 62"/>
                <p:cNvSpPr/>
                <p:nvPr/>
              </p:nvSpPr>
              <p:spPr bwMode="auto">
                <a:xfrm>
                  <a:off x="-3459162" y="1150938"/>
                  <a:ext cx="104775" cy="127000"/>
                </a:xfrm>
                <a:custGeom>
                  <a:avLst/>
                  <a:gdLst>
                    <a:gd name="T0" fmla="*/ 2147483646 w 66"/>
                    <a:gd name="T1" fmla="*/ 2147483646 h 80"/>
                    <a:gd name="T2" fmla="*/ 2147483646 w 66"/>
                    <a:gd name="T3" fmla="*/ 2147483646 h 80"/>
                    <a:gd name="T4" fmla="*/ 2147483646 w 66"/>
                    <a:gd name="T5" fmla="*/ 0 h 80"/>
                    <a:gd name="T6" fmla="*/ 0 w 66"/>
                    <a:gd name="T7" fmla="*/ 2147483646 h 80"/>
                    <a:gd name="T8" fmla="*/ 2147483646 w 66"/>
                    <a:gd name="T9" fmla="*/ 2147483646 h 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6" h="80">
                      <a:moveTo>
                        <a:pt x="64" y="80"/>
                      </a:moveTo>
                      <a:lnTo>
                        <a:pt x="66" y="75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64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7" name="Freeform 63"/>
                <p:cNvSpPr/>
                <p:nvPr/>
              </p:nvSpPr>
              <p:spPr bwMode="auto">
                <a:xfrm>
                  <a:off x="-3346450" y="1154113"/>
                  <a:ext cx="138113" cy="168275"/>
                </a:xfrm>
                <a:custGeom>
                  <a:avLst/>
                  <a:gdLst>
                    <a:gd name="T0" fmla="*/ 2147483646 w 87"/>
                    <a:gd name="T1" fmla="*/ 2147483646 h 106"/>
                    <a:gd name="T2" fmla="*/ 2147483646 w 87"/>
                    <a:gd name="T3" fmla="*/ 2147483646 h 106"/>
                    <a:gd name="T4" fmla="*/ 2147483646 w 87"/>
                    <a:gd name="T5" fmla="*/ 0 h 106"/>
                    <a:gd name="T6" fmla="*/ 0 w 87"/>
                    <a:gd name="T7" fmla="*/ 2147483646 h 106"/>
                    <a:gd name="T8" fmla="*/ 2147483646 w 87"/>
                    <a:gd name="T9" fmla="*/ 2147483646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106">
                      <a:moveTo>
                        <a:pt x="82" y="106"/>
                      </a:moveTo>
                      <a:lnTo>
                        <a:pt x="87" y="99"/>
                      </a:lnTo>
                      <a:lnTo>
                        <a:pt x="2" y="0"/>
                      </a:lnTo>
                      <a:lnTo>
                        <a:pt x="0" y="7"/>
                      </a:lnTo>
                      <a:lnTo>
                        <a:pt x="82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8" name="Freeform 64"/>
                <p:cNvSpPr/>
                <p:nvPr/>
              </p:nvSpPr>
              <p:spPr bwMode="auto">
                <a:xfrm>
                  <a:off x="-3233737" y="1162050"/>
                  <a:ext cx="127000" cy="182563"/>
                </a:xfrm>
                <a:custGeom>
                  <a:avLst/>
                  <a:gdLst>
                    <a:gd name="T0" fmla="*/ 2147483646 w 80"/>
                    <a:gd name="T1" fmla="*/ 2147483646 h 115"/>
                    <a:gd name="T2" fmla="*/ 2147483646 w 80"/>
                    <a:gd name="T3" fmla="*/ 2147483646 h 115"/>
                    <a:gd name="T4" fmla="*/ 2147483646 w 80"/>
                    <a:gd name="T5" fmla="*/ 0 h 115"/>
                    <a:gd name="T6" fmla="*/ 0 w 80"/>
                    <a:gd name="T7" fmla="*/ 2147483646 h 115"/>
                    <a:gd name="T8" fmla="*/ 2147483646 w 80"/>
                    <a:gd name="T9" fmla="*/ 2147483646 h 1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0" h="115">
                      <a:moveTo>
                        <a:pt x="75" y="115"/>
                      </a:moveTo>
                      <a:lnTo>
                        <a:pt x="80" y="111"/>
                      </a:lnTo>
                      <a:lnTo>
                        <a:pt x="4" y="0"/>
                      </a:lnTo>
                      <a:lnTo>
                        <a:pt x="0" y="7"/>
                      </a:lnTo>
                      <a:lnTo>
                        <a:pt x="75" y="1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9" name="Rectangle 65"/>
                <p:cNvSpPr>
                  <a:spLocks noChangeArrowheads="1"/>
                </p:cNvSpPr>
                <p:nvPr/>
              </p:nvSpPr>
              <p:spPr bwMode="auto">
                <a:xfrm>
                  <a:off x="-3081337" y="1319213"/>
                  <a:ext cx="285750" cy="3651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00" name="Rectangle 66"/>
                <p:cNvSpPr>
                  <a:spLocks noChangeArrowheads="1"/>
                </p:cNvSpPr>
                <p:nvPr/>
              </p:nvSpPr>
              <p:spPr bwMode="auto">
                <a:xfrm>
                  <a:off x="-3373437" y="688975"/>
                  <a:ext cx="881063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01" name="Freeform 67"/>
                <p:cNvSpPr/>
                <p:nvPr/>
              </p:nvSpPr>
              <p:spPr bwMode="auto">
                <a:xfrm>
                  <a:off x="-2859087" y="692150"/>
                  <a:ext cx="366713" cy="112713"/>
                </a:xfrm>
                <a:custGeom>
                  <a:avLst/>
                  <a:gdLst>
                    <a:gd name="T0" fmla="*/ 2147483646 w 231"/>
                    <a:gd name="T1" fmla="*/ 2147483646 h 71"/>
                    <a:gd name="T2" fmla="*/ 2147483646 w 231"/>
                    <a:gd name="T3" fmla="*/ 2147483646 h 71"/>
                    <a:gd name="T4" fmla="*/ 0 w 231"/>
                    <a:gd name="T5" fmla="*/ 2147483646 h 71"/>
                    <a:gd name="T6" fmla="*/ 2147483646 w 231"/>
                    <a:gd name="T7" fmla="*/ 0 h 71"/>
                    <a:gd name="T8" fmla="*/ 2147483646 w 231"/>
                    <a:gd name="T9" fmla="*/ 2147483646 h 7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31" h="71">
                      <a:moveTo>
                        <a:pt x="231" y="15"/>
                      </a:moveTo>
                      <a:lnTo>
                        <a:pt x="2" y="71"/>
                      </a:lnTo>
                      <a:lnTo>
                        <a:pt x="0" y="59"/>
                      </a:lnTo>
                      <a:lnTo>
                        <a:pt x="229" y="0"/>
                      </a:lnTo>
                      <a:lnTo>
                        <a:pt x="231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2" name="Freeform 68"/>
                <p:cNvSpPr/>
                <p:nvPr/>
              </p:nvSpPr>
              <p:spPr bwMode="auto">
                <a:xfrm>
                  <a:off x="-3373437" y="692150"/>
                  <a:ext cx="363538" cy="112713"/>
                </a:xfrm>
                <a:custGeom>
                  <a:avLst/>
                  <a:gdLst>
                    <a:gd name="T0" fmla="*/ 0 w 229"/>
                    <a:gd name="T1" fmla="*/ 2147483646 h 71"/>
                    <a:gd name="T2" fmla="*/ 2147483646 w 229"/>
                    <a:gd name="T3" fmla="*/ 2147483646 h 71"/>
                    <a:gd name="T4" fmla="*/ 2147483646 w 229"/>
                    <a:gd name="T5" fmla="*/ 2147483646 h 71"/>
                    <a:gd name="T6" fmla="*/ 0 w 229"/>
                    <a:gd name="T7" fmla="*/ 0 h 71"/>
                    <a:gd name="T8" fmla="*/ 0 w 229"/>
                    <a:gd name="T9" fmla="*/ 2147483646 h 7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9" h="71">
                      <a:moveTo>
                        <a:pt x="0" y="15"/>
                      </a:moveTo>
                      <a:lnTo>
                        <a:pt x="229" y="71"/>
                      </a:lnTo>
                      <a:lnTo>
                        <a:pt x="229" y="59"/>
                      </a:lnTo>
                      <a:lnTo>
                        <a:pt x="0" y="0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3" name="Freeform 69"/>
                <p:cNvSpPr/>
                <p:nvPr/>
              </p:nvSpPr>
              <p:spPr bwMode="auto">
                <a:xfrm>
                  <a:off x="-2828925" y="696913"/>
                  <a:ext cx="66675" cy="82550"/>
                </a:xfrm>
                <a:custGeom>
                  <a:avLst/>
                  <a:gdLst>
                    <a:gd name="T0" fmla="*/ 2147483646 w 42"/>
                    <a:gd name="T1" fmla="*/ 2147483646 h 52"/>
                    <a:gd name="T2" fmla="*/ 2147483646 w 42"/>
                    <a:gd name="T3" fmla="*/ 2147483646 h 52"/>
                    <a:gd name="T4" fmla="*/ 2147483646 w 42"/>
                    <a:gd name="T5" fmla="*/ 0 h 52"/>
                    <a:gd name="T6" fmla="*/ 0 w 42"/>
                    <a:gd name="T7" fmla="*/ 2147483646 h 52"/>
                    <a:gd name="T8" fmla="*/ 2147483646 w 42"/>
                    <a:gd name="T9" fmla="*/ 2147483646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2" h="52">
                      <a:moveTo>
                        <a:pt x="40" y="52"/>
                      </a:moveTo>
                      <a:lnTo>
                        <a:pt x="42" y="47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40" y="5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4" name="Freeform 70"/>
                <p:cNvSpPr/>
                <p:nvPr/>
              </p:nvSpPr>
              <p:spPr bwMode="auto">
                <a:xfrm>
                  <a:off x="-2770187" y="688975"/>
                  <a:ext cx="68263" cy="79375"/>
                </a:xfrm>
                <a:custGeom>
                  <a:avLst/>
                  <a:gdLst>
                    <a:gd name="T0" fmla="*/ 2147483646 w 43"/>
                    <a:gd name="T1" fmla="*/ 2147483646 h 50"/>
                    <a:gd name="T2" fmla="*/ 2147483646 w 43"/>
                    <a:gd name="T3" fmla="*/ 2147483646 h 50"/>
                    <a:gd name="T4" fmla="*/ 2147483646 w 43"/>
                    <a:gd name="T5" fmla="*/ 0 h 50"/>
                    <a:gd name="T6" fmla="*/ 0 w 43"/>
                    <a:gd name="T7" fmla="*/ 2147483646 h 50"/>
                    <a:gd name="T8" fmla="*/ 2147483646 w 43"/>
                    <a:gd name="T9" fmla="*/ 2147483646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0">
                      <a:moveTo>
                        <a:pt x="41" y="50"/>
                      </a:moveTo>
                      <a:lnTo>
                        <a:pt x="43" y="47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1" y="5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5" name="Freeform 71"/>
                <p:cNvSpPr/>
                <p:nvPr/>
              </p:nvSpPr>
              <p:spPr bwMode="auto">
                <a:xfrm>
                  <a:off x="-2698750" y="696913"/>
                  <a:ext cx="52388" cy="52388"/>
                </a:xfrm>
                <a:custGeom>
                  <a:avLst/>
                  <a:gdLst>
                    <a:gd name="T0" fmla="*/ 2147483646 w 33"/>
                    <a:gd name="T1" fmla="*/ 2147483646 h 33"/>
                    <a:gd name="T2" fmla="*/ 2147483646 w 33"/>
                    <a:gd name="T3" fmla="*/ 2147483646 h 33"/>
                    <a:gd name="T4" fmla="*/ 2147483646 w 33"/>
                    <a:gd name="T5" fmla="*/ 0 h 33"/>
                    <a:gd name="T6" fmla="*/ 0 w 33"/>
                    <a:gd name="T7" fmla="*/ 2147483646 h 33"/>
                    <a:gd name="T8" fmla="*/ 2147483646 w 33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3" h="33">
                      <a:moveTo>
                        <a:pt x="31" y="33"/>
                      </a:moveTo>
                      <a:lnTo>
                        <a:pt x="33" y="30"/>
                      </a:ln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31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6" name="Freeform 72"/>
                <p:cNvSpPr/>
                <p:nvPr/>
              </p:nvSpPr>
              <p:spPr bwMode="auto">
                <a:xfrm>
                  <a:off x="-2630487" y="696913"/>
                  <a:ext cx="41275" cy="33338"/>
                </a:xfrm>
                <a:custGeom>
                  <a:avLst/>
                  <a:gdLst>
                    <a:gd name="T0" fmla="*/ 2147483646 w 26"/>
                    <a:gd name="T1" fmla="*/ 2147483646 h 21"/>
                    <a:gd name="T2" fmla="*/ 2147483646 w 26"/>
                    <a:gd name="T3" fmla="*/ 2147483646 h 21"/>
                    <a:gd name="T4" fmla="*/ 2147483646 w 26"/>
                    <a:gd name="T5" fmla="*/ 0 h 21"/>
                    <a:gd name="T6" fmla="*/ 0 w 26"/>
                    <a:gd name="T7" fmla="*/ 2147483646 h 21"/>
                    <a:gd name="T8" fmla="*/ 2147483646 w 26"/>
                    <a:gd name="T9" fmla="*/ 2147483646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21">
                      <a:moveTo>
                        <a:pt x="24" y="21"/>
                      </a:moveTo>
                      <a:lnTo>
                        <a:pt x="26" y="19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24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7" name="Freeform 73"/>
                <p:cNvSpPr/>
                <p:nvPr/>
              </p:nvSpPr>
              <p:spPr bwMode="auto">
                <a:xfrm>
                  <a:off x="-2633662" y="692150"/>
                  <a:ext cx="41275" cy="52388"/>
                </a:xfrm>
                <a:custGeom>
                  <a:avLst/>
                  <a:gdLst>
                    <a:gd name="T0" fmla="*/ 2147483646 w 26"/>
                    <a:gd name="T1" fmla="*/ 2147483646 h 33"/>
                    <a:gd name="T2" fmla="*/ 0 w 26"/>
                    <a:gd name="T3" fmla="*/ 2147483646 h 33"/>
                    <a:gd name="T4" fmla="*/ 2147483646 w 26"/>
                    <a:gd name="T5" fmla="*/ 0 h 33"/>
                    <a:gd name="T6" fmla="*/ 2147483646 w 26"/>
                    <a:gd name="T7" fmla="*/ 2147483646 h 33"/>
                    <a:gd name="T8" fmla="*/ 2147483646 w 26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33">
                      <a:moveTo>
                        <a:pt x="2" y="33"/>
                      </a:moveTo>
                      <a:lnTo>
                        <a:pt x="0" y="29"/>
                      </a:lnTo>
                      <a:lnTo>
                        <a:pt x="23" y="0"/>
                      </a:lnTo>
                      <a:lnTo>
                        <a:pt x="26" y="3"/>
                      </a:lnTo>
                      <a:lnTo>
                        <a:pt x="2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8" name="Freeform 74"/>
                <p:cNvSpPr/>
                <p:nvPr/>
              </p:nvSpPr>
              <p:spPr bwMode="auto">
                <a:xfrm>
                  <a:off x="-2701925" y="688975"/>
                  <a:ext cx="60325" cy="74613"/>
                </a:xfrm>
                <a:custGeom>
                  <a:avLst/>
                  <a:gdLst>
                    <a:gd name="T0" fmla="*/ 2147483646 w 38"/>
                    <a:gd name="T1" fmla="*/ 2147483646 h 47"/>
                    <a:gd name="T2" fmla="*/ 0 w 38"/>
                    <a:gd name="T3" fmla="*/ 2147483646 h 47"/>
                    <a:gd name="T4" fmla="*/ 2147483646 w 38"/>
                    <a:gd name="T5" fmla="*/ 0 h 47"/>
                    <a:gd name="T6" fmla="*/ 2147483646 w 38"/>
                    <a:gd name="T7" fmla="*/ 2147483646 h 47"/>
                    <a:gd name="T8" fmla="*/ 2147483646 w 38"/>
                    <a:gd name="T9" fmla="*/ 2147483646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47">
                      <a:moveTo>
                        <a:pt x="2" y="47"/>
                      </a:moveTo>
                      <a:lnTo>
                        <a:pt x="0" y="42"/>
                      </a:lnTo>
                      <a:lnTo>
                        <a:pt x="38" y="0"/>
                      </a:lnTo>
                      <a:lnTo>
                        <a:pt x="38" y="5"/>
                      </a:lnTo>
                      <a:lnTo>
                        <a:pt x="2" y="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9" name="Freeform 75"/>
                <p:cNvSpPr/>
                <p:nvPr/>
              </p:nvSpPr>
              <p:spPr bwMode="auto">
                <a:xfrm>
                  <a:off x="-2781300" y="692150"/>
                  <a:ext cx="79375" cy="93663"/>
                </a:xfrm>
                <a:custGeom>
                  <a:avLst/>
                  <a:gdLst>
                    <a:gd name="T0" fmla="*/ 2147483646 w 50"/>
                    <a:gd name="T1" fmla="*/ 2147483646 h 59"/>
                    <a:gd name="T2" fmla="*/ 0 w 50"/>
                    <a:gd name="T3" fmla="*/ 2147483646 h 59"/>
                    <a:gd name="T4" fmla="*/ 2147483646 w 50"/>
                    <a:gd name="T5" fmla="*/ 0 h 59"/>
                    <a:gd name="T6" fmla="*/ 2147483646 w 50"/>
                    <a:gd name="T7" fmla="*/ 2147483646 h 59"/>
                    <a:gd name="T8" fmla="*/ 2147483646 w 50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9">
                      <a:moveTo>
                        <a:pt x="3" y="59"/>
                      </a:moveTo>
                      <a:lnTo>
                        <a:pt x="0" y="57"/>
                      </a:lnTo>
                      <a:lnTo>
                        <a:pt x="48" y="0"/>
                      </a:lnTo>
                      <a:lnTo>
                        <a:pt x="50" y="3"/>
                      </a:lnTo>
                      <a:lnTo>
                        <a:pt x="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0" name="Freeform 76"/>
                <p:cNvSpPr/>
                <p:nvPr/>
              </p:nvSpPr>
              <p:spPr bwMode="auto">
                <a:xfrm>
                  <a:off x="-2836862" y="696913"/>
                  <a:ext cx="71438" cy="104775"/>
                </a:xfrm>
                <a:custGeom>
                  <a:avLst/>
                  <a:gdLst>
                    <a:gd name="T0" fmla="*/ 2147483646 w 45"/>
                    <a:gd name="T1" fmla="*/ 2147483646 h 66"/>
                    <a:gd name="T2" fmla="*/ 0 w 45"/>
                    <a:gd name="T3" fmla="*/ 2147483646 h 66"/>
                    <a:gd name="T4" fmla="*/ 2147483646 w 45"/>
                    <a:gd name="T5" fmla="*/ 0 h 66"/>
                    <a:gd name="T6" fmla="*/ 2147483646 w 45"/>
                    <a:gd name="T7" fmla="*/ 2147483646 h 66"/>
                    <a:gd name="T8" fmla="*/ 2147483646 w 45"/>
                    <a:gd name="T9" fmla="*/ 2147483646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66">
                      <a:moveTo>
                        <a:pt x="2" y="66"/>
                      </a:moveTo>
                      <a:lnTo>
                        <a:pt x="0" y="61"/>
                      </a:lnTo>
                      <a:lnTo>
                        <a:pt x="42" y="0"/>
                      </a:lnTo>
                      <a:lnTo>
                        <a:pt x="45" y="2"/>
                      </a:lnTo>
                      <a:lnTo>
                        <a:pt x="2" y="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1" name="Freeform 77"/>
                <p:cNvSpPr/>
                <p:nvPr/>
              </p:nvSpPr>
              <p:spPr bwMode="auto">
                <a:xfrm>
                  <a:off x="-3103562" y="696913"/>
                  <a:ext cx="63500" cy="82550"/>
                </a:xfrm>
                <a:custGeom>
                  <a:avLst/>
                  <a:gdLst>
                    <a:gd name="T0" fmla="*/ 2147483646 w 40"/>
                    <a:gd name="T1" fmla="*/ 2147483646 h 52"/>
                    <a:gd name="T2" fmla="*/ 0 w 40"/>
                    <a:gd name="T3" fmla="*/ 2147483646 h 52"/>
                    <a:gd name="T4" fmla="*/ 2147483646 w 40"/>
                    <a:gd name="T5" fmla="*/ 0 h 52"/>
                    <a:gd name="T6" fmla="*/ 2147483646 w 40"/>
                    <a:gd name="T7" fmla="*/ 2147483646 h 52"/>
                    <a:gd name="T8" fmla="*/ 2147483646 w 40"/>
                    <a:gd name="T9" fmla="*/ 2147483646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" h="52">
                      <a:moveTo>
                        <a:pt x="3" y="52"/>
                      </a:moveTo>
                      <a:lnTo>
                        <a:pt x="0" y="47"/>
                      </a:lnTo>
                      <a:lnTo>
                        <a:pt x="38" y="0"/>
                      </a:lnTo>
                      <a:lnTo>
                        <a:pt x="40" y="4"/>
                      </a:lnTo>
                      <a:lnTo>
                        <a:pt x="3" y="5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2" name="Freeform 78"/>
                <p:cNvSpPr/>
                <p:nvPr/>
              </p:nvSpPr>
              <p:spPr bwMode="auto">
                <a:xfrm>
                  <a:off x="-3167062" y="688975"/>
                  <a:ext cx="68263" cy="79375"/>
                </a:xfrm>
                <a:custGeom>
                  <a:avLst/>
                  <a:gdLst>
                    <a:gd name="T0" fmla="*/ 2147483646 w 43"/>
                    <a:gd name="T1" fmla="*/ 2147483646 h 50"/>
                    <a:gd name="T2" fmla="*/ 0 w 43"/>
                    <a:gd name="T3" fmla="*/ 2147483646 h 50"/>
                    <a:gd name="T4" fmla="*/ 2147483646 w 43"/>
                    <a:gd name="T5" fmla="*/ 0 h 50"/>
                    <a:gd name="T6" fmla="*/ 2147483646 w 43"/>
                    <a:gd name="T7" fmla="*/ 2147483646 h 50"/>
                    <a:gd name="T8" fmla="*/ 2147483646 w 43"/>
                    <a:gd name="T9" fmla="*/ 2147483646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0">
                      <a:moveTo>
                        <a:pt x="2" y="50"/>
                      </a:moveTo>
                      <a:lnTo>
                        <a:pt x="0" y="47"/>
                      </a:lnTo>
                      <a:lnTo>
                        <a:pt x="40" y="0"/>
                      </a:lnTo>
                      <a:lnTo>
                        <a:pt x="43" y="2"/>
                      </a:lnTo>
                      <a:lnTo>
                        <a:pt x="2" y="5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3" name="Freeform 79"/>
                <p:cNvSpPr/>
                <p:nvPr/>
              </p:nvSpPr>
              <p:spPr bwMode="auto">
                <a:xfrm>
                  <a:off x="-3219450" y="696913"/>
                  <a:ext cx="49213" cy="52388"/>
                </a:xfrm>
                <a:custGeom>
                  <a:avLst/>
                  <a:gdLst>
                    <a:gd name="T0" fmla="*/ 2147483646 w 31"/>
                    <a:gd name="T1" fmla="*/ 2147483646 h 33"/>
                    <a:gd name="T2" fmla="*/ 0 w 31"/>
                    <a:gd name="T3" fmla="*/ 2147483646 h 33"/>
                    <a:gd name="T4" fmla="*/ 2147483646 w 31"/>
                    <a:gd name="T5" fmla="*/ 0 h 33"/>
                    <a:gd name="T6" fmla="*/ 2147483646 w 31"/>
                    <a:gd name="T7" fmla="*/ 2147483646 h 33"/>
                    <a:gd name="T8" fmla="*/ 2147483646 w 31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33">
                      <a:moveTo>
                        <a:pt x="2" y="33"/>
                      </a:moveTo>
                      <a:lnTo>
                        <a:pt x="0" y="30"/>
                      </a:lnTo>
                      <a:lnTo>
                        <a:pt x="28" y="0"/>
                      </a:lnTo>
                      <a:lnTo>
                        <a:pt x="31" y="4"/>
                      </a:lnTo>
                      <a:lnTo>
                        <a:pt x="2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4" name="Freeform 80"/>
                <p:cNvSpPr/>
                <p:nvPr/>
              </p:nvSpPr>
              <p:spPr bwMode="auto">
                <a:xfrm>
                  <a:off x="-3275012" y="696913"/>
                  <a:ext cx="36513" cy="33338"/>
                </a:xfrm>
                <a:custGeom>
                  <a:avLst/>
                  <a:gdLst>
                    <a:gd name="T0" fmla="*/ 2147483646 w 23"/>
                    <a:gd name="T1" fmla="*/ 2147483646 h 21"/>
                    <a:gd name="T2" fmla="*/ 0 w 23"/>
                    <a:gd name="T3" fmla="*/ 2147483646 h 21"/>
                    <a:gd name="T4" fmla="*/ 2147483646 w 23"/>
                    <a:gd name="T5" fmla="*/ 0 h 21"/>
                    <a:gd name="T6" fmla="*/ 2147483646 w 23"/>
                    <a:gd name="T7" fmla="*/ 2147483646 h 21"/>
                    <a:gd name="T8" fmla="*/ 2147483646 w 23"/>
                    <a:gd name="T9" fmla="*/ 2147483646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3" h="21">
                      <a:moveTo>
                        <a:pt x="2" y="21"/>
                      </a:moveTo>
                      <a:lnTo>
                        <a:pt x="0" y="19"/>
                      </a:lnTo>
                      <a:lnTo>
                        <a:pt x="21" y="0"/>
                      </a:lnTo>
                      <a:lnTo>
                        <a:pt x="23" y="4"/>
                      </a:lnTo>
                      <a:lnTo>
                        <a:pt x="2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5" name="Freeform 81"/>
                <p:cNvSpPr/>
                <p:nvPr/>
              </p:nvSpPr>
              <p:spPr bwMode="auto">
                <a:xfrm>
                  <a:off x="-3275012" y="692150"/>
                  <a:ext cx="41275" cy="52388"/>
                </a:xfrm>
                <a:custGeom>
                  <a:avLst/>
                  <a:gdLst>
                    <a:gd name="T0" fmla="*/ 2147483646 w 26"/>
                    <a:gd name="T1" fmla="*/ 2147483646 h 33"/>
                    <a:gd name="T2" fmla="*/ 2147483646 w 26"/>
                    <a:gd name="T3" fmla="*/ 2147483646 h 33"/>
                    <a:gd name="T4" fmla="*/ 2147483646 w 26"/>
                    <a:gd name="T5" fmla="*/ 0 h 33"/>
                    <a:gd name="T6" fmla="*/ 0 w 26"/>
                    <a:gd name="T7" fmla="*/ 2147483646 h 33"/>
                    <a:gd name="T8" fmla="*/ 2147483646 w 26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33">
                      <a:moveTo>
                        <a:pt x="23" y="33"/>
                      </a:moveTo>
                      <a:lnTo>
                        <a:pt x="26" y="29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3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6" name="Freeform 82"/>
                <p:cNvSpPr/>
                <p:nvPr/>
              </p:nvSpPr>
              <p:spPr bwMode="auto">
                <a:xfrm>
                  <a:off x="-3227387" y="688975"/>
                  <a:ext cx="60325" cy="74613"/>
                </a:xfrm>
                <a:custGeom>
                  <a:avLst/>
                  <a:gdLst>
                    <a:gd name="T0" fmla="*/ 2147483646 w 38"/>
                    <a:gd name="T1" fmla="*/ 2147483646 h 47"/>
                    <a:gd name="T2" fmla="*/ 2147483646 w 38"/>
                    <a:gd name="T3" fmla="*/ 2147483646 h 47"/>
                    <a:gd name="T4" fmla="*/ 2147483646 w 38"/>
                    <a:gd name="T5" fmla="*/ 0 h 47"/>
                    <a:gd name="T6" fmla="*/ 0 w 38"/>
                    <a:gd name="T7" fmla="*/ 2147483646 h 47"/>
                    <a:gd name="T8" fmla="*/ 2147483646 w 38"/>
                    <a:gd name="T9" fmla="*/ 2147483646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47">
                      <a:moveTo>
                        <a:pt x="36" y="47"/>
                      </a:moveTo>
                      <a:lnTo>
                        <a:pt x="38" y="42"/>
                      </a:lnTo>
                      <a:lnTo>
                        <a:pt x="3" y="0"/>
                      </a:lnTo>
                      <a:lnTo>
                        <a:pt x="0" y="5"/>
                      </a:lnTo>
                      <a:lnTo>
                        <a:pt x="36" y="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7" name="Freeform 83"/>
                <p:cNvSpPr/>
                <p:nvPr/>
              </p:nvSpPr>
              <p:spPr bwMode="auto">
                <a:xfrm>
                  <a:off x="-3163887" y="692150"/>
                  <a:ext cx="79375" cy="93663"/>
                </a:xfrm>
                <a:custGeom>
                  <a:avLst/>
                  <a:gdLst>
                    <a:gd name="T0" fmla="*/ 2147483646 w 50"/>
                    <a:gd name="T1" fmla="*/ 2147483646 h 59"/>
                    <a:gd name="T2" fmla="*/ 2147483646 w 50"/>
                    <a:gd name="T3" fmla="*/ 2147483646 h 59"/>
                    <a:gd name="T4" fmla="*/ 2147483646 w 50"/>
                    <a:gd name="T5" fmla="*/ 0 h 59"/>
                    <a:gd name="T6" fmla="*/ 0 w 50"/>
                    <a:gd name="T7" fmla="*/ 2147483646 h 59"/>
                    <a:gd name="T8" fmla="*/ 2147483646 w 50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9">
                      <a:moveTo>
                        <a:pt x="48" y="59"/>
                      </a:moveTo>
                      <a:lnTo>
                        <a:pt x="50" y="57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48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8" name="Freeform 84"/>
                <p:cNvSpPr/>
                <p:nvPr/>
              </p:nvSpPr>
              <p:spPr bwMode="auto">
                <a:xfrm>
                  <a:off x="-3098800" y="696913"/>
                  <a:ext cx="69850" cy="104775"/>
                </a:xfrm>
                <a:custGeom>
                  <a:avLst/>
                  <a:gdLst>
                    <a:gd name="T0" fmla="*/ 2147483646 w 44"/>
                    <a:gd name="T1" fmla="*/ 2147483646 h 66"/>
                    <a:gd name="T2" fmla="*/ 2147483646 w 44"/>
                    <a:gd name="T3" fmla="*/ 2147483646 h 66"/>
                    <a:gd name="T4" fmla="*/ 2147483646 w 44"/>
                    <a:gd name="T5" fmla="*/ 0 h 66"/>
                    <a:gd name="T6" fmla="*/ 0 w 44"/>
                    <a:gd name="T7" fmla="*/ 2147483646 h 66"/>
                    <a:gd name="T8" fmla="*/ 2147483646 w 44"/>
                    <a:gd name="T9" fmla="*/ 2147483646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4" h="66">
                      <a:moveTo>
                        <a:pt x="42" y="66"/>
                      </a:moveTo>
                      <a:lnTo>
                        <a:pt x="44" y="61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2" y="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9" name="Rectangle 85"/>
                <p:cNvSpPr>
                  <a:spLocks noChangeArrowheads="1"/>
                </p:cNvSpPr>
                <p:nvPr/>
              </p:nvSpPr>
              <p:spPr bwMode="auto">
                <a:xfrm>
                  <a:off x="-3013075" y="785813"/>
                  <a:ext cx="161925" cy="2381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2" name="组合 1"/>
          <p:cNvGrpSpPr/>
          <p:nvPr/>
        </p:nvGrpSpPr>
        <p:grpSpPr bwMode="auto">
          <a:xfrm>
            <a:off x="5467350" y="1189038"/>
            <a:ext cx="1438275" cy="1635125"/>
            <a:chOff x="5467036" y="1188628"/>
            <a:chExt cx="1438770" cy="1636085"/>
          </a:xfrm>
        </p:grpSpPr>
        <p:sp>
          <p:nvSpPr>
            <p:cNvPr id="13" name="Rectangle 9"/>
            <p:cNvSpPr/>
            <p:nvPr/>
          </p:nvSpPr>
          <p:spPr bwMode="auto">
            <a:xfrm>
              <a:off x="5467036" y="1188628"/>
              <a:ext cx="1438770" cy="1636085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矩形 70"/>
            <p:cNvSpPr/>
            <p:nvPr/>
          </p:nvSpPr>
          <p:spPr>
            <a:xfrm>
              <a:off x="5668718" y="2341830"/>
              <a:ext cx="1106868" cy="3685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12" name="组合 1043"/>
            <p:cNvGrpSpPr/>
            <p:nvPr/>
          </p:nvGrpSpPr>
          <p:grpSpPr bwMode="auto">
            <a:xfrm>
              <a:off x="6130725" y="2249045"/>
              <a:ext cx="81805" cy="103030"/>
              <a:chOff x="6290395" y="3592630"/>
              <a:chExt cx="87725" cy="124510"/>
            </a:xfrm>
          </p:grpSpPr>
          <p:sp>
            <p:nvSpPr>
              <p:cNvPr id="1043" name="燕尾形 1042"/>
              <p:cNvSpPr/>
              <p:nvPr/>
            </p:nvSpPr>
            <p:spPr>
              <a:xfrm rot="16200000">
                <a:off x="6296512" y="3587427"/>
                <a:ext cx="74863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燕尾形 86"/>
              <p:cNvSpPr/>
              <p:nvPr/>
            </p:nvSpPr>
            <p:spPr>
              <a:xfrm rot="16200000">
                <a:off x="6296511" y="3635417"/>
                <a:ext cx="74864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4613" name="组合 7218"/>
            <p:cNvGrpSpPr/>
            <p:nvPr/>
          </p:nvGrpSpPr>
          <p:grpSpPr bwMode="auto">
            <a:xfrm>
              <a:off x="5775943" y="1327442"/>
              <a:ext cx="820957" cy="820957"/>
              <a:chOff x="2859088" y="-3467100"/>
              <a:chExt cx="2576513" cy="2576513"/>
            </a:xfrm>
          </p:grpSpPr>
          <p:sp>
            <p:nvSpPr>
              <p:cNvPr id="1033" name="Freeform 92"/>
              <p:cNvSpPr/>
              <p:nvPr/>
            </p:nvSpPr>
            <p:spPr bwMode="auto">
              <a:xfrm>
                <a:off x="2861480" y="-3469050"/>
                <a:ext cx="2571725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615" name="Freeform 93"/>
              <p:cNvSpPr/>
              <p:nvPr/>
            </p:nvSpPr>
            <p:spPr bwMode="auto">
              <a:xfrm>
                <a:off x="3122613" y="-3236913"/>
                <a:ext cx="2312988" cy="2346325"/>
              </a:xfrm>
              <a:custGeom>
                <a:avLst/>
                <a:gdLst>
                  <a:gd name="T0" fmla="*/ 2147483646 w 617"/>
                  <a:gd name="T1" fmla="*/ 2147483646 h 626"/>
                  <a:gd name="T2" fmla="*/ 2147483646 w 617"/>
                  <a:gd name="T3" fmla="*/ 2147483646 h 626"/>
                  <a:gd name="T4" fmla="*/ 2147483646 w 617"/>
                  <a:gd name="T5" fmla="*/ 0 h 626"/>
                  <a:gd name="T6" fmla="*/ 2147483646 w 617"/>
                  <a:gd name="T7" fmla="*/ 2147483646 h 626"/>
                  <a:gd name="T8" fmla="*/ 2147483646 w 617"/>
                  <a:gd name="T9" fmla="*/ 2147483646 h 626"/>
                  <a:gd name="T10" fmla="*/ 2147483646 w 617"/>
                  <a:gd name="T11" fmla="*/ 2147483646 h 626"/>
                  <a:gd name="T12" fmla="*/ 2147483646 w 617"/>
                  <a:gd name="T13" fmla="*/ 2147483646 h 626"/>
                  <a:gd name="T14" fmla="*/ 0 w 617"/>
                  <a:gd name="T15" fmla="*/ 2147483646 h 626"/>
                  <a:gd name="T16" fmla="*/ 2147483646 w 617"/>
                  <a:gd name="T17" fmla="*/ 2147483646 h 626"/>
                  <a:gd name="T18" fmla="*/ 2147483646 w 617"/>
                  <a:gd name="T19" fmla="*/ 2147483646 h 626"/>
                  <a:gd name="T20" fmla="*/ 2147483646 w 617"/>
                  <a:gd name="T21" fmla="*/ 2147483646 h 626"/>
                  <a:gd name="T22" fmla="*/ 2147483646 w 617"/>
                  <a:gd name="T23" fmla="*/ 2147483646 h 626"/>
                  <a:gd name="T24" fmla="*/ 2147483646 w 617"/>
                  <a:gd name="T25" fmla="*/ 2147483646 h 626"/>
                  <a:gd name="T26" fmla="*/ 2147483646 w 617"/>
                  <a:gd name="T27" fmla="*/ 2147483646 h 626"/>
                  <a:gd name="T28" fmla="*/ 2147483646 w 617"/>
                  <a:gd name="T29" fmla="*/ 2147483646 h 626"/>
                  <a:gd name="T30" fmla="*/ 2147483646 w 617"/>
                  <a:gd name="T31" fmla="*/ 2147483646 h 626"/>
                  <a:gd name="T32" fmla="*/ 2147483646 w 617"/>
                  <a:gd name="T33" fmla="*/ 2147483646 h 62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17" h="626">
                    <a:moveTo>
                      <a:pt x="460" y="80"/>
                    </a:moveTo>
                    <a:cubicBezTo>
                      <a:pt x="425" y="115"/>
                      <a:pt x="425" y="115"/>
                      <a:pt x="425" y="115"/>
                    </a:cubicBezTo>
                    <a:cubicBezTo>
                      <a:pt x="309" y="0"/>
                      <a:pt x="309" y="0"/>
                      <a:pt x="309" y="0"/>
                    </a:cubicBezTo>
                    <a:cubicBezTo>
                      <a:pt x="243" y="39"/>
                      <a:pt x="243" y="39"/>
                      <a:pt x="243" y="39"/>
                    </a:cubicBezTo>
                    <a:cubicBezTo>
                      <a:pt x="240" y="100"/>
                      <a:pt x="240" y="100"/>
                      <a:pt x="240" y="100"/>
                    </a:cubicBezTo>
                    <a:cubicBezTo>
                      <a:pt x="179" y="96"/>
                      <a:pt x="179" y="96"/>
                      <a:pt x="179" y="96"/>
                    </a:cubicBezTo>
                    <a:cubicBezTo>
                      <a:pt x="33" y="95"/>
                      <a:pt x="33" y="95"/>
                      <a:pt x="33" y="95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111" y="268"/>
                      <a:pt x="111" y="268"/>
                      <a:pt x="111" y="268"/>
                    </a:cubicBezTo>
                    <a:cubicBezTo>
                      <a:pt x="104" y="314"/>
                      <a:pt x="104" y="314"/>
                      <a:pt x="104" y="314"/>
                    </a:cubicBezTo>
                    <a:cubicBezTo>
                      <a:pt x="61" y="360"/>
                      <a:pt x="61" y="360"/>
                      <a:pt x="61" y="360"/>
                    </a:cubicBezTo>
                    <a:cubicBezTo>
                      <a:pt x="60" y="379"/>
                      <a:pt x="60" y="379"/>
                      <a:pt x="60" y="379"/>
                    </a:cubicBezTo>
                    <a:cubicBezTo>
                      <a:pt x="307" y="626"/>
                      <a:pt x="307" y="626"/>
                      <a:pt x="307" y="626"/>
                    </a:cubicBezTo>
                    <a:cubicBezTo>
                      <a:pt x="555" y="626"/>
                      <a:pt x="555" y="626"/>
                      <a:pt x="555" y="626"/>
                    </a:cubicBezTo>
                    <a:cubicBezTo>
                      <a:pt x="589" y="626"/>
                      <a:pt x="617" y="598"/>
                      <a:pt x="617" y="563"/>
                    </a:cubicBezTo>
                    <a:cubicBezTo>
                      <a:pt x="617" y="237"/>
                      <a:pt x="617" y="237"/>
                      <a:pt x="617" y="237"/>
                    </a:cubicBezTo>
                    <a:lnTo>
                      <a:pt x="460" y="8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4616" name="组合 7214"/>
              <p:cNvGrpSpPr/>
              <p:nvPr/>
            </p:nvGrpSpPr>
            <p:grpSpPr bwMode="auto">
              <a:xfrm>
                <a:off x="3122613" y="-3252788"/>
                <a:ext cx="1746250" cy="1979613"/>
                <a:chOff x="3122613" y="-3252788"/>
                <a:chExt cx="1746250" cy="1979613"/>
              </a:xfrm>
            </p:grpSpPr>
            <p:sp>
              <p:nvSpPr>
                <p:cNvPr id="24617" name="Freeform 94"/>
                <p:cNvSpPr/>
                <p:nvPr/>
              </p:nvSpPr>
              <p:spPr bwMode="auto">
                <a:xfrm>
                  <a:off x="3459163" y="-2686050"/>
                  <a:ext cx="60325" cy="454025"/>
                </a:xfrm>
                <a:custGeom>
                  <a:avLst/>
                  <a:gdLst>
                    <a:gd name="T0" fmla="*/ 0 w 38"/>
                    <a:gd name="T1" fmla="*/ 2147483646 h 286"/>
                    <a:gd name="T2" fmla="*/ 2147483646 w 38"/>
                    <a:gd name="T3" fmla="*/ 2147483646 h 286"/>
                    <a:gd name="T4" fmla="*/ 2147483646 w 38"/>
                    <a:gd name="T5" fmla="*/ 2147483646 h 286"/>
                    <a:gd name="T6" fmla="*/ 2147483646 w 38"/>
                    <a:gd name="T7" fmla="*/ 0 h 286"/>
                    <a:gd name="T8" fmla="*/ 0 w 38"/>
                    <a:gd name="T9" fmla="*/ 2147483646 h 2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286">
                      <a:moveTo>
                        <a:pt x="0" y="5"/>
                      </a:moveTo>
                      <a:lnTo>
                        <a:pt x="31" y="286"/>
                      </a:lnTo>
                      <a:lnTo>
                        <a:pt x="38" y="281"/>
                      </a:lnTo>
                      <a:lnTo>
                        <a:pt x="7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18" name="Freeform 95"/>
                <p:cNvSpPr/>
                <p:nvPr/>
              </p:nvSpPr>
              <p:spPr bwMode="auto">
                <a:xfrm>
                  <a:off x="3505200" y="-2671763"/>
                  <a:ext cx="33338" cy="446088"/>
                </a:xfrm>
                <a:custGeom>
                  <a:avLst/>
                  <a:gdLst>
                    <a:gd name="T0" fmla="*/ 0 w 21"/>
                    <a:gd name="T1" fmla="*/ 0 h 281"/>
                    <a:gd name="T2" fmla="*/ 2147483646 w 21"/>
                    <a:gd name="T3" fmla="*/ 2147483646 h 281"/>
                    <a:gd name="T4" fmla="*/ 2147483646 w 21"/>
                    <a:gd name="T5" fmla="*/ 2147483646 h 281"/>
                    <a:gd name="T6" fmla="*/ 2147483646 w 21"/>
                    <a:gd name="T7" fmla="*/ 0 h 281"/>
                    <a:gd name="T8" fmla="*/ 0 w 21"/>
                    <a:gd name="T9" fmla="*/ 0 h 28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" h="281">
                      <a:moveTo>
                        <a:pt x="0" y="0"/>
                      </a:moveTo>
                      <a:lnTo>
                        <a:pt x="14" y="281"/>
                      </a:lnTo>
                      <a:lnTo>
                        <a:pt x="21" y="28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19" name="Freeform 96"/>
                <p:cNvSpPr/>
                <p:nvPr/>
              </p:nvSpPr>
              <p:spPr bwMode="auto">
                <a:xfrm>
                  <a:off x="3552825" y="-2686050"/>
                  <a:ext cx="60325" cy="454025"/>
                </a:xfrm>
                <a:custGeom>
                  <a:avLst/>
                  <a:gdLst>
                    <a:gd name="T0" fmla="*/ 0 w 38"/>
                    <a:gd name="T1" fmla="*/ 2147483646 h 286"/>
                    <a:gd name="T2" fmla="*/ 2147483646 w 38"/>
                    <a:gd name="T3" fmla="*/ 2147483646 h 286"/>
                    <a:gd name="T4" fmla="*/ 2147483646 w 38"/>
                    <a:gd name="T5" fmla="*/ 2147483646 h 286"/>
                    <a:gd name="T6" fmla="*/ 2147483646 w 38"/>
                    <a:gd name="T7" fmla="*/ 0 h 286"/>
                    <a:gd name="T8" fmla="*/ 0 w 38"/>
                    <a:gd name="T9" fmla="*/ 2147483646 h 2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286">
                      <a:moveTo>
                        <a:pt x="0" y="281"/>
                      </a:moveTo>
                      <a:lnTo>
                        <a:pt x="7" y="286"/>
                      </a:lnTo>
                      <a:lnTo>
                        <a:pt x="38" y="5"/>
                      </a:lnTo>
                      <a:lnTo>
                        <a:pt x="31" y="0"/>
                      </a:lnTo>
                      <a:lnTo>
                        <a:pt x="0" y="28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0" name="Freeform 97"/>
                <p:cNvSpPr/>
                <p:nvPr/>
              </p:nvSpPr>
              <p:spPr bwMode="auto">
                <a:xfrm>
                  <a:off x="3538538" y="-2671763"/>
                  <a:ext cx="33338" cy="446088"/>
                </a:xfrm>
                <a:custGeom>
                  <a:avLst/>
                  <a:gdLst>
                    <a:gd name="T0" fmla="*/ 0 w 21"/>
                    <a:gd name="T1" fmla="*/ 2147483646 h 281"/>
                    <a:gd name="T2" fmla="*/ 2147483646 w 21"/>
                    <a:gd name="T3" fmla="*/ 2147483646 h 281"/>
                    <a:gd name="T4" fmla="*/ 2147483646 w 21"/>
                    <a:gd name="T5" fmla="*/ 0 h 281"/>
                    <a:gd name="T6" fmla="*/ 2147483646 w 21"/>
                    <a:gd name="T7" fmla="*/ 0 h 281"/>
                    <a:gd name="T8" fmla="*/ 0 w 21"/>
                    <a:gd name="T9" fmla="*/ 2147483646 h 28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" h="281">
                      <a:moveTo>
                        <a:pt x="0" y="281"/>
                      </a:moveTo>
                      <a:lnTo>
                        <a:pt x="7" y="281"/>
                      </a:lnTo>
                      <a:lnTo>
                        <a:pt x="21" y="0"/>
                      </a:lnTo>
                      <a:lnTo>
                        <a:pt x="14" y="0"/>
                      </a:lnTo>
                      <a:lnTo>
                        <a:pt x="0" y="28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1" name="Freeform 98"/>
                <p:cNvSpPr>
                  <a:spLocks noEditPoints="1"/>
                </p:cNvSpPr>
                <p:nvPr/>
              </p:nvSpPr>
              <p:spPr bwMode="auto">
                <a:xfrm>
                  <a:off x="3122613" y="-2895600"/>
                  <a:ext cx="1511300" cy="234950"/>
                </a:xfrm>
                <a:custGeom>
                  <a:avLst/>
                  <a:gdLst>
                    <a:gd name="T0" fmla="*/ 2147483646 w 403"/>
                    <a:gd name="T1" fmla="*/ 2147483646 h 63"/>
                    <a:gd name="T2" fmla="*/ 2147483646 w 403"/>
                    <a:gd name="T3" fmla="*/ 2147483646 h 63"/>
                    <a:gd name="T4" fmla="*/ 2147483646 w 403"/>
                    <a:gd name="T5" fmla="*/ 2147483646 h 63"/>
                    <a:gd name="T6" fmla="*/ 2147483646 w 403"/>
                    <a:gd name="T7" fmla="*/ 2147483646 h 63"/>
                    <a:gd name="T8" fmla="*/ 2147483646 w 403"/>
                    <a:gd name="T9" fmla="*/ 0 h 63"/>
                    <a:gd name="T10" fmla="*/ 2147483646 w 403"/>
                    <a:gd name="T11" fmla="*/ 0 h 63"/>
                    <a:gd name="T12" fmla="*/ 0 w 403"/>
                    <a:gd name="T13" fmla="*/ 2147483646 h 63"/>
                    <a:gd name="T14" fmla="*/ 2147483646 w 403"/>
                    <a:gd name="T15" fmla="*/ 2147483646 h 63"/>
                    <a:gd name="T16" fmla="*/ 2147483646 w 403"/>
                    <a:gd name="T17" fmla="*/ 2147483646 h 63"/>
                    <a:gd name="T18" fmla="*/ 2147483646 w 403"/>
                    <a:gd name="T19" fmla="*/ 2147483646 h 63"/>
                    <a:gd name="T20" fmla="*/ 2147483646 w 403"/>
                    <a:gd name="T21" fmla="*/ 2147483646 h 63"/>
                    <a:gd name="T22" fmla="*/ 2147483646 w 403"/>
                    <a:gd name="T23" fmla="*/ 2147483646 h 63"/>
                    <a:gd name="T24" fmla="*/ 2147483646 w 403"/>
                    <a:gd name="T25" fmla="*/ 2147483646 h 63"/>
                    <a:gd name="T26" fmla="*/ 2147483646 w 403"/>
                    <a:gd name="T27" fmla="*/ 2147483646 h 63"/>
                    <a:gd name="T28" fmla="*/ 2147483646 w 403"/>
                    <a:gd name="T29" fmla="*/ 2147483646 h 63"/>
                    <a:gd name="T30" fmla="*/ 2147483646 w 403"/>
                    <a:gd name="T31" fmla="*/ 2147483646 h 63"/>
                    <a:gd name="T32" fmla="*/ 2147483646 w 403"/>
                    <a:gd name="T33" fmla="*/ 2147483646 h 63"/>
                    <a:gd name="T34" fmla="*/ 2147483646 w 403"/>
                    <a:gd name="T35" fmla="*/ 2147483646 h 63"/>
                    <a:gd name="T36" fmla="*/ 2147483646 w 403"/>
                    <a:gd name="T37" fmla="*/ 2147483646 h 63"/>
                    <a:gd name="T38" fmla="*/ 2147483646 w 403"/>
                    <a:gd name="T39" fmla="*/ 2147483646 h 63"/>
                    <a:gd name="T40" fmla="*/ 2147483646 w 403"/>
                    <a:gd name="T41" fmla="*/ 2147483646 h 63"/>
                    <a:gd name="T42" fmla="*/ 2147483646 w 403"/>
                    <a:gd name="T43" fmla="*/ 2147483646 h 63"/>
                    <a:gd name="T44" fmla="*/ 2147483646 w 403"/>
                    <a:gd name="T45" fmla="*/ 2147483646 h 63"/>
                    <a:gd name="T46" fmla="*/ 2147483646 w 403"/>
                    <a:gd name="T47" fmla="*/ 2147483646 h 63"/>
                    <a:gd name="T48" fmla="*/ 2147483646 w 403"/>
                    <a:gd name="T49" fmla="*/ 2147483646 h 63"/>
                    <a:gd name="T50" fmla="*/ 2147483646 w 403"/>
                    <a:gd name="T51" fmla="*/ 2147483646 h 63"/>
                    <a:gd name="T52" fmla="*/ 2147483646 w 403"/>
                    <a:gd name="T53" fmla="*/ 2147483646 h 63"/>
                    <a:gd name="T54" fmla="*/ 2147483646 w 403"/>
                    <a:gd name="T55" fmla="*/ 2147483646 h 63"/>
                    <a:gd name="T56" fmla="*/ 2147483646 w 403"/>
                    <a:gd name="T57" fmla="*/ 2147483646 h 63"/>
                    <a:gd name="T58" fmla="*/ 2147483646 w 403"/>
                    <a:gd name="T59" fmla="*/ 2147483646 h 63"/>
                    <a:gd name="T60" fmla="*/ 2147483646 w 403"/>
                    <a:gd name="T61" fmla="*/ 2147483646 h 63"/>
                    <a:gd name="T62" fmla="*/ 2147483646 w 403"/>
                    <a:gd name="T63" fmla="*/ 2147483646 h 63"/>
                    <a:gd name="T64" fmla="*/ 2147483646 w 403"/>
                    <a:gd name="T65" fmla="*/ 2147483646 h 63"/>
                    <a:gd name="T66" fmla="*/ 2147483646 w 403"/>
                    <a:gd name="T67" fmla="*/ 2147483646 h 63"/>
                    <a:gd name="T68" fmla="*/ 2147483646 w 403"/>
                    <a:gd name="T69" fmla="*/ 2147483646 h 63"/>
                    <a:gd name="T70" fmla="*/ 2147483646 w 403"/>
                    <a:gd name="T71" fmla="*/ 2147483646 h 63"/>
                    <a:gd name="T72" fmla="*/ 2147483646 w 403"/>
                    <a:gd name="T73" fmla="*/ 2147483646 h 63"/>
                    <a:gd name="T74" fmla="*/ 2147483646 w 403"/>
                    <a:gd name="T75" fmla="*/ 2147483646 h 63"/>
                    <a:gd name="T76" fmla="*/ 2147483646 w 403"/>
                    <a:gd name="T77" fmla="*/ 2147483646 h 63"/>
                    <a:gd name="T78" fmla="*/ 2147483646 w 403"/>
                    <a:gd name="T79" fmla="*/ 2147483646 h 63"/>
                    <a:gd name="T80" fmla="*/ 2147483646 w 403"/>
                    <a:gd name="T81" fmla="*/ 2147483646 h 63"/>
                    <a:gd name="T82" fmla="*/ 2147483646 w 403"/>
                    <a:gd name="T83" fmla="*/ 2147483646 h 63"/>
                    <a:gd name="T84" fmla="*/ 2147483646 w 403"/>
                    <a:gd name="T85" fmla="*/ 2147483646 h 63"/>
                    <a:gd name="T86" fmla="*/ 2147483646 w 403"/>
                    <a:gd name="T87" fmla="*/ 2147483646 h 63"/>
                    <a:gd name="T88" fmla="*/ 2147483646 w 403"/>
                    <a:gd name="T89" fmla="*/ 2147483646 h 63"/>
                    <a:gd name="T90" fmla="*/ 2147483646 w 403"/>
                    <a:gd name="T91" fmla="*/ 2147483646 h 63"/>
                    <a:gd name="T92" fmla="*/ 2147483646 w 403"/>
                    <a:gd name="T93" fmla="*/ 2147483646 h 63"/>
                    <a:gd name="T94" fmla="*/ 2147483646 w 403"/>
                    <a:gd name="T95" fmla="*/ 2147483646 h 63"/>
                    <a:gd name="T96" fmla="*/ 2147483646 w 403"/>
                    <a:gd name="T97" fmla="*/ 2147483646 h 63"/>
                    <a:gd name="T98" fmla="*/ 2147483646 w 403"/>
                    <a:gd name="T99" fmla="*/ 2147483646 h 63"/>
                    <a:gd name="T100" fmla="*/ 2147483646 w 403"/>
                    <a:gd name="T101" fmla="*/ 2147483646 h 63"/>
                    <a:gd name="T102" fmla="*/ 2147483646 w 403"/>
                    <a:gd name="T103" fmla="*/ 2147483646 h 63"/>
                    <a:gd name="T104" fmla="*/ 2147483646 w 403"/>
                    <a:gd name="T105" fmla="*/ 2147483646 h 63"/>
                    <a:gd name="T106" fmla="*/ 2147483646 w 403"/>
                    <a:gd name="T107" fmla="*/ 2147483646 h 63"/>
                    <a:gd name="T108" fmla="*/ 2147483646 w 403"/>
                    <a:gd name="T109" fmla="*/ 2147483646 h 63"/>
                    <a:gd name="T110" fmla="*/ 2147483646 w 403"/>
                    <a:gd name="T111" fmla="*/ 2147483646 h 63"/>
                    <a:gd name="T112" fmla="*/ 2147483646 w 403"/>
                    <a:gd name="T113" fmla="*/ 2147483646 h 63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0" t="0" r="r" b="b"/>
                  <a:pathLst>
                    <a:path w="403" h="63">
                      <a:moveTo>
                        <a:pt x="403" y="51"/>
                      </a:moveTo>
                      <a:cubicBezTo>
                        <a:pt x="403" y="51"/>
                        <a:pt x="389" y="51"/>
                        <a:pt x="366" y="51"/>
                      </a:cubicBezTo>
                      <a:cubicBezTo>
                        <a:pt x="387" y="11"/>
                        <a:pt x="387" y="11"/>
                        <a:pt x="387" y="11"/>
                      </a:cubicBezTo>
                      <a:cubicBezTo>
                        <a:pt x="397" y="11"/>
                        <a:pt x="403" y="11"/>
                        <a:pt x="403" y="11"/>
                      </a:cubicBezTo>
                      <a:cubicBezTo>
                        <a:pt x="403" y="0"/>
                        <a:pt x="403" y="0"/>
                        <a:pt x="40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403" y="63"/>
                        <a:pt x="403" y="63"/>
                        <a:pt x="403" y="63"/>
                      </a:cubicBezTo>
                      <a:lnTo>
                        <a:pt x="403" y="51"/>
                      </a:lnTo>
                      <a:close/>
                      <a:moveTo>
                        <a:pt x="212" y="15"/>
                      </a:moveTo>
                      <a:cubicBezTo>
                        <a:pt x="234" y="51"/>
                        <a:pt x="234" y="51"/>
                        <a:pt x="234" y="51"/>
                      </a:cubicBezTo>
                      <a:cubicBezTo>
                        <a:pt x="194" y="51"/>
                        <a:pt x="194" y="51"/>
                        <a:pt x="194" y="51"/>
                      </a:cubicBezTo>
                      <a:lnTo>
                        <a:pt x="212" y="15"/>
                      </a:lnTo>
                      <a:close/>
                      <a:moveTo>
                        <a:pt x="300" y="47"/>
                      </a:moveTo>
                      <a:cubicBezTo>
                        <a:pt x="280" y="11"/>
                        <a:pt x="280" y="11"/>
                        <a:pt x="280" y="11"/>
                      </a:cubicBezTo>
                      <a:cubicBezTo>
                        <a:pt x="319" y="11"/>
                        <a:pt x="319" y="11"/>
                        <a:pt x="319" y="11"/>
                      </a:cubicBezTo>
                      <a:lnTo>
                        <a:pt x="300" y="47"/>
                      </a:lnTo>
                      <a:close/>
                      <a:moveTo>
                        <a:pt x="270" y="16"/>
                      </a:moveTo>
                      <a:cubicBezTo>
                        <a:pt x="291" y="51"/>
                        <a:pt x="291" y="51"/>
                        <a:pt x="291" y="51"/>
                      </a:cubicBezTo>
                      <a:cubicBezTo>
                        <a:pt x="252" y="51"/>
                        <a:pt x="252" y="51"/>
                        <a:pt x="252" y="51"/>
                      </a:cubicBezTo>
                      <a:lnTo>
                        <a:pt x="270" y="16"/>
                      </a:lnTo>
                      <a:close/>
                      <a:moveTo>
                        <a:pt x="327" y="16"/>
                      </a:moveTo>
                      <a:cubicBezTo>
                        <a:pt x="348" y="51"/>
                        <a:pt x="348" y="51"/>
                        <a:pt x="348" y="51"/>
                      </a:cubicBezTo>
                      <a:cubicBezTo>
                        <a:pt x="309" y="51"/>
                        <a:pt x="309" y="51"/>
                        <a:pt x="309" y="51"/>
                      </a:cubicBezTo>
                      <a:lnTo>
                        <a:pt x="327" y="16"/>
                      </a:lnTo>
                      <a:close/>
                      <a:moveTo>
                        <a:pt x="337" y="11"/>
                      </a:moveTo>
                      <a:cubicBezTo>
                        <a:pt x="376" y="11"/>
                        <a:pt x="376" y="11"/>
                        <a:pt x="376" y="11"/>
                      </a:cubicBezTo>
                      <a:cubicBezTo>
                        <a:pt x="357" y="47"/>
                        <a:pt x="357" y="47"/>
                        <a:pt x="357" y="47"/>
                      </a:cubicBezTo>
                      <a:lnTo>
                        <a:pt x="337" y="11"/>
                      </a:lnTo>
                      <a:close/>
                      <a:moveTo>
                        <a:pt x="243" y="47"/>
                      </a:moveTo>
                      <a:cubicBezTo>
                        <a:pt x="223" y="11"/>
                        <a:pt x="223" y="11"/>
                        <a:pt x="223" y="11"/>
                      </a:cubicBezTo>
                      <a:cubicBezTo>
                        <a:pt x="261" y="11"/>
                        <a:pt x="261" y="11"/>
                        <a:pt x="261" y="11"/>
                      </a:cubicBezTo>
                      <a:lnTo>
                        <a:pt x="243" y="47"/>
                      </a:lnTo>
                      <a:close/>
                      <a:moveTo>
                        <a:pt x="185" y="47"/>
                      </a:moveTo>
                      <a:cubicBezTo>
                        <a:pt x="164" y="11"/>
                        <a:pt x="164" y="11"/>
                        <a:pt x="164" y="11"/>
                      </a:cubicBezTo>
                      <a:cubicBezTo>
                        <a:pt x="203" y="11"/>
                        <a:pt x="203" y="11"/>
                        <a:pt x="203" y="11"/>
                      </a:cubicBezTo>
                      <a:lnTo>
                        <a:pt x="185" y="47"/>
                      </a:lnTo>
                      <a:close/>
                      <a:moveTo>
                        <a:pt x="46" y="11"/>
                      </a:moveTo>
                      <a:cubicBezTo>
                        <a:pt x="85" y="11"/>
                        <a:pt x="85" y="11"/>
                        <a:pt x="85" y="11"/>
                      </a:cubicBezTo>
                      <a:cubicBezTo>
                        <a:pt x="67" y="48"/>
                        <a:pt x="67" y="48"/>
                        <a:pt x="67" y="48"/>
                      </a:cubicBezTo>
                      <a:lnTo>
                        <a:pt x="46" y="11"/>
                      </a:lnTo>
                      <a:close/>
                      <a:moveTo>
                        <a:pt x="105" y="11"/>
                      </a:moveTo>
                      <a:cubicBezTo>
                        <a:pt x="145" y="11"/>
                        <a:pt x="145" y="11"/>
                        <a:pt x="145" y="11"/>
                      </a:cubicBezTo>
                      <a:cubicBezTo>
                        <a:pt x="126" y="48"/>
                        <a:pt x="126" y="48"/>
                        <a:pt x="126" y="48"/>
                      </a:cubicBezTo>
                      <a:lnTo>
                        <a:pt x="105" y="11"/>
                      </a:lnTo>
                      <a:close/>
                      <a:moveTo>
                        <a:pt x="35" y="15"/>
                      </a:moveTo>
                      <a:cubicBezTo>
                        <a:pt x="57" y="51"/>
                        <a:pt x="57" y="51"/>
                        <a:pt x="57" y="51"/>
                      </a:cubicBezTo>
                      <a:cubicBezTo>
                        <a:pt x="17" y="51"/>
                        <a:pt x="17" y="51"/>
                        <a:pt x="17" y="51"/>
                      </a:cubicBezTo>
                      <a:cubicBezTo>
                        <a:pt x="19" y="46"/>
                        <a:pt x="31" y="23"/>
                        <a:pt x="35" y="15"/>
                      </a:cubicBezTo>
                      <a:close/>
                      <a:moveTo>
                        <a:pt x="95" y="15"/>
                      </a:moveTo>
                      <a:cubicBezTo>
                        <a:pt x="116" y="51"/>
                        <a:pt x="116" y="51"/>
                        <a:pt x="116" y="51"/>
                      </a:cubicBezTo>
                      <a:cubicBezTo>
                        <a:pt x="76" y="51"/>
                        <a:pt x="76" y="51"/>
                        <a:pt x="76" y="51"/>
                      </a:cubicBezTo>
                      <a:lnTo>
                        <a:pt x="95" y="15"/>
                      </a:lnTo>
                      <a:close/>
                      <a:moveTo>
                        <a:pt x="154" y="15"/>
                      </a:move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35" y="51"/>
                        <a:pt x="135" y="51"/>
                        <a:pt x="135" y="51"/>
                      </a:cubicBezTo>
                      <a:lnTo>
                        <a:pt x="154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2" name="Freeform 99"/>
                <p:cNvSpPr/>
                <p:nvPr/>
              </p:nvSpPr>
              <p:spPr bwMode="auto">
                <a:xfrm>
                  <a:off x="3860800" y="-1782763"/>
                  <a:ext cx="581025" cy="98425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3" name="Freeform 100"/>
                <p:cNvSpPr>
                  <a:spLocks noEditPoints="1"/>
                </p:cNvSpPr>
                <p:nvPr/>
              </p:nvSpPr>
              <p:spPr bwMode="auto">
                <a:xfrm>
                  <a:off x="4006850" y="-3252788"/>
                  <a:ext cx="277813" cy="1447800"/>
                </a:xfrm>
                <a:custGeom>
                  <a:avLst/>
                  <a:gdLst>
                    <a:gd name="T0" fmla="*/ 2147483646 w 74"/>
                    <a:gd name="T1" fmla="*/ 2147483646 h 386"/>
                    <a:gd name="T2" fmla="*/ 2147483646 w 74"/>
                    <a:gd name="T3" fmla="*/ 2147483646 h 386"/>
                    <a:gd name="T4" fmla="*/ 2147483646 w 74"/>
                    <a:gd name="T5" fmla="*/ 2147483646 h 386"/>
                    <a:gd name="T6" fmla="*/ 2147483646 w 74"/>
                    <a:gd name="T7" fmla="*/ 2147483646 h 386"/>
                    <a:gd name="T8" fmla="*/ 2147483646 w 74"/>
                    <a:gd name="T9" fmla="*/ 2147483646 h 386"/>
                    <a:gd name="T10" fmla="*/ 2147483646 w 74"/>
                    <a:gd name="T11" fmla="*/ 0 h 386"/>
                    <a:gd name="T12" fmla="*/ 2147483646 w 74"/>
                    <a:gd name="T13" fmla="*/ 0 h 386"/>
                    <a:gd name="T14" fmla="*/ 0 w 74"/>
                    <a:gd name="T15" fmla="*/ 2147483646 h 386"/>
                    <a:gd name="T16" fmla="*/ 0 w 74"/>
                    <a:gd name="T17" fmla="*/ 2147483646 h 386"/>
                    <a:gd name="T18" fmla="*/ 2147483646 w 74"/>
                    <a:gd name="T19" fmla="*/ 2147483646 h 386"/>
                    <a:gd name="T20" fmla="*/ 2147483646 w 74"/>
                    <a:gd name="T21" fmla="*/ 2147483646 h 386"/>
                    <a:gd name="T22" fmla="*/ 2147483646 w 74"/>
                    <a:gd name="T23" fmla="*/ 2147483646 h 386"/>
                    <a:gd name="T24" fmla="*/ 2147483646 w 74"/>
                    <a:gd name="T25" fmla="*/ 2147483646 h 386"/>
                    <a:gd name="T26" fmla="*/ 2147483646 w 74"/>
                    <a:gd name="T27" fmla="*/ 2147483646 h 386"/>
                    <a:gd name="T28" fmla="*/ 2147483646 w 74"/>
                    <a:gd name="T29" fmla="*/ 2147483646 h 386"/>
                    <a:gd name="T30" fmla="*/ 2147483646 w 74"/>
                    <a:gd name="T31" fmla="*/ 2147483646 h 386"/>
                    <a:gd name="T32" fmla="*/ 2147483646 w 74"/>
                    <a:gd name="T33" fmla="*/ 2147483646 h 386"/>
                    <a:gd name="T34" fmla="*/ 2147483646 w 74"/>
                    <a:gd name="T35" fmla="*/ 2147483646 h 386"/>
                    <a:gd name="T36" fmla="*/ 2147483646 w 74"/>
                    <a:gd name="T37" fmla="*/ 2147483646 h 386"/>
                    <a:gd name="T38" fmla="*/ 2147483646 w 74"/>
                    <a:gd name="T39" fmla="*/ 2147483646 h 386"/>
                    <a:gd name="T40" fmla="*/ 2147483646 w 74"/>
                    <a:gd name="T41" fmla="*/ 2147483646 h 386"/>
                    <a:gd name="T42" fmla="*/ 2147483646 w 74"/>
                    <a:gd name="T43" fmla="*/ 2147483646 h 386"/>
                    <a:gd name="T44" fmla="*/ 2147483646 w 74"/>
                    <a:gd name="T45" fmla="*/ 2147483646 h 386"/>
                    <a:gd name="T46" fmla="*/ 2147483646 w 74"/>
                    <a:gd name="T47" fmla="*/ 2147483646 h 386"/>
                    <a:gd name="T48" fmla="*/ 2147483646 w 74"/>
                    <a:gd name="T49" fmla="*/ 2147483646 h 386"/>
                    <a:gd name="T50" fmla="*/ 2147483646 w 74"/>
                    <a:gd name="T51" fmla="*/ 2147483646 h 386"/>
                    <a:gd name="T52" fmla="*/ 2147483646 w 74"/>
                    <a:gd name="T53" fmla="*/ 2147483646 h 386"/>
                    <a:gd name="T54" fmla="*/ 2147483646 w 74"/>
                    <a:gd name="T55" fmla="*/ 2147483646 h 386"/>
                    <a:gd name="T56" fmla="*/ 2147483646 w 74"/>
                    <a:gd name="T57" fmla="*/ 2147483646 h 386"/>
                    <a:gd name="T58" fmla="*/ 2147483646 w 74"/>
                    <a:gd name="T59" fmla="*/ 2147483646 h 386"/>
                    <a:gd name="T60" fmla="*/ 2147483646 w 74"/>
                    <a:gd name="T61" fmla="*/ 2147483646 h 386"/>
                    <a:gd name="T62" fmla="*/ 2147483646 w 74"/>
                    <a:gd name="T63" fmla="*/ 2147483646 h 386"/>
                    <a:gd name="T64" fmla="*/ 2147483646 w 74"/>
                    <a:gd name="T65" fmla="*/ 2147483646 h 386"/>
                    <a:gd name="T66" fmla="*/ 2147483646 w 74"/>
                    <a:gd name="T67" fmla="*/ 2147483646 h 386"/>
                    <a:gd name="T68" fmla="*/ 2147483646 w 74"/>
                    <a:gd name="T69" fmla="*/ 2147483646 h 386"/>
                    <a:gd name="T70" fmla="*/ 2147483646 w 74"/>
                    <a:gd name="T71" fmla="*/ 2147483646 h 386"/>
                    <a:gd name="T72" fmla="*/ 2147483646 w 74"/>
                    <a:gd name="T73" fmla="*/ 2147483646 h 386"/>
                    <a:gd name="T74" fmla="*/ 2147483646 w 74"/>
                    <a:gd name="T75" fmla="*/ 2147483646 h 386"/>
                    <a:gd name="T76" fmla="*/ 2147483646 w 74"/>
                    <a:gd name="T77" fmla="*/ 2147483646 h 386"/>
                    <a:gd name="T78" fmla="*/ 2147483646 w 74"/>
                    <a:gd name="T79" fmla="*/ 2147483646 h 38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0" t="0" r="r" b="b"/>
                  <a:pathLst>
                    <a:path w="74" h="386">
                      <a:moveTo>
                        <a:pt x="61" y="386"/>
                      </a:moveTo>
                      <a:cubicBezTo>
                        <a:pt x="74" y="386"/>
                        <a:pt x="74" y="386"/>
                        <a:pt x="74" y="386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386"/>
                        <a:pt x="0" y="386"/>
                        <a:pt x="0" y="386"/>
                      </a:cubicBezTo>
                      <a:cubicBezTo>
                        <a:pt x="36" y="386"/>
                        <a:pt x="36" y="386"/>
                        <a:pt x="36" y="386"/>
                      </a:cubicBezTo>
                      <a:cubicBezTo>
                        <a:pt x="61" y="369"/>
                        <a:pt x="61" y="369"/>
                        <a:pt x="61" y="369"/>
                      </a:cubicBezTo>
                      <a:lnTo>
                        <a:pt x="61" y="386"/>
                      </a:lnTo>
                      <a:close/>
                      <a:moveTo>
                        <a:pt x="61" y="256"/>
                      </a:moveTo>
                      <a:cubicBezTo>
                        <a:pt x="16" y="223"/>
                        <a:pt x="16" y="223"/>
                        <a:pt x="16" y="223"/>
                      </a:cubicBezTo>
                      <a:cubicBezTo>
                        <a:pt x="61" y="195"/>
                        <a:pt x="61" y="195"/>
                        <a:pt x="61" y="195"/>
                      </a:cubicBezTo>
                      <a:lnTo>
                        <a:pt x="61" y="256"/>
                      </a:lnTo>
                      <a:close/>
                      <a:moveTo>
                        <a:pt x="61" y="21"/>
                      </a:moveTo>
                      <a:cubicBezTo>
                        <a:pt x="61" y="82"/>
                        <a:pt x="61" y="82"/>
                        <a:pt x="61" y="82"/>
                      </a:cubicBezTo>
                      <a:cubicBezTo>
                        <a:pt x="16" y="50"/>
                        <a:pt x="16" y="50"/>
                        <a:pt x="16" y="50"/>
                      </a:cubicBezTo>
                      <a:cubicBezTo>
                        <a:pt x="26" y="43"/>
                        <a:pt x="57" y="24"/>
                        <a:pt x="61" y="21"/>
                      </a:cubicBezTo>
                      <a:close/>
                      <a:moveTo>
                        <a:pt x="13" y="64"/>
                      </a:moveTo>
                      <a:cubicBezTo>
                        <a:pt x="61" y="98"/>
                        <a:pt x="61" y="98"/>
                        <a:pt x="61" y="98"/>
                      </a:cubicBezTo>
                      <a:cubicBezTo>
                        <a:pt x="61" y="169"/>
                        <a:pt x="61" y="169"/>
                        <a:pt x="61" y="169"/>
                      </a:cubicBezTo>
                      <a:cubicBezTo>
                        <a:pt x="36" y="151"/>
                        <a:pt x="36" y="151"/>
                        <a:pt x="36" y="151"/>
                      </a:cubicBezTo>
                      <a:cubicBezTo>
                        <a:pt x="15" y="152"/>
                        <a:pt x="15" y="152"/>
                        <a:pt x="15" y="152"/>
                      </a:cubicBezTo>
                      <a:cubicBezTo>
                        <a:pt x="58" y="183"/>
                        <a:pt x="58" y="183"/>
                        <a:pt x="58" y="183"/>
                      </a:cubicBezTo>
                      <a:cubicBezTo>
                        <a:pt x="13" y="211"/>
                        <a:pt x="13" y="211"/>
                        <a:pt x="13" y="211"/>
                      </a:cubicBezTo>
                      <a:lnTo>
                        <a:pt x="13" y="64"/>
                      </a:lnTo>
                      <a:close/>
                      <a:moveTo>
                        <a:pt x="13" y="238"/>
                      </a:moveTo>
                      <a:cubicBezTo>
                        <a:pt x="58" y="270"/>
                        <a:pt x="58" y="270"/>
                        <a:pt x="58" y="270"/>
                      </a:cubicBezTo>
                      <a:cubicBezTo>
                        <a:pt x="13" y="298"/>
                        <a:pt x="13" y="298"/>
                        <a:pt x="13" y="298"/>
                      </a:cubicBezTo>
                      <a:lnTo>
                        <a:pt x="13" y="238"/>
                      </a:lnTo>
                      <a:close/>
                      <a:moveTo>
                        <a:pt x="13" y="385"/>
                      </a:moveTo>
                      <a:cubicBezTo>
                        <a:pt x="13" y="324"/>
                        <a:pt x="13" y="324"/>
                        <a:pt x="13" y="324"/>
                      </a:cubicBezTo>
                      <a:cubicBezTo>
                        <a:pt x="58" y="356"/>
                        <a:pt x="58" y="356"/>
                        <a:pt x="58" y="356"/>
                      </a:cubicBezTo>
                      <a:lnTo>
                        <a:pt x="13" y="385"/>
                      </a:lnTo>
                      <a:close/>
                      <a:moveTo>
                        <a:pt x="17" y="310"/>
                      </a:moveTo>
                      <a:cubicBezTo>
                        <a:pt x="61" y="283"/>
                        <a:pt x="61" y="283"/>
                        <a:pt x="61" y="283"/>
                      </a:cubicBezTo>
                      <a:cubicBezTo>
                        <a:pt x="61" y="342"/>
                        <a:pt x="61" y="342"/>
                        <a:pt x="61" y="342"/>
                      </a:cubicBezTo>
                      <a:lnTo>
                        <a:pt x="17" y="3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4" name="Freeform 101"/>
                <p:cNvSpPr/>
                <p:nvPr/>
              </p:nvSpPr>
              <p:spPr bwMode="auto">
                <a:xfrm>
                  <a:off x="3860800" y="-1647825"/>
                  <a:ext cx="581025" cy="101600"/>
                </a:xfrm>
                <a:custGeom>
                  <a:avLst/>
                  <a:gdLst>
                    <a:gd name="T0" fmla="*/ 2147483646 w 155"/>
                    <a:gd name="T1" fmla="*/ 2147483646 h 27"/>
                    <a:gd name="T2" fmla="*/ 2147483646 w 155"/>
                    <a:gd name="T3" fmla="*/ 2147483646 h 27"/>
                    <a:gd name="T4" fmla="*/ 2147483646 w 155"/>
                    <a:gd name="T5" fmla="*/ 2147483646 h 27"/>
                    <a:gd name="T6" fmla="*/ 0 w 155"/>
                    <a:gd name="T7" fmla="*/ 2147483646 h 27"/>
                    <a:gd name="T8" fmla="*/ 0 w 155"/>
                    <a:gd name="T9" fmla="*/ 2147483646 h 27"/>
                    <a:gd name="T10" fmla="*/ 2147483646 w 155"/>
                    <a:gd name="T11" fmla="*/ 0 h 27"/>
                    <a:gd name="T12" fmla="*/ 2147483646 w 155"/>
                    <a:gd name="T13" fmla="*/ 0 h 27"/>
                    <a:gd name="T14" fmla="*/ 2147483646 w 155"/>
                    <a:gd name="T15" fmla="*/ 2147483646 h 27"/>
                    <a:gd name="T16" fmla="*/ 2147483646 w 155"/>
                    <a:gd name="T17" fmla="*/ 2147483646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7">
                      <a:moveTo>
                        <a:pt x="155" y="20"/>
                      </a:moveTo>
                      <a:cubicBezTo>
                        <a:pt x="155" y="24"/>
                        <a:pt x="153" y="27"/>
                        <a:pt x="150" y="27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2" y="27"/>
                        <a:pt x="0" y="24"/>
                        <a:pt x="0" y="2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7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5" name="Freeform 102"/>
                <p:cNvSpPr/>
                <p:nvPr/>
              </p:nvSpPr>
              <p:spPr bwMode="auto">
                <a:xfrm>
                  <a:off x="3860800" y="-1508125"/>
                  <a:ext cx="581025" cy="96838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6" name="Freeform 103"/>
                <p:cNvSpPr/>
                <p:nvPr/>
              </p:nvSpPr>
              <p:spPr bwMode="auto">
                <a:xfrm>
                  <a:off x="3860800" y="-1370013"/>
                  <a:ext cx="581025" cy="96838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2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7" name="Freeform 104"/>
                <p:cNvSpPr/>
                <p:nvPr/>
              </p:nvSpPr>
              <p:spPr bwMode="auto">
                <a:xfrm>
                  <a:off x="3351213" y="-2085975"/>
                  <a:ext cx="187325" cy="198438"/>
                </a:xfrm>
                <a:custGeom>
                  <a:avLst/>
                  <a:gdLst>
                    <a:gd name="T0" fmla="*/ 2147483646 w 118"/>
                    <a:gd name="T1" fmla="*/ 2147483646 h 125"/>
                    <a:gd name="T2" fmla="*/ 0 w 118"/>
                    <a:gd name="T3" fmla="*/ 2147483646 h 125"/>
                    <a:gd name="T4" fmla="*/ 2147483646 w 118"/>
                    <a:gd name="T5" fmla="*/ 0 h 125"/>
                    <a:gd name="T6" fmla="*/ 2147483646 w 118"/>
                    <a:gd name="T7" fmla="*/ 2147483646 h 125"/>
                    <a:gd name="T8" fmla="*/ 2147483646 w 118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8" h="125">
                      <a:moveTo>
                        <a:pt x="11" y="125"/>
                      </a:moveTo>
                      <a:lnTo>
                        <a:pt x="0" y="116"/>
                      </a:lnTo>
                      <a:lnTo>
                        <a:pt x="108" y="0"/>
                      </a:lnTo>
                      <a:lnTo>
                        <a:pt x="118" y="12"/>
                      </a:lnTo>
                      <a:lnTo>
                        <a:pt x="11" y="1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8" name="Freeform 105"/>
                <p:cNvSpPr/>
                <p:nvPr/>
              </p:nvSpPr>
              <p:spPr bwMode="auto">
                <a:xfrm>
                  <a:off x="3481388" y="-2259013"/>
                  <a:ext cx="112713" cy="225425"/>
                </a:xfrm>
                <a:custGeom>
                  <a:avLst/>
                  <a:gdLst>
                    <a:gd name="T0" fmla="*/ 2147483646 w 30"/>
                    <a:gd name="T1" fmla="*/ 0 h 60"/>
                    <a:gd name="T2" fmla="*/ 2147483646 w 30"/>
                    <a:gd name="T3" fmla="*/ 2147483646 h 60"/>
                    <a:gd name="T4" fmla="*/ 2147483646 w 30"/>
                    <a:gd name="T5" fmla="*/ 2147483646 h 60"/>
                    <a:gd name="T6" fmla="*/ 2147483646 w 30"/>
                    <a:gd name="T7" fmla="*/ 2147483646 h 60"/>
                    <a:gd name="T8" fmla="*/ 2147483646 w 30"/>
                    <a:gd name="T9" fmla="*/ 2147483646 h 60"/>
                    <a:gd name="T10" fmla="*/ 2147483646 w 30"/>
                    <a:gd name="T11" fmla="*/ 0 h 60"/>
                    <a:gd name="T12" fmla="*/ 2147483646 w 30"/>
                    <a:gd name="T13" fmla="*/ 0 h 60"/>
                    <a:gd name="T14" fmla="*/ 2147483646 w 30"/>
                    <a:gd name="T15" fmla="*/ 2147483646 h 60"/>
                    <a:gd name="T16" fmla="*/ 2147483646 w 30"/>
                    <a:gd name="T17" fmla="*/ 2147483646 h 60"/>
                    <a:gd name="T18" fmla="*/ 2147483646 w 30"/>
                    <a:gd name="T19" fmla="*/ 2147483646 h 60"/>
                    <a:gd name="T20" fmla="*/ 0 w 30"/>
                    <a:gd name="T21" fmla="*/ 2147483646 h 60"/>
                    <a:gd name="T22" fmla="*/ 0 w 30"/>
                    <a:gd name="T23" fmla="*/ 2147483646 h 60"/>
                    <a:gd name="T24" fmla="*/ 2147483646 w 30"/>
                    <a:gd name="T25" fmla="*/ 2147483646 h 60"/>
                    <a:gd name="T26" fmla="*/ 2147483646 w 30"/>
                    <a:gd name="T27" fmla="*/ 2147483646 h 60"/>
                    <a:gd name="T28" fmla="*/ 2147483646 w 30"/>
                    <a:gd name="T29" fmla="*/ 2147483646 h 60"/>
                    <a:gd name="T30" fmla="*/ 2147483646 w 30"/>
                    <a:gd name="T31" fmla="*/ 2147483646 h 60"/>
                    <a:gd name="T32" fmla="*/ 2147483646 w 30"/>
                    <a:gd name="T33" fmla="*/ 2147483646 h 60"/>
                    <a:gd name="T34" fmla="*/ 2147483646 w 30"/>
                    <a:gd name="T35" fmla="*/ 2147483646 h 60"/>
                    <a:gd name="T36" fmla="*/ 2147483646 w 30"/>
                    <a:gd name="T37" fmla="*/ 2147483646 h 60"/>
                    <a:gd name="T38" fmla="*/ 2147483646 w 30"/>
                    <a:gd name="T39" fmla="*/ 2147483646 h 60"/>
                    <a:gd name="T40" fmla="*/ 2147483646 w 30"/>
                    <a:gd name="T41" fmla="*/ 2147483646 h 60"/>
                    <a:gd name="T42" fmla="*/ 2147483646 w 30"/>
                    <a:gd name="T43" fmla="*/ 2147483646 h 60"/>
                    <a:gd name="T44" fmla="*/ 2147483646 w 30"/>
                    <a:gd name="T45" fmla="*/ 2147483646 h 60"/>
                    <a:gd name="T46" fmla="*/ 2147483646 w 30"/>
                    <a:gd name="T47" fmla="*/ 2147483646 h 60"/>
                    <a:gd name="T48" fmla="*/ 2147483646 w 30"/>
                    <a:gd name="T49" fmla="*/ 2147483646 h 60"/>
                    <a:gd name="T50" fmla="*/ 2147483646 w 30"/>
                    <a:gd name="T51" fmla="*/ 2147483646 h 60"/>
                    <a:gd name="T52" fmla="*/ 2147483646 w 30"/>
                    <a:gd name="T53" fmla="*/ 2147483646 h 60"/>
                    <a:gd name="T54" fmla="*/ 2147483646 w 30"/>
                    <a:gd name="T55" fmla="*/ 2147483646 h 60"/>
                    <a:gd name="T56" fmla="*/ 2147483646 w 30"/>
                    <a:gd name="T57" fmla="*/ 2147483646 h 60"/>
                    <a:gd name="T58" fmla="*/ 2147483646 w 30"/>
                    <a:gd name="T59" fmla="*/ 2147483646 h 60"/>
                    <a:gd name="T60" fmla="*/ 2147483646 w 30"/>
                    <a:gd name="T61" fmla="*/ 2147483646 h 60"/>
                    <a:gd name="T62" fmla="*/ 2147483646 w 30"/>
                    <a:gd name="T63" fmla="*/ 2147483646 h 60"/>
                    <a:gd name="T64" fmla="*/ 2147483646 w 30"/>
                    <a:gd name="T65" fmla="*/ 2147483646 h 60"/>
                    <a:gd name="T66" fmla="*/ 2147483646 w 30"/>
                    <a:gd name="T67" fmla="*/ 2147483646 h 60"/>
                    <a:gd name="T68" fmla="*/ 2147483646 w 30"/>
                    <a:gd name="T69" fmla="*/ 2147483646 h 60"/>
                    <a:gd name="T70" fmla="*/ 2147483646 w 30"/>
                    <a:gd name="T71" fmla="*/ 2147483646 h 60"/>
                    <a:gd name="T72" fmla="*/ 2147483646 w 30"/>
                    <a:gd name="T73" fmla="*/ 2147483646 h 60"/>
                    <a:gd name="T74" fmla="*/ 2147483646 w 30"/>
                    <a:gd name="T75" fmla="*/ 2147483646 h 60"/>
                    <a:gd name="T76" fmla="*/ 2147483646 w 30"/>
                    <a:gd name="T77" fmla="*/ 2147483646 h 60"/>
                    <a:gd name="T78" fmla="*/ 2147483646 w 30"/>
                    <a:gd name="T79" fmla="*/ 0 h 60"/>
                    <a:gd name="T80" fmla="*/ 2147483646 w 30"/>
                    <a:gd name="T81" fmla="*/ 0 h 6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30" h="60">
                      <a:moveTo>
                        <a:pt x="21" y="0"/>
                      </a:moveTo>
                      <a:cubicBezTo>
                        <a:pt x="19" y="0"/>
                        <a:pt x="17" y="2"/>
                        <a:pt x="17" y="5"/>
                      </a:cubicBezTo>
                      <a:cubicBezTo>
                        <a:pt x="17" y="5"/>
                        <a:pt x="17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3" y="2"/>
                        <a:pt x="11" y="0"/>
                        <a:pt x="9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4" y="2"/>
                        <a:pt x="4" y="5"/>
                      </a:cubicBezTo>
                      <a:cubicBezTo>
                        <a:pt x="4" y="5"/>
                        <a:pt x="4" y="5"/>
                        <a:pt x="4" y="6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2" y="6"/>
                        <a:pt x="0" y="7"/>
                        <a:pt x="0" y="9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4"/>
                        <a:pt x="1" y="17"/>
                        <a:pt x="2" y="18"/>
                      </a:cubicBezTo>
                      <a:cubicBezTo>
                        <a:pt x="2" y="18"/>
                        <a:pt x="10" y="26"/>
                        <a:pt x="11" y="27"/>
                      </a:cubicBezTo>
                      <a:cubicBezTo>
                        <a:pt x="11" y="28"/>
                        <a:pt x="11" y="30"/>
                        <a:pt x="11" y="30"/>
                      </a:cubicBezTo>
                      <a:cubicBezTo>
                        <a:pt x="11" y="30"/>
                        <a:pt x="10" y="31"/>
                        <a:pt x="10" y="31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5" y="36"/>
                        <a:pt x="1" y="40"/>
                        <a:pt x="1" y="46"/>
                      </a:cubicBezTo>
                      <a:cubicBezTo>
                        <a:pt x="1" y="48"/>
                        <a:pt x="2" y="50"/>
                        <a:pt x="3" y="53"/>
                      </a:cubicBezTo>
                      <a:cubicBezTo>
                        <a:pt x="5" y="57"/>
                        <a:pt x="7" y="59"/>
                        <a:pt x="10" y="60"/>
                      </a:cubicBezTo>
                      <a:cubicBezTo>
                        <a:pt x="13" y="60"/>
                        <a:pt x="16" y="59"/>
                        <a:pt x="19" y="57"/>
                      </a:cubicBezTo>
                      <a:cubicBezTo>
                        <a:pt x="24" y="54"/>
                        <a:pt x="25" y="48"/>
                        <a:pt x="26" y="43"/>
                      </a:cubicBezTo>
                      <a:cubicBezTo>
                        <a:pt x="26" y="42"/>
                        <a:pt x="26" y="40"/>
                        <a:pt x="27" y="39"/>
                      </a:cubicBezTo>
                      <a:cubicBezTo>
                        <a:pt x="27" y="38"/>
                        <a:pt x="27" y="36"/>
                        <a:pt x="27" y="35"/>
                      </a:cubicBezTo>
                      <a:cubicBezTo>
                        <a:pt x="26" y="34"/>
                        <a:pt x="25" y="35"/>
                        <a:pt x="24" y="35"/>
                      </a:cubicBezTo>
                      <a:cubicBezTo>
                        <a:pt x="21" y="35"/>
                        <a:pt x="20" y="39"/>
                        <a:pt x="19" y="42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7" y="45"/>
                        <a:pt x="16" y="46"/>
                        <a:pt x="15" y="46"/>
                      </a:cubicBezTo>
                      <a:cubicBezTo>
                        <a:pt x="14" y="46"/>
                        <a:pt x="14" y="46"/>
                        <a:pt x="13" y="45"/>
                      </a:cubicBezTo>
                      <a:cubicBezTo>
                        <a:pt x="12" y="44"/>
                        <a:pt x="12" y="43"/>
                        <a:pt x="12" y="43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3" y="40"/>
                        <a:pt x="14" y="39"/>
                        <a:pt x="15" y="38"/>
                      </a:cubicBezTo>
                      <a:cubicBezTo>
                        <a:pt x="18" y="37"/>
                        <a:pt x="19" y="31"/>
                        <a:pt x="19" y="27"/>
                      </a:cubicBezTo>
                      <a:cubicBezTo>
                        <a:pt x="20" y="26"/>
                        <a:pt x="28" y="18"/>
                        <a:pt x="28" y="18"/>
                      </a:cubicBezTo>
                      <a:cubicBezTo>
                        <a:pt x="29" y="17"/>
                        <a:pt x="30" y="14"/>
                        <a:pt x="30" y="13"/>
                      </a:cubicBezTo>
                      <a:cubicBezTo>
                        <a:pt x="30" y="9"/>
                        <a:pt x="30" y="9"/>
                        <a:pt x="30" y="9"/>
                      </a:cubicBezTo>
                      <a:cubicBezTo>
                        <a:pt x="30" y="7"/>
                        <a:pt x="28" y="6"/>
                        <a:pt x="26" y="6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5"/>
                        <a:pt x="26" y="5"/>
                        <a:pt x="26" y="5"/>
                      </a:cubicBezTo>
                      <a:cubicBezTo>
                        <a:pt x="26" y="2"/>
                        <a:pt x="24" y="0"/>
                        <a:pt x="23" y="0"/>
                      </a:cubicBez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9" name="Freeform 106"/>
                <p:cNvSpPr/>
                <p:nvPr/>
              </p:nvSpPr>
              <p:spPr bwMode="auto">
                <a:xfrm>
                  <a:off x="3541713" y="-2097088"/>
                  <a:ext cx="30163" cy="36513"/>
                </a:xfrm>
                <a:custGeom>
                  <a:avLst/>
                  <a:gdLst>
                    <a:gd name="T0" fmla="*/ 2147483646 w 8"/>
                    <a:gd name="T1" fmla="*/ 2147483646 h 10"/>
                    <a:gd name="T2" fmla="*/ 2147483646 w 8"/>
                    <a:gd name="T3" fmla="*/ 2147483646 h 10"/>
                    <a:gd name="T4" fmla="*/ 2147483646 w 8"/>
                    <a:gd name="T5" fmla="*/ 0 h 10"/>
                    <a:gd name="T6" fmla="*/ 2147483646 w 8"/>
                    <a:gd name="T7" fmla="*/ 2147483646 h 10"/>
                    <a:gd name="T8" fmla="*/ 0 w 8"/>
                    <a:gd name="T9" fmla="*/ 2147483646 h 10"/>
                    <a:gd name="T10" fmla="*/ 2147483646 w 8"/>
                    <a:gd name="T11" fmla="*/ 2147483646 h 10"/>
                    <a:gd name="T12" fmla="*/ 2147483646 w 8"/>
                    <a:gd name="T13" fmla="*/ 2147483646 h 10"/>
                    <a:gd name="T14" fmla="*/ 2147483646 w 8"/>
                    <a:gd name="T15" fmla="*/ 2147483646 h 1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8" h="10">
                      <a:moveTo>
                        <a:pt x="8" y="4"/>
                      </a:moveTo>
                      <a:cubicBezTo>
                        <a:pt x="7" y="3"/>
                        <a:pt x="6" y="2"/>
                        <a:pt x="6" y="2"/>
                      </a:cubicBezTo>
                      <a:cubicBezTo>
                        <a:pt x="5" y="1"/>
                        <a:pt x="4" y="1"/>
                        <a:pt x="4" y="0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3"/>
                        <a:pt x="1" y="4"/>
                        <a:pt x="0" y="4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6" y="8"/>
                        <a:pt x="7" y="6"/>
                        <a:pt x="8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30" name="Freeform 107"/>
                <p:cNvSpPr/>
                <p:nvPr/>
              </p:nvSpPr>
              <p:spPr bwMode="auto">
                <a:xfrm>
                  <a:off x="3533775" y="-2097088"/>
                  <a:ext cx="188913" cy="212725"/>
                </a:xfrm>
                <a:custGeom>
                  <a:avLst/>
                  <a:gdLst>
                    <a:gd name="T0" fmla="*/ 2147483646 w 50"/>
                    <a:gd name="T1" fmla="*/ 2147483646 h 57"/>
                    <a:gd name="T2" fmla="*/ 0 w 50"/>
                    <a:gd name="T3" fmla="*/ 2147483646 h 57"/>
                    <a:gd name="T4" fmla="*/ 2147483646 w 50"/>
                    <a:gd name="T5" fmla="*/ 2147483646 h 57"/>
                    <a:gd name="T6" fmla="*/ 2147483646 w 50"/>
                    <a:gd name="T7" fmla="*/ 2147483646 h 57"/>
                    <a:gd name="T8" fmla="*/ 2147483646 w 50"/>
                    <a:gd name="T9" fmla="*/ 2147483646 h 57"/>
                    <a:gd name="T10" fmla="*/ 2147483646 w 50"/>
                    <a:gd name="T11" fmla="*/ 2147483646 h 57"/>
                    <a:gd name="T12" fmla="*/ 2147483646 w 50"/>
                    <a:gd name="T13" fmla="*/ 2147483646 h 5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0" h="57">
                      <a:moveTo>
                        <a:pt x="2" y="6"/>
                      </a:moveTo>
                      <a:cubicBezTo>
                        <a:pt x="2" y="6"/>
                        <a:pt x="1" y="4"/>
                        <a:pt x="0" y="3"/>
                      </a:cubicBezTo>
                      <a:cubicBezTo>
                        <a:pt x="0" y="2"/>
                        <a:pt x="2" y="0"/>
                        <a:pt x="3" y="1"/>
                      </a:cubicBezTo>
                      <a:cubicBezTo>
                        <a:pt x="5" y="1"/>
                        <a:pt x="6" y="1"/>
                        <a:pt x="7" y="2"/>
                      </a:cubicBezTo>
                      <a:cubicBezTo>
                        <a:pt x="9" y="4"/>
                        <a:pt x="50" y="52"/>
                        <a:pt x="50" y="52"/>
                      </a:cubicBezTo>
                      <a:cubicBezTo>
                        <a:pt x="46" y="57"/>
                        <a:pt x="46" y="57"/>
                        <a:pt x="46" y="57"/>
                      </a:cubicBez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31" name="Freeform 108"/>
                <p:cNvSpPr/>
                <p:nvPr/>
              </p:nvSpPr>
              <p:spPr bwMode="auto">
                <a:xfrm>
                  <a:off x="4576763" y="-2952750"/>
                  <a:ext cx="292100" cy="363538"/>
                </a:xfrm>
                <a:custGeom>
                  <a:avLst/>
                  <a:gdLst>
                    <a:gd name="T0" fmla="*/ 2147483646 w 78"/>
                    <a:gd name="T1" fmla="*/ 2147483646 h 97"/>
                    <a:gd name="T2" fmla="*/ 2147483646 w 78"/>
                    <a:gd name="T3" fmla="*/ 2147483646 h 97"/>
                    <a:gd name="T4" fmla="*/ 2147483646 w 78"/>
                    <a:gd name="T5" fmla="*/ 2147483646 h 97"/>
                    <a:gd name="T6" fmla="*/ 0 w 78"/>
                    <a:gd name="T7" fmla="*/ 2147483646 h 97"/>
                    <a:gd name="T8" fmla="*/ 0 w 78"/>
                    <a:gd name="T9" fmla="*/ 2147483646 h 97"/>
                    <a:gd name="T10" fmla="*/ 2147483646 w 78"/>
                    <a:gd name="T11" fmla="*/ 0 h 97"/>
                    <a:gd name="T12" fmla="*/ 2147483646 w 78"/>
                    <a:gd name="T13" fmla="*/ 0 h 97"/>
                    <a:gd name="T14" fmla="*/ 2147483646 w 78"/>
                    <a:gd name="T15" fmla="*/ 2147483646 h 97"/>
                    <a:gd name="T16" fmla="*/ 2147483646 w 78"/>
                    <a:gd name="T17" fmla="*/ 2147483646 h 9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78" h="97">
                      <a:moveTo>
                        <a:pt x="78" y="87"/>
                      </a:moveTo>
                      <a:cubicBezTo>
                        <a:pt x="78" y="93"/>
                        <a:pt x="73" y="97"/>
                        <a:pt x="68" y="97"/>
                      </a:cubicBezTo>
                      <a:cubicBezTo>
                        <a:pt x="10" y="97"/>
                        <a:pt x="10" y="97"/>
                        <a:pt x="10" y="97"/>
                      </a:cubicBezTo>
                      <a:cubicBezTo>
                        <a:pt x="4" y="97"/>
                        <a:pt x="0" y="93"/>
                        <a:pt x="0" y="87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4"/>
                        <a:pt x="4" y="0"/>
                        <a:pt x="10" y="0"/>
                      </a:cubicBez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73" y="0"/>
                        <a:pt x="78" y="4"/>
                        <a:pt x="78" y="10"/>
                      </a:cubicBezTo>
                      <a:lnTo>
                        <a:pt x="78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32" name="Rectangle 109"/>
                <p:cNvSpPr>
                  <a:spLocks noChangeArrowheads="1"/>
                </p:cNvSpPr>
                <p:nvPr/>
              </p:nvSpPr>
              <p:spPr bwMode="auto">
                <a:xfrm>
                  <a:off x="3340100" y="-1920875"/>
                  <a:ext cx="396875" cy="11588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33" name="Freeform 110"/>
                <p:cNvSpPr/>
                <p:nvPr/>
              </p:nvSpPr>
              <p:spPr bwMode="auto">
                <a:xfrm>
                  <a:off x="3340100" y="-1920875"/>
                  <a:ext cx="369888" cy="115888"/>
                </a:xfrm>
                <a:custGeom>
                  <a:avLst/>
                  <a:gdLst>
                    <a:gd name="T0" fmla="*/ 0 w 99"/>
                    <a:gd name="T1" fmla="*/ 0 h 31"/>
                    <a:gd name="T2" fmla="*/ 0 w 99"/>
                    <a:gd name="T3" fmla="*/ 2147483646 h 31"/>
                    <a:gd name="T4" fmla="*/ 2147483646 w 99"/>
                    <a:gd name="T5" fmla="*/ 2147483646 h 31"/>
                    <a:gd name="T6" fmla="*/ 2147483646 w 99"/>
                    <a:gd name="T7" fmla="*/ 0 h 31"/>
                    <a:gd name="T8" fmla="*/ 0 w 99"/>
                    <a:gd name="T9" fmla="*/ 0 h 3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99" h="31">
                      <a:moveTo>
                        <a:pt x="0" y="0"/>
                      </a:move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25" y="10"/>
                        <a:pt x="79" y="3"/>
                        <a:pt x="9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16" name="组合 15"/>
          <p:cNvGrpSpPr/>
          <p:nvPr/>
        </p:nvGrpSpPr>
        <p:grpSpPr bwMode="auto">
          <a:xfrm>
            <a:off x="5467350" y="2927350"/>
            <a:ext cx="1438275" cy="1635125"/>
            <a:chOff x="5467036" y="2927173"/>
            <a:chExt cx="1438770" cy="1636085"/>
          </a:xfrm>
        </p:grpSpPr>
        <p:sp>
          <p:nvSpPr>
            <p:cNvPr id="11" name="Rectangle 7"/>
            <p:cNvSpPr/>
            <p:nvPr/>
          </p:nvSpPr>
          <p:spPr bwMode="auto">
            <a:xfrm>
              <a:off x="5467036" y="2927173"/>
              <a:ext cx="1438770" cy="1636085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矩形 69"/>
            <p:cNvSpPr/>
            <p:nvPr/>
          </p:nvSpPr>
          <p:spPr>
            <a:xfrm>
              <a:off x="5511501" y="3873878"/>
              <a:ext cx="1349839" cy="64649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599" name="组合 7221"/>
            <p:cNvGrpSpPr/>
            <p:nvPr/>
          </p:nvGrpSpPr>
          <p:grpSpPr bwMode="auto">
            <a:xfrm>
              <a:off x="5775943" y="3029348"/>
              <a:ext cx="820957" cy="820957"/>
              <a:chOff x="9931400" y="-3467100"/>
              <a:chExt cx="2576513" cy="2576513"/>
            </a:xfrm>
          </p:grpSpPr>
          <p:sp>
            <p:nvSpPr>
              <p:cNvPr id="7205" name="Freeform 111"/>
              <p:cNvSpPr/>
              <p:nvPr/>
            </p:nvSpPr>
            <p:spPr bwMode="auto">
              <a:xfrm>
                <a:off x="9933792" y="-3468717"/>
                <a:ext cx="2571725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601" name="Freeform 112"/>
              <p:cNvSpPr/>
              <p:nvPr/>
            </p:nvSpPr>
            <p:spPr bwMode="auto">
              <a:xfrm>
                <a:off x="10795000" y="-2990850"/>
                <a:ext cx="1712913" cy="2100263"/>
              </a:xfrm>
              <a:custGeom>
                <a:avLst/>
                <a:gdLst>
                  <a:gd name="T0" fmla="*/ 2147483646 w 457"/>
                  <a:gd name="T1" fmla="*/ 0 h 560"/>
                  <a:gd name="T2" fmla="*/ 2147483646 w 457"/>
                  <a:gd name="T3" fmla="*/ 2147483646 h 560"/>
                  <a:gd name="T4" fmla="*/ 2147483646 w 457"/>
                  <a:gd name="T5" fmla="*/ 2147483646 h 560"/>
                  <a:gd name="T6" fmla="*/ 2147483646 w 457"/>
                  <a:gd name="T7" fmla="*/ 2147483646 h 560"/>
                  <a:gd name="T8" fmla="*/ 2147483646 w 457"/>
                  <a:gd name="T9" fmla="*/ 2147483646 h 560"/>
                  <a:gd name="T10" fmla="*/ 2147483646 w 457"/>
                  <a:gd name="T11" fmla="*/ 2147483646 h 560"/>
                  <a:gd name="T12" fmla="*/ 2147483646 w 457"/>
                  <a:gd name="T13" fmla="*/ 2147483646 h 560"/>
                  <a:gd name="T14" fmla="*/ 2147483646 w 457"/>
                  <a:gd name="T15" fmla="*/ 2147483646 h 560"/>
                  <a:gd name="T16" fmla="*/ 2147483646 w 457"/>
                  <a:gd name="T17" fmla="*/ 2147483646 h 560"/>
                  <a:gd name="T18" fmla="*/ 0 w 457"/>
                  <a:gd name="T19" fmla="*/ 2147483646 h 560"/>
                  <a:gd name="T20" fmla="*/ 2147483646 w 457"/>
                  <a:gd name="T21" fmla="*/ 2147483646 h 560"/>
                  <a:gd name="T22" fmla="*/ 2147483646 w 457"/>
                  <a:gd name="T23" fmla="*/ 2147483646 h 560"/>
                  <a:gd name="T24" fmla="*/ 2147483646 w 457"/>
                  <a:gd name="T25" fmla="*/ 2147483646 h 560"/>
                  <a:gd name="T26" fmla="*/ 2147483646 w 457"/>
                  <a:gd name="T27" fmla="*/ 2147483646 h 560"/>
                  <a:gd name="T28" fmla="*/ 2147483646 w 457"/>
                  <a:gd name="T29" fmla="*/ 0 h 56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57" h="560">
                    <a:moveTo>
                      <a:pt x="151" y="0"/>
                    </a:moveTo>
                    <a:cubicBezTo>
                      <a:pt x="99" y="51"/>
                      <a:pt x="99" y="51"/>
                      <a:pt x="99" y="51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51" y="36"/>
                      <a:pt x="51" y="36"/>
                      <a:pt x="51" y="36"/>
                    </a:cubicBezTo>
                    <a:cubicBezTo>
                      <a:pt x="21" y="93"/>
                      <a:pt x="21" y="93"/>
                      <a:pt x="21" y="93"/>
                    </a:cubicBezTo>
                    <a:cubicBezTo>
                      <a:pt x="51" y="122"/>
                      <a:pt x="51" y="122"/>
                      <a:pt x="51" y="122"/>
                    </a:cubicBezTo>
                    <a:cubicBezTo>
                      <a:pt x="27" y="146"/>
                      <a:pt x="27" y="146"/>
                      <a:pt x="27" y="146"/>
                    </a:cubicBezTo>
                    <a:cubicBezTo>
                      <a:pt x="50" y="170"/>
                      <a:pt x="50" y="170"/>
                      <a:pt x="50" y="170"/>
                    </a:cubicBezTo>
                    <a:cubicBezTo>
                      <a:pt x="16" y="259"/>
                      <a:pt x="16" y="259"/>
                      <a:pt x="16" y="259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143" y="560"/>
                      <a:pt x="143" y="560"/>
                      <a:pt x="143" y="560"/>
                    </a:cubicBezTo>
                    <a:cubicBezTo>
                      <a:pt x="395" y="560"/>
                      <a:pt x="395" y="560"/>
                      <a:pt x="395" y="560"/>
                    </a:cubicBezTo>
                    <a:cubicBezTo>
                      <a:pt x="429" y="560"/>
                      <a:pt x="457" y="532"/>
                      <a:pt x="457" y="497"/>
                    </a:cubicBezTo>
                    <a:cubicBezTo>
                      <a:pt x="457" y="307"/>
                      <a:pt x="457" y="307"/>
                      <a:pt x="457" y="307"/>
                    </a:cubicBez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4602" name="组合 7216"/>
              <p:cNvGrpSpPr/>
              <p:nvPr/>
            </p:nvGrpSpPr>
            <p:grpSpPr bwMode="auto">
              <a:xfrm>
                <a:off x="10787063" y="-3241675"/>
                <a:ext cx="1173163" cy="1833563"/>
                <a:chOff x="10787063" y="-3241675"/>
                <a:chExt cx="1173163" cy="1833563"/>
              </a:xfrm>
            </p:grpSpPr>
            <p:sp>
              <p:nvSpPr>
                <p:cNvPr id="24603" name="Freeform 113"/>
                <p:cNvSpPr/>
                <p:nvPr/>
              </p:nvSpPr>
              <p:spPr bwMode="auto">
                <a:xfrm>
                  <a:off x="11180763" y="-2562225"/>
                  <a:ext cx="127000" cy="123825"/>
                </a:xfrm>
                <a:custGeom>
                  <a:avLst/>
                  <a:gdLst>
                    <a:gd name="T0" fmla="*/ 2147483646 w 80"/>
                    <a:gd name="T1" fmla="*/ 2147483646 h 78"/>
                    <a:gd name="T2" fmla="*/ 2147483646 w 80"/>
                    <a:gd name="T3" fmla="*/ 2147483646 h 78"/>
                    <a:gd name="T4" fmla="*/ 2147483646 w 80"/>
                    <a:gd name="T5" fmla="*/ 0 h 78"/>
                    <a:gd name="T6" fmla="*/ 2147483646 w 80"/>
                    <a:gd name="T7" fmla="*/ 0 h 78"/>
                    <a:gd name="T8" fmla="*/ 0 w 80"/>
                    <a:gd name="T9" fmla="*/ 2147483646 h 78"/>
                    <a:gd name="T10" fmla="*/ 2147483646 w 80"/>
                    <a:gd name="T11" fmla="*/ 2147483646 h 78"/>
                    <a:gd name="T12" fmla="*/ 2147483646 w 80"/>
                    <a:gd name="T13" fmla="*/ 2147483646 h 7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0" h="78">
                      <a:moveTo>
                        <a:pt x="80" y="78"/>
                      </a:moveTo>
                      <a:lnTo>
                        <a:pt x="80" y="78"/>
                      </a:lnTo>
                      <a:lnTo>
                        <a:pt x="71" y="0"/>
                      </a:lnTo>
                      <a:lnTo>
                        <a:pt x="9" y="0"/>
                      </a:lnTo>
                      <a:lnTo>
                        <a:pt x="0" y="78"/>
                      </a:lnTo>
                      <a:lnTo>
                        <a:pt x="8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4" name="Freeform 114"/>
                <p:cNvSpPr/>
                <p:nvPr/>
              </p:nvSpPr>
              <p:spPr bwMode="auto">
                <a:xfrm>
                  <a:off x="11095038" y="-2390775"/>
                  <a:ext cx="303213" cy="712788"/>
                </a:xfrm>
                <a:custGeom>
                  <a:avLst/>
                  <a:gdLst>
                    <a:gd name="T0" fmla="*/ 2147483646 w 191"/>
                    <a:gd name="T1" fmla="*/ 0 h 449"/>
                    <a:gd name="T2" fmla="*/ 2147483646 w 191"/>
                    <a:gd name="T3" fmla="*/ 2147483646 h 449"/>
                    <a:gd name="T4" fmla="*/ 2147483646 w 191"/>
                    <a:gd name="T5" fmla="*/ 2147483646 h 449"/>
                    <a:gd name="T6" fmla="*/ 0 w 191"/>
                    <a:gd name="T7" fmla="*/ 2147483646 h 449"/>
                    <a:gd name="T8" fmla="*/ 2147483646 w 191"/>
                    <a:gd name="T9" fmla="*/ 2147483646 h 449"/>
                    <a:gd name="T10" fmla="*/ 2147483646 w 191"/>
                    <a:gd name="T11" fmla="*/ 0 h 449"/>
                    <a:gd name="T12" fmla="*/ 2147483646 w 191"/>
                    <a:gd name="T13" fmla="*/ 0 h 4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1" h="449">
                      <a:moveTo>
                        <a:pt x="137" y="0"/>
                      </a:moveTo>
                      <a:lnTo>
                        <a:pt x="137" y="3"/>
                      </a:lnTo>
                      <a:lnTo>
                        <a:pt x="52" y="3"/>
                      </a:lnTo>
                      <a:lnTo>
                        <a:pt x="0" y="449"/>
                      </a:lnTo>
                      <a:lnTo>
                        <a:pt x="191" y="449"/>
                      </a:lnTo>
                      <a:lnTo>
                        <a:pt x="13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5" name="Freeform 115"/>
                <p:cNvSpPr/>
                <p:nvPr/>
              </p:nvSpPr>
              <p:spPr bwMode="auto">
                <a:xfrm>
                  <a:off x="10880725" y="-2562225"/>
                  <a:ext cx="123825" cy="123825"/>
                </a:xfrm>
                <a:custGeom>
                  <a:avLst/>
                  <a:gdLst>
                    <a:gd name="T0" fmla="*/ 0 w 78"/>
                    <a:gd name="T1" fmla="*/ 2147483646 h 78"/>
                    <a:gd name="T2" fmla="*/ 0 w 78"/>
                    <a:gd name="T3" fmla="*/ 2147483646 h 78"/>
                    <a:gd name="T4" fmla="*/ 2147483646 w 78"/>
                    <a:gd name="T5" fmla="*/ 2147483646 h 78"/>
                    <a:gd name="T6" fmla="*/ 2147483646 w 78"/>
                    <a:gd name="T7" fmla="*/ 0 h 78"/>
                    <a:gd name="T8" fmla="*/ 2147483646 w 78"/>
                    <a:gd name="T9" fmla="*/ 0 h 78"/>
                    <a:gd name="T10" fmla="*/ 0 w 78"/>
                    <a:gd name="T11" fmla="*/ 2147483646 h 78"/>
                    <a:gd name="T12" fmla="*/ 0 w 78"/>
                    <a:gd name="T13" fmla="*/ 2147483646 h 7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78" h="78">
                      <a:moveTo>
                        <a:pt x="0" y="78"/>
                      </a:moveTo>
                      <a:lnTo>
                        <a:pt x="0" y="78"/>
                      </a:lnTo>
                      <a:lnTo>
                        <a:pt x="78" y="78"/>
                      </a:lnTo>
                      <a:lnTo>
                        <a:pt x="71" y="0"/>
                      </a:lnTo>
                      <a:lnTo>
                        <a:pt x="10" y="0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6" name="Freeform 116"/>
                <p:cNvSpPr/>
                <p:nvPr/>
              </p:nvSpPr>
              <p:spPr bwMode="auto">
                <a:xfrm>
                  <a:off x="10790238" y="-2386013"/>
                  <a:ext cx="304800" cy="708025"/>
                </a:xfrm>
                <a:custGeom>
                  <a:avLst/>
                  <a:gdLst>
                    <a:gd name="T0" fmla="*/ 2147483646 w 192"/>
                    <a:gd name="T1" fmla="*/ 0 h 446"/>
                    <a:gd name="T2" fmla="*/ 2147483646 w 192"/>
                    <a:gd name="T3" fmla="*/ 0 h 446"/>
                    <a:gd name="T4" fmla="*/ 2147483646 w 192"/>
                    <a:gd name="T5" fmla="*/ 0 h 446"/>
                    <a:gd name="T6" fmla="*/ 2147483646 w 192"/>
                    <a:gd name="T7" fmla="*/ 0 h 446"/>
                    <a:gd name="T8" fmla="*/ 0 w 192"/>
                    <a:gd name="T9" fmla="*/ 2147483646 h 446"/>
                    <a:gd name="T10" fmla="*/ 2147483646 w 192"/>
                    <a:gd name="T11" fmla="*/ 2147483646 h 446"/>
                    <a:gd name="T12" fmla="*/ 2147483646 w 192"/>
                    <a:gd name="T13" fmla="*/ 0 h 44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2" h="446">
                      <a:moveTo>
                        <a:pt x="140" y="0"/>
                      </a:moveTo>
                      <a:lnTo>
                        <a:pt x="52" y="0"/>
                      </a:lnTo>
                      <a:lnTo>
                        <a:pt x="0" y="446"/>
                      </a:lnTo>
                      <a:lnTo>
                        <a:pt x="192" y="446"/>
                      </a:lnTo>
                      <a:lnTo>
                        <a:pt x="14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7" name="Freeform 117"/>
                <p:cNvSpPr/>
                <p:nvPr/>
              </p:nvSpPr>
              <p:spPr bwMode="auto">
                <a:xfrm>
                  <a:off x="11087100" y="-3241675"/>
                  <a:ext cx="319088" cy="622300"/>
                </a:xfrm>
                <a:custGeom>
                  <a:avLst/>
                  <a:gdLst>
                    <a:gd name="T0" fmla="*/ 2147483646 w 85"/>
                    <a:gd name="T1" fmla="*/ 2147483646 h 166"/>
                    <a:gd name="T2" fmla="*/ 2147483646 w 85"/>
                    <a:gd name="T3" fmla="*/ 2147483646 h 166"/>
                    <a:gd name="T4" fmla="*/ 2147483646 w 85"/>
                    <a:gd name="T5" fmla="*/ 2147483646 h 166"/>
                    <a:gd name="T6" fmla="*/ 2147483646 w 85"/>
                    <a:gd name="T7" fmla="*/ 0 h 166"/>
                    <a:gd name="T8" fmla="*/ 2147483646 w 85"/>
                    <a:gd name="T9" fmla="*/ 2147483646 h 166"/>
                    <a:gd name="T10" fmla="*/ 2147483646 w 85"/>
                    <a:gd name="T11" fmla="*/ 2147483646 h 166"/>
                    <a:gd name="T12" fmla="*/ 2147483646 w 85"/>
                    <a:gd name="T13" fmla="*/ 2147483646 h 16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5" h="166">
                      <a:moveTo>
                        <a:pt x="33" y="166"/>
                      </a:moveTo>
                      <a:cubicBezTo>
                        <a:pt x="33" y="166"/>
                        <a:pt x="0" y="145"/>
                        <a:pt x="15" y="124"/>
                      </a:cubicBezTo>
                      <a:cubicBezTo>
                        <a:pt x="29" y="104"/>
                        <a:pt x="52" y="81"/>
                        <a:pt x="36" y="62"/>
                      </a:cubicBezTo>
                      <a:cubicBezTo>
                        <a:pt x="19" y="43"/>
                        <a:pt x="21" y="27"/>
                        <a:pt x="40" y="0"/>
                      </a:cubicBezTo>
                      <a:cubicBezTo>
                        <a:pt x="40" y="0"/>
                        <a:pt x="25" y="24"/>
                        <a:pt x="48" y="37"/>
                      </a:cubicBezTo>
                      <a:cubicBezTo>
                        <a:pt x="72" y="50"/>
                        <a:pt x="85" y="75"/>
                        <a:pt x="70" y="91"/>
                      </a:cubicBezTo>
                      <a:cubicBezTo>
                        <a:pt x="55" y="106"/>
                        <a:pt x="17" y="125"/>
                        <a:pt x="33" y="16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8" name="Freeform 118"/>
                <p:cNvSpPr/>
                <p:nvPr/>
              </p:nvSpPr>
              <p:spPr bwMode="auto">
                <a:xfrm>
                  <a:off x="10806113" y="-3057525"/>
                  <a:ext cx="217488" cy="449263"/>
                </a:xfrm>
                <a:custGeom>
                  <a:avLst/>
                  <a:gdLst>
                    <a:gd name="T0" fmla="*/ 2147483646 w 58"/>
                    <a:gd name="T1" fmla="*/ 2147483646 h 120"/>
                    <a:gd name="T2" fmla="*/ 2147483646 w 58"/>
                    <a:gd name="T3" fmla="*/ 2147483646 h 120"/>
                    <a:gd name="T4" fmla="*/ 2147483646 w 58"/>
                    <a:gd name="T5" fmla="*/ 0 h 120"/>
                    <a:gd name="T6" fmla="*/ 2147483646 w 58"/>
                    <a:gd name="T7" fmla="*/ 2147483646 h 120"/>
                    <a:gd name="T8" fmla="*/ 2147483646 w 58"/>
                    <a:gd name="T9" fmla="*/ 2147483646 h 12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8" h="120">
                      <a:moveTo>
                        <a:pt x="28" y="120"/>
                      </a:moveTo>
                      <a:cubicBezTo>
                        <a:pt x="28" y="120"/>
                        <a:pt x="0" y="100"/>
                        <a:pt x="17" y="78"/>
                      </a:cubicBezTo>
                      <a:cubicBezTo>
                        <a:pt x="35" y="56"/>
                        <a:pt x="52" y="34"/>
                        <a:pt x="37" y="0"/>
                      </a:cubicBezTo>
                      <a:cubicBezTo>
                        <a:pt x="37" y="0"/>
                        <a:pt x="58" y="19"/>
                        <a:pt x="55" y="47"/>
                      </a:cubicBezTo>
                      <a:cubicBezTo>
                        <a:pt x="51" y="75"/>
                        <a:pt x="12" y="84"/>
                        <a:pt x="28" y="1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9" name="Freeform 119"/>
                <p:cNvSpPr>
                  <a:spLocks noEditPoints="1"/>
                </p:cNvSpPr>
                <p:nvPr/>
              </p:nvSpPr>
              <p:spPr bwMode="auto">
                <a:xfrm>
                  <a:off x="10787063" y="-1898650"/>
                  <a:ext cx="1173163" cy="490538"/>
                </a:xfrm>
                <a:custGeom>
                  <a:avLst/>
                  <a:gdLst>
                    <a:gd name="T0" fmla="*/ 2147483646 w 313"/>
                    <a:gd name="T1" fmla="*/ 0 h 131"/>
                    <a:gd name="T2" fmla="*/ 2147483646 w 313"/>
                    <a:gd name="T3" fmla="*/ 0 h 131"/>
                    <a:gd name="T4" fmla="*/ 0 w 313"/>
                    <a:gd name="T5" fmla="*/ 2147483646 h 131"/>
                    <a:gd name="T6" fmla="*/ 0 w 313"/>
                    <a:gd name="T7" fmla="*/ 2147483646 h 131"/>
                    <a:gd name="T8" fmla="*/ 2147483646 w 313"/>
                    <a:gd name="T9" fmla="*/ 2147483646 h 131"/>
                    <a:gd name="T10" fmla="*/ 2147483646 w 313"/>
                    <a:gd name="T11" fmla="*/ 2147483646 h 131"/>
                    <a:gd name="T12" fmla="*/ 2147483646 w 313"/>
                    <a:gd name="T13" fmla="*/ 0 h 131"/>
                    <a:gd name="T14" fmla="*/ 2147483646 w 313"/>
                    <a:gd name="T15" fmla="*/ 2147483646 h 131"/>
                    <a:gd name="T16" fmla="*/ 2147483646 w 313"/>
                    <a:gd name="T17" fmla="*/ 2147483646 h 131"/>
                    <a:gd name="T18" fmla="*/ 2147483646 w 313"/>
                    <a:gd name="T19" fmla="*/ 2147483646 h 131"/>
                    <a:gd name="T20" fmla="*/ 2147483646 w 313"/>
                    <a:gd name="T21" fmla="*/ 2147483646 h 131"/>
                    <a:gd name="T22" fmla="*/ 2147483646 w 313"/>
                    <a:gd name="T23" fmla="*/ 2147483646 h 131"/>
                    <a:gd name="T24" fmla="*/ 2147483646 w 313"/>
                    <a:gd name="T25" fmla="*/ 2147483646 h 131"/>
                    <a:gd name="T26" fmla="*/ 2147483646 w 313"/>
                    <a:gd name="T27" fmla="*/ 2147483646 h 131"/>
                    <a:gd name="T28" fmla="*/ 2147483646 w 313"/>
                    <a:gd name="T29" fmla="*/ 2147483646 h 131"/>
                    <a:gd name="T30" fmla="*/ 2147483646 w 313"/>
                    <a:gd name="T31" fmla="*/ 2147483646 h 131"/>
                    <a:gd name="T32" fmla="*/ 2147483646 w 313"/>
                    <a:gd name="T33" fmla="*/ 2147483646 h 131"/>
                    <a:gd name="T34" fmla="*/ 2147483646 w 313"/>
                    <a:gd name="T35" fmla="*/ 2147483646 h 131"/>
                    <a:gd name="T36" fmla="*/ 2147483646 w 313"/>
                    <a:gd name="T37" fmla="*/ 2147483646 h 131"/>
                    <a:gd name="T38" fmla="*/ 2147483646 w 313"/>
                    <a:gd name="T39" fmla="*/ 2147483646 h 131"/>
                    <a:gd name="T40" fmla="*/ 2147483646 w 313"/>
                    <a:gd name="T41" fmla="*/ 2147483646 h 131"/>
                    <a:gd name="T42" fmla="*/ 2147483646 w 313"/>
                    <a:gd name="T43" fmla="*/ 2147483646 h 131"/>
                    <a:gd name="T44" fmla="*/ 2147483646 w 313"/>
                    <a:gd name="T45" fmla="*/ 2147483646 h 131"/>
                    <a:gd name="T46" fmla="*/ 2147483646 w 313"/>
                    <a:gd name="T47" fmla="*/ 2147483646 h 131"/>
                    <a:gd name="T48" fmla="*/ 2147483646 w 313"/>
                    <a:gd name="T49" fmla="*/ 2147483646 h 13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313" h="131">
                      <a:moveTo>
                        <a:pt x="300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313" y="131"/>
                        <a:pt x="313" y="131"/>
                        <a:pt x="313" y="131"/>
                      </a:cubicBezTo>
                      <a:cubicBezTo>
                        <a:pt x="313" y="15"/>
                        <a:pt x="313" y="15"/>
                        <a:pt x="313" y="15"/>
                      </a:cubicBezTo>
                      <a:cubicBezTo>
                        <a:pt x="313" y="7"/>
                        <a:pt x="307" y="0"/>
                        <a:pt x="300" y="0"/>
                      </a:cubicBezTo>
                      <a:close/>
                      <a:moveTo>
                        <a:pt x="222" y="58"/>
                      </a:moveTo>
                      <a:cubicBezTo>
                        <a:pt x="222" y="61"/>
                        <a:pt x="220" y="64"/>
                        <a:pt x="216" y="64"/>
                      </a:cubicBezTo>
                      <a:cubicBezTo>
                        <a:pt x="178" y="64"/>
                        <a:pt x="178" y="64"/>
                        <a:pt x="178" y="64"/>
                      </a:cubicBezTo>
                      <a:cubicBezTo>
                        <a:pt x="175" y="64"/>
                        <a:pt x="172" y="61"/>
                        <a:pt x="172" y="58"/>
                      </a:cubicBezTo>
                      <a:cubicBezTo>
                        <a:pt x="172" y="24"/>
                        <a:pt x="172" y="24"/>
                        <a:pt x="172" y="24"/>
                      </a:cubicBezTo>
                      <a:cubicBezTo>
                        <a:pt x="172" y="20"/>
                        <a:pt x="175" y="18"/>
                        <a:pt x="178" y="18"/>
                      </a:cubicBezTo>
                      <a:cubicBezTo>
                        <a:pt x="216" y="18"/>
                        <a:pt x="216" y="18"/>
                        <a:pt x="216" y="18"/>
                      </a:cubicBezTo>
                      <a:cubicBezTo>
                        <a:pt x="220" y="18"/>
                        <a:pt x="222" y="20"/>
                        <a:pt x="222" y="24"/>
                      </a:cubicBezTo>
                      <a:lnTo>
                        <a:pt x="222" y="58"/>
                      </a:lnTo>
                      <a:close/>
                      <a:moveTo>
                        <a:pt x="292" y="58"/>
                      </a:moveTo>
                      <a:cubicBezTo>
                        <a:pt x="292" y="61"/>
                        <a:pt x="289" y="64"/>
                        <a:pt x="286" y="64"/>
                      </a:cubicBezTo>
                      <a:cubicBezTo>
                        <a:pt x="247" y="64"/>
                        <a:pt x="247" y="64"/>
                        <a:pt x="247" y="64"/>
                      </a:cubicBezTo>
                      <a:cubicBezTo>
                        <a:pt x="244" y="64"/>
                        <a:pt x="241" y="61"/>
                        <a:pt x="241" y="58"/>
                      </a:cubicBezTo>
                      <a:cubicBezTo>
                        <a:pt x="241" y="24"/>
                        <a:pt x="241" y="24"/>
                        <a:pt x="241" y="24"/>
                      </a:cubicBezTo>
                      <a:cubicBezTo>
                        <a:pt x="241" y="20"/>
                        <a:pt x="244" y="18"/>
                        <a:pt x="247" y="18"/>
                      </a:cubicBezTo>
                      <a:cubicBezTo>
                        <a:pt x="286" y="18"/>
                        <a:pt x="286" y="18"/>
                        <a:pt x="286" y="18"/>
                      </a:cubicBezTo>
                      <a:cubicBezTo>
                        <a:pt x="289" y="18"/>
                        <a:pt x="292" y="20"/>
                        <a:pt x="292" y="24"/>
                      </a:cubicBezTo>
                      <a:lnTo>
                        <a:pt x="292" y="5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3" name="组合 2"/>
          <p:cNvGrpSpPr/>
          <p:nvPr/>
        </p:nvGrpSpPr>
        <p:grpSpPr bwMode="auto">
          <a:xfrm>
            <a:off x="6985000" y="1189038"/>
            <a:ext cx="1438275" cy="1635125"/>
            <a:chOff x="6984535" y="1188628"/>
            <a:chExt cx="1438770" cy="1636085"/>
          </a:xfrm>
        </p:grpSpPr>
        <p:sp>
          <p:nvSpPr>
            <p:cNvPr id="12" name="Rectangle 8"/>
            <p:cNvSpPr/>
            <p:nvPr/>
          </p:nvSpPr>
          <p:spPr bwMode="auto">
            <a:xfrm>
              <a:off x="6984535" y="1188628"/>
              <a:ext cx="1438770" cy="1636085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3" name="矩形 72"/>
            <p:cNvSpPr/>
            <p:nvPr/>
          </p:nvSpPr>
          <p:spPr>
            <a:xfrm>
              <a:off x="7156044" y="2341830"/>
              <a:ext cx="1108456" cy="3685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586" name="组合 7219"/>
            <p:cNvGrpSpPr/>
            <p:nvPr/>
          </p:nvGrpSpPr>
          <p:grpSpPr bwMode="auto">
            <a:xfrm>
              <a:off x="7293442" y="1327442"/>
              <a:ext cx="820957" cy="820957"/>
              <a:chOff x="6396038" y="-3467100"/>
              <a:chExt cx="2576513" cy="2576513"/>
            </a:xfrm>
          </p:grpSpPr>
          <p:sp>
            <p:nvSpPr>
              <p:cNvPr id="95" name="Freeform 86"/>
              <p:cNvSpPr/>
              <p:nvPr/>
            </p:nvSpPr>
            <p:spPr bwMode="auto">
              <a:xfrm>
                <a:off x="6398430" y="-3469050"/>
                <a:ext cx="2571725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591" name="Freeform 87"/>
              <p:cNvSpPr/>
              <p:nvPr/>
            </p:nvSpPr>
            <p:spPr bwMode="auto">
              <a:xfrm>
                <a:off x="6778625" y="-3211513"/>
                <a:ext cx="2193925" cy="2320925"/>
              </a:xfrm>
              <a:custGeom>
                <a:avLst/>
                <a:gdLst>
                  <a:gd name="T0" fmla="*/ 2147483646 w 585"/>
                  <a:gd name="T1" fmla="*/ 2147483646 h 619"/>
                  <a:gd name="T2" fmla="*/ 2147483646 w 585"/>
                  <a:gd name="T3" fmla="*/ 2147483646 h 619"/>
                  <a:gd name="T4" fmla="*/ 2147483646 w 585"/>
                  <a:gd name="T5" fmla="*/ 2147483646 h 619"/>
                  <a:gd name="T6" fmla="*/ 2147483646 w 585"/>
                  <a:gd name="T7" fmla="*/ 2147483646 h 619"/>
                  <a:gd name="T8" fmla="*/ 2147483646 w 585"/>
                  <a:gd name="T9" fmla="*/ 0 h 619"/>
                  <a:gd name="T10" fmla="*/ 2147483646 w 585"/>
                  <a:gd name="T11" fmla="*/ 2147483646 h 619"/>
                  <a:gd name="T12" fmla="*/ 2147483646 w 585"/>
                  <a:gd name="T13" fmla="*/ 2147483646 h 619"/>
                  <a:gd name="T14" fmla="*/ 0 w 585"/>
                  <a:gd name="T15" fmla="*/ 2147483646 h 619"/>
                  <a:gd name="T16" fmla="*/ 2147483646 w 585"/>
                  <a:gd name="T17" fmla="*/ 2147483646 h 619"/>
                  <a:gd name="T18" fmla="*/ 2147483646 w 585"/>
                  <a:gd name="T19" fmla="*/ 2147483646 h 619"/>
                  <a:gd name="T20" fmla="*/ 2147483646 w 585"/>
                  <a:gd name="T21" fmla="*/ 2147483646 h 619"/>
                  <a:gd name="T22" fmla="*/ 2147483646 w 585"/>
                  <a:gd name="T23" fmla="*/ 2147483646 h 619"/>
                  <a:gd name="T24" fmla="*/ 2147483646 w 585"/>
                  <a:gd name="T25" fmla="*/ 2147483646 h 619"/>
                  <a:gd name="T26" fmla="*/ 2147483646 w 585"/>
                  <a:gd name="T27" fmla="*/ 2147483646 h 61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85" h="619">
                    <a:moveTo>
                      <a:pt x="585" y="556"/>
                    </a:moveTo>
                    <a:cubicBezTo>
                      <a:pt x="585" y="166"/>
                      <a:pt x="585" y="166"/>
                      <a:pt x="585" y="166"/>
                    </a:cubicBezTo>
                    <a:cubicBezTo>
                      <a:pt x="426" y="7"/>
                      <a:pt x="426" y="7"/>
                      <a:pt x="426" y="7"/>
                    </a:cubicBezTo>
                    <a:cubicBezTo>
                      <a:pt x="380" y="99"/>
                      <a:pt x="380" y="99"/>
                      <a:pt x="380" y="99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06" y="136"/>
                      <a:pt x="206" y="136"/>
                      <a:pt x="206" y="136"/>
                    </a:cubicBezTo>
                    <a:cubicBezTo>
                      <a:pt x="204" y="135"/>
                      <a:pt x="204" y="135"/>
                      <a:pt x="204" y="135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87" y="382"/>
                      <a:pt x="187" y="382"/>
                      <a:pt x="187" y="382"/>
                    </a:cubicBezTo>
                    <a:cubicBezTo>
                      <a:pt x="181" y="503"/>
                      <a:pt x="181" y="503"/>
                      <a:pt x="181" y="503"/>
                    </a:cubicBezTo>
                    <a:cubicBezTo>
                      <a:pt x="148" y="515"/>
                      <a:pt x="148" y="515"/>
                      <a:pt x="148" y="515"/>
                    </a:cubicBezTo>
                    <a:cubicBezTo>
                      <a:pt x="251" y="619"/>
                      <a:pt x="251" y="619"/>
                      <a:pt x="251" y="619"/>
                    </a:cubicBezTo>
                    <a:cubicBezTo>
                      <a:pt x="523" y="619"/>
                      <a:pt x="523" y="619"/>
                      <a:pt x="523" y="619"/>
                    </a:cubicBezTo>
                    <a:cubicBezTo>
                      <a:pt x="557" y="619"/>
                      <a:pt x="585" y="591"/>
                      <a:pt x="585" y="556"/>
                    </a:cubicBez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4592" name="组合 7215"/>
              <p:cNvGrpSpPr/>
              <p:nvPr/>
            </p:nvGrpSpPr>
            <p:grpSpPr bwMode="auto">
              <a:xfrm>
                <a:off x="6767513" y="-3214688"/>
                <a:ext cx="1676400" cy="1971675"/>
                <a:chOff x="6767513" y="-3214688"/>
                <a:chExt cx="1676400" cy="1971675"/>
              </a:xfrm>
            </p:grpSpPr>
            <p:sp>
              <p:nvSpPr>
                <p:cNvPr id="24593" name="Freeform 88"/>
                <p:cNvSpPr>
                  <a:spLocks noEditPoints="1"/>
                </p:cNvSpPr>
                <p:nvPr/>
              </p:nvSpPr>
              <p:spPr bwMode="auto">
                <a:xfrm>
                  <a:off x="7697788" y="-3192463"/>
                  <a:ext cx="746125" cy="1214438"/>
                </a:xfrm>
                <a:custGeom>
                  <a:avLst/>
                  <a:gdLst>
                    <a:gd name="T0" fmla="*/ 2147483646 w 199"/>
                    <a:gd name="T1" fmla="*/ 2147483646 h 324"/>
                    <a:gd name="T2" fmla="*/ 2147483646 w 199"/>
                    <a:gd name="T3" fmla="*/ 2147483646 h 324"/>
                    <a:gd name="T4" fmla="*/ 2147483646 w 199"/>
                    <a:gd name="T5" fmla="*/ 0 h 324"/>
                    <a:gd name="T6" fmla="*/ 2147483646 w 199"/>
                    <a:gd name="T7" fmla="*/ 2147483646 h 324"/>
                    <a:gd name="T8" fmla="*/ 2147483646 w 199"/>
                    <a:gd name="T9" fmla="*/ 2147483646 h 324"/>
                    <a:gd name="T10" fmla="*/ 0 w 199"/>
                    <a:gd name="T11" fmla="*/ 2147483646 h 324"/>
                    <a:gd name="T12" fmla="*/ 2147483646 w 199"/>
                    <a:gd name="T13" fmla="*/ 2147483646 h 324"/>
                    <a:gd name="T14" fmla="*/ 2147483646 w 199"/>
                    <a:gd name="T15" fmla="*/ 2147483646 h 324"/>
                    <a:gd name="T16" fmla="*/ 2147483646 w 199"/>
                    <a:gd name="T17" fmla="*/ 2147483646 h 324"/>
                    <a:gd name="T18" fmla="*/ 2147483646 w 199"/>
                    <a:gd name="T19" fmla="*/ 2147483646 h 324"/>
                    <a:gd name="T20" fmla="*/ 2147483646 w 199"/>
                    <a:gd name="T21" fmla="*/ 2147483646 h 324"/>
                    <a:gd name="T22" fmla="*/ 2147483646 w 199"/>
                    <a:gd name="T23" fmla="*/ 2147483646 h 324"/>
                    <a:gd name="T24" fmla="*/ 2147483646 w 199"/>
                    <a:gd name="T25" fmla="*/ 2147483646 h 324"/>
                    <a:gd name="T26" fmla="*/ 2147483646 w 199"/>
                    <a:gd name="T27" fmla="*/ 2147483646 h 324"/>
                    <a:gd name="T28" fmla="*/ 2147483646 w 199"/>
                    <a:gd name="T29" fmla="*/ 2147483646 h 324"/>
                    <a:gd name="T30" fmla="*/ 2147483646 w 199"/>
                    <a:gd name="T31" fmla="*/ 2147483646 h 32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99" h="324">
                      <a:moveTo>
                        <a:pt x="137" y="164"/>
                      </a:moveTo>
                      <a:cubicBezTo>
                        <a:pt x="183" y="1"/>
                        <a:pt x="183" y="1"/>
                        <a:pt x="183" y="1"/>
                      </a:cubicBezTo>
                      <a:cubicBezTo>
                        <a:pt x="181" y="0"/>
                        <a:pt x="181" y="0"/>
                        <a:pt x="181" y="0"/>
                      </a:cubicBezTo>
                      <a:cubicBezTo>
                        <a:pt x="75" y="134"/>
                        <a:pt x="75" y="134"/>
                        <a:pt x="75" y="134"/>
                      </a:cubicBezTo>
                      <a:cubicBezTo>
                        <a:pt x="3" y="156"/>
                        <a:pt x="3" y="156"/>
                        <a:pt x="3" y="156"/>
                      </a:cubicBezTo>
                      <a:cubicBezTo>
                        <a:pt x="1" y="161"/>
                        <a:pt x="1" y="164"/>
                        <a:pt x="0" y="165"/>
                      </a:cubicBezTo>
                      <a:cubicBezTo>
                        <a:pt x="1" y="167"/>
                        <a:pt x="6" y="179"/>
                        <a:pt x="13" y="196"/>
                      </a:cubicBezTo>
                      <a:cubicBezTo>
                        <a:pt x="79" y="203"/>
                        <a:pt x="79" y="203"/>
                        <a:pt x="79" y="203"/>
                      </a:cubicBezTo>
                      <a:cubicBezTo>
                        <a:pt x="197" y="324"/>
                        <a:pt x="197" y="324"/>
                        <a:pt x="197" y="324"/>
                      </a:cubicBezTo>
                      <a:cubicBezTo>
                        <a:pt x="199" y="323"/>
                        <a:pt x="199" y="323"/>
                        <a:pt x="199" y="323"/>
                      </a:cubicBezTo>
                      <a:lnTo>
                        <a:pt x="137" y="164"/>
                      </a:lnTo>
                      <a:close/>
                      <a:moveTo>
                        <a:pt x="77" y="177"/>
                      </a:moveTo>
                      <a:cubicBezTo>
                        <a:pt x="72" y="166"/>
                        <a:pt x="77" y="152"/>
                        <a:pt x="88" y="147"/>
                      </a:cubicBezTo>
                      <a:cubicBezTo>
                        <a:pt x="99" y="142"/>
                        <a:pt x="113" y="147"/>
                        <a:pt x="118" y="158"/>
                      </a:cubicBezTo>
                      <a:cubicBezTo>
                        <a:pt x="123" y="170"/>
                        <a:pt x="118" y="183"/>
                        <a:pt x="107" y="188"/>
                      </a:cubicBezTo>
                      <a:cubicBezTo>
                        <a:pt x="95" y="194"/>
                        <a:pt x="82" y="189"/>
                        <a:pt x="77" y="1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594" name="Freeform 89"/>
                <p:cNvSpPr/>
                <p:nvPr/>
              </p:nvSpPr>
              <p:spPr bwMode="auto">
                <a:xfrm>
                  <a:off x="7907338" y="-2363788"/>
                  <a:ext cx="333375" cy="1095375"/>
                </a:xfrm>
                <a:custGeom>
                  <a:avLst/>
                  <a:gdLst>
                    <a:gd name="T0" fmla="*/ 2147483646 w 89"/>
                    <a:gd name="T1" fmla="*/ 2147483646 h 292"/>
                    <a:gd name="T2" fmla="*/ 2147483646 w 89"/>
                    <a:gd name="T3" fmla="*/ 2147483646 h 292"/>
                    <a:gd name="T4" fmla="*/ 2147483646 w 89"/>
                    <a:gd name="T5" fmla="*/ 0 h 292"/>
                    <a:gd name="T6" fmla="*/ 2147483646 w 89"/>
                    <a:gd name="T7" fmla="*/ 2147483646 h 292"/>
                    <a:gd name="T8" fmla="*/ 0 w 89"/>
                    <a:gd name="T9" fmla="*/ 2147483646 h 292"/>
                    <a:gd name="T10" fmla="*/ 0 w 89"/>
                    <a:gd name="T11" fmla="*/ 2147483646 h 292"/>
                    <a:gd name="T12" fmla="*/ 2147483646 w 89"/>
                    <a:gd name="T13" fmla="*/ 2147483646 h 292"/>
                    <a:gd name="T14" fmla="*/ 2147483646 w 89"/>
                    <a:gd name="T15" fmla="*/ 2147483646 h 292"/>
                    <a:gd name="T16" fmla="*/ 2147483646 w 89"/>
                    <a:gd name="T17" fmla="*/ 2147483646 h 292"/>
                    <a:gd name="T18" fmla="*/ 2147483646 w 89"/>
                    <a:gd name="T19" fmla="*/ 2147483646 h 29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89" h="292">
                      <a:moveTo>
                        <a:pt x="65" y="264"/>
                      </a:move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1" y="264"/>
                        <a:pt x="21" y="264"/>
                        <a:pt x="21" y="264"/>
                      </a:cubicBezTo>
                      <a:cubicBezTo>
                        <a:pt x="8" y="266"/>
                        <a:pt x="0" y="268"/>
                        <a:pt x="0" y="271"/>
                      </a:cubicBezTo>
                      <a:cubicBezTo>
                        <a:pt x="0" y="285"/>
                        <a:pt x="0" y="285"/>
                        <a:pt x="0" y="285"/>
                      </a:cubicBezTo>
                      <a:cubicBezTo>
                        <a:pt x="0" y="289"/>
                        <a:pt x="20" y="292"/>
                        <a:pt x="44" y="292"/>
                      </a:cubicBezTo>
                      <a:cubicBezTo>
                        <a:pt x="69" y="292"/>
                        <a:pt x="89" y="289"/>
                        <a:pt x="89" y="285"/>
                      </a:cubicBezTo>
                      <a:cubicBezTo>
                        <a:pt x="89" y="271"/>
                        <a:pt x="89" y="271"/>
                        <a:pt x="89" y="271"/>
                      </a:cubicBezTo>
                      <a:cubicBezTo>
                        <a:pt x="89" y="268"/>
                        <a:pt x="79" y="266"/>
                        <a:pt x="65" y="2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595" name="Freeform 90"/>
                <p:cNvSpPr/>
                <p:nvPr/>
              </p:nvSpPr>
              <p:spPr bwMode="auto">
                <a:xfrm>
                  <a:off x="7332663" y="-2322513"/>
                  <a:ext cx="349250" cy="1079500"/>
                </a:xfrm>
                <a:custGeom>
                  <a:avLst/>
                  <a:gdLst>
                    <a:gd name="T0" fmla="*/ 2147483646 w 93"/>
                    <a:gd name="T1" fmla="*/ 2147483646 h 288"/>
                    <a:gd name="T2" fmla="*/ 2147483646 w 93"/>
                    <a:gd name="T3" fmla="*/ 2147483646 h 288"/>
                    <a:gd name="T4" fmla="*/ 2147483646 w 93"/>
                    <a:gd name="T5" fmla="*/ 0 h 288"/>
                    <a:gd name="T6" fmla="*/ 2147483646 w 93"/>
                    <a:gd name="T7" fmla="*/ 2147483646 h 288"/>
                    <a:gd name="T8" fmla="*/ 0 w 93"/>
                    <a:gd name="T9" fmla="*/ 2147483646 h 288"/>
                    <a:gd name="T10" fmla="*/ 0 w 93"/>
                    <a:gd name="T11" fmla="*/ 2147483646 h 288"/>
                    <a:gd name="T12" fmla="*/ 2147483646 w 93"/>
                    <a:gd name="T13" fmla="*/ 2147483646 h 288"/>
                    <a:gd name="T14" fmla="*/ 2147483646 w 93"/>
                    <a:gd name="T15" fmla="*/ 2147483646 h 288"/>
                    <a:gd name="T16" fmla="*/ 2147483646 w 93"/>
                    <a:gd name="T17" fmla="*/ 2147483646 h 288"/>
                    <a:gd name="T18" fmla="*/ 2147483646 w 93"/>
                    <a:gd name="T19" fmla="*/ 2147483646 h 28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93" h="288">
                      <a:moveTo>
                        <a:pt x="69" y="259"/>
                      </a:moveTo>
                      <a:cubicBezTo>
                        <a:pt x="58" y="25"/>
                        <a:pt x="58" y="25"/>
                        <a:pt x="58" y="25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2" y="260"/>
                        <a:pt x="22" y="260"/>
                        <a:pt x="22" y="260"/>
                      </a:cubicBezTo>
                      <a:cubicBezTo>
                        <a:pt x="9" y="261"/>
                        <a:pt x="0" y="264"/>
                        <a:pt x="0" y="266"/>
                      </a:cubicBezTo>
                      <a:cubicBezTo>
                        <a:pt x="0" y="280"/>
                        <a:pt x="0" y="280"/>
                        <a:pt x="0" y="280"/>
                      </a:cubicBezTo>
                      <a:cubicBezTo>
                        <a:pt x="0" y="284"/>
                        <a:pt x="21" y="288"/>
                        <a:pt x="47" y="288"/>
                      </a:cubicBezTo>
                      <a:cubicBezTo>
                        <a:pt x="72" y="288"/>
                        <a:pt x="93" y="284"/>
                        <a:pt x="93" y="280"/>
                      </a:cubicBezTo>
                      <a:cubicBezTo>
                        <a:pt x="93" y="266"/>
                        <a:pt x="93" y="266"/>
                        <a:pt x="93" y="266"/>
                      </a:cubicBezTo>
                      <a:cubicBezTo>
                        <a:pt x="93" y="263"/>
                        <a:pt x="83" y="261"/>
                        <a:pt x="69" y="2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596" name="Freeform 91"/>
                <p:cNvSpPr>
                  <a:spLocks noEditPoints="1"/>
                </p:cNvSpPr>
                <p:nvPr/>
              </p:nvSpPr>
              <p:spPr bwMode="auto">
                <a:xfrm>
                  <a:off x="6767513" y="-3214688"/>
                  <a:ext cx="1128713" cy="1271588"/>
                </a:xfrm>
                <a:custGeom>
                  <a:avLst/>
                  <a:gdLst>
                    <a:gd name="T0" fmla="*/ 2147483646 w 301"/>
                    <a:gd name="T1" fmla="*/ 2147483646 h 339"/>
                    <a:gd name="T2" fmla="*/ 2147483646 w 301"/>
                    <a:gd name="T3" fmla="*/ 2147483646 h 339"/>
                    <a:gd name="T4" fmla="*/ 2147483646 w 301"/>
                    <a:gd name="T5" fmla="*/ 0 h 339"/>
                    <a:gd name="T6" fmla="*/ 2147483646 w 301"/>
                    <a:gd name="T7" fmla="*/ 2147483646 h 339"/>
                    <a:gd name="T8" fmla="*/ 0 w 301"/>
                    <a:gd name="T9" fmla="*/ 2147483646 h 339"/>
                    <a:gd name="T10" fmla="*/ 0 w 301"/>
                    <a:gd name="T11" fmla="*/ 2147483646 h 339"/>
                    <a:gd name="T12" fmla="*/ 2147483646 w 301"/>
                    <a:gd name="T13" fmla="*/ 2147483646 h 339"/>
                    <a:gd name="T14" fmla="*/ 2147483646 w 301"/>
                    <a:gd name="T15" fmla="*/ 2147483646 h 339"/>
                    <a:gd name="T16" fmla="*/ 2147483646 w 301"/>
                    <a:gd name="T17" fmla="*/ 2147483646 h 339"/>
                    <a:gd name="T18" fmla="*/ 2147483646 w 301"/>
                    <a:gd name="T19" fmla="*/ 2147483646 h 339"/>
                    <a:gd name="T20" fmla="*/ 2147483646 w 301"/>
                    <a:gd name="T21" fmla="*/ 2147483646 h 339"/>
                    <a:gd name="T22" fmla="*/ 2147483646 w 301"/>
                    <a:gd name="T23" fmla="*/ 2147483646 h 339"/>
                    <a:gd name="T24" fmla="*/ 2147483646 w 301"/>
                    <a:gd name="T25" fmla="*/ 2147483646 h 339"/>
                    <a:gd name="T26" fmla="*/ 2147483646 w 301"/>
                    <a:gd name="T27" fmla="*/ 2147483646 h 339"/>
                    <a:gd name="T28" fmla="*/ 2147483646 w 301"/>
                    <a:gd name="T29" fmla="*/ 2147483646 h 33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01" h="339">
                      <a:moveTo>
                        <a:pt x="236" y="172"/>
                      </a:moveTo>
                      <a:cubicBezTo>
                        <a:pt x="284" y="1"/>
                        <a:pt x="284" y="1"/>
                        <a:pt x="284" y="1"/>
                      </a:cubicBezTo>
                      <a:cubicBezTo>
                        <a:pt x="282" y="0"/>
                        <a:pt x="282" y="0"/>
                        <a:pt x="282" y="0"/>
                      </a:cubicBezTo>
                      <a:cubicBezTo>
                        <a:pt x="171" y="140"/>
                        <a:pt x="171" y="140"/>
                        <a:pt x="171" y="140"/>
                      </a:cubicBezTo>
                      <a:cubicBezTo>
                        <a:pt x="0" y="193"/>
                        <a:pt x="0" y="193"/>
                        <a:pt x="0" y="193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176" y="212"/>
                        <a:pt x="176" y="212"/>
                        <a:pt x="176" y="212"/>
                      </a:cubicBezTo>
                      <a:cubicBezTo>
                        <a:pt x="299" y="339"/>
                        <a:pt x="299" y="339"/>
                        <a:pt x="299" y="339"/>
                      </a:cubicBezTo>
                      <a:cubicBezTo>
                        <a:pt x="301" y="338"/>
                        <a:pt x="301" y="338"/>
                        <a:pt x="301" y="338"/>
                      </a:cubicBezTo>
                      <a:lnTo>
                        <a:pt x="236" y="172"/>
                      </a:lnTo>
                      <a:close/>
                      <a:moveTo>
                        <a:pt x="205" y="197"/>
                      </a:moveTo>
                      <a:cubicBezTo>
                        <a:pt x="193" y="202"/>
                        <a:pt x="179" y="197"/>
                        <a:pt x="173" y="185"/>
                      </a:cubicBezTo>
                      <a:cubicBezTo>
                        <a:pt x="168" y="173"/>
                        <a:pt x="173" y="159"/>
                        <a:pt x="185" y="154"/>
                      </a:cubicBezTo>
                      <a:cubicBezTo>
                        <a:pt x="197" y="148"/>
                        <a:pt x="211" y="154"/>
                        <a:pt x="217" y="165"/>
                      </a:cubicBezTo>
                      <a:cubicBezTo>
                        <a:pt x="222" y="177"/>
                        <a:pt x="217" y="192"/>
                        <a:pt x="205" y="1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24587" name="组合 220"/>
            <p:cNvGrpSpPr/>
            <p:nvPr/>
          </p:nvGrpSpPr>
          <p:grpSpPr bwMode="auto">
            <a:xfrm>
              <a:off x="7683067" y="2249045"/>
              <a:ext cx="81805" cy="103030"/>
              <a:chOff x="6290395" y="3592630"/>
              <a:chExt cx="87725" cy="124510"/>
            </a:xfrm>
          </p:grpSpPr>
          <p:sp>
            <p:nvSpPr>
              <p:cNvPr id="222" name="燕尾形 221"/>
              <p:cNvSpPr/>
              <p:nvPr/>
            </p:nvSpPr>
            <p:spPr>
              <a:xfrm rot="16200000">
                <a:off x="6296613" y="3587427"/>
                <a:ext cx="74863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燕尾形 222"/>
              <p:cNvSpPr/>
              <p:nvPr/>
            </p:nvSpPr>
            <p:spPr>
              <a:xfrm rot="16200000">
                <a:off x="6296612" y="3635417"/>
                <a:ext cx="74864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57"/>
          <p:cNvSpPr txBox="1">
            <a:spLocks noChangeArrowheads="1"/>
          </p:cNvSpPr>
          <p:nvPr/>
        </p:nvSpPr>
        <p:spPr bwMode="auto">
          <a:xfrm>
            <a:off x="2178050" y="2420938"/>
            <a:ext cx="306388" cy="74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34290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68580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02870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37160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18288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2860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27432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2004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90000"/>
              </a:lnSpc>
              <a:buSzPct val="90000"/>
              <a:buFontTx/>
              <a:buNone/>
            </a:pPr>
            <a:r>
              <a:rPr lang="en-US" altLang="zh-CN" sz="5400" b="1">
                <a:solidFill>
                  <a:srgbClr val="266678"/>
                </a:solidFill>
              </a:rPr>
              <a:t>+</a:t>
            </a:r>
            <a:endParaRPr lang="en-US" altLang="zh-CN" sz="5400" b="1">
              <a:solidFill>
                <a:srgbClr val="266678"/>
              </a:solidFill>
            </a:endParaRPr>
          </a:p>
        </p:txBody>
      </p:sp>
      <p:sp>
        <p:nvSpPr>
          <p:cNvPr id="10" name="TextBox 43"/>
          <p:cNvSpPr txBox="1">
            <a:spLocks noChangeArrowheads="1"/>
          </p:cNvSpPr>
          <p:nvPr/>
        </p:nvSpPr>
        <p:spPr bwMode="auto">
          <a:xfrm>
            <a:off x="6627813" y="2419350"/>
            <a:ext cx="306387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90000"/>
              </a:lnSpc>
              <a:buSzPct val="90000"/>
              <a:buFontTx/>
              <a:buNone/>
            </a:pPr>
            <a:r>
              <a:rPr lang="en-US" altLang="zh-CN" sz="5400" b="1">
                <a:solidFill>
                  <a:srgbClr val="266678"/>
                </a:solidFill>
              </a:rPr>
              <a:t>=</a:t>
            </a:r>
            <a:endParaRPr lang="en-US" altLang="zh-CN" sz="5400" b="1">
              <a:solidFill>
                <a:srgbClr val="266678"/>
              </a:solidFill>
            </a:endParaRPr>
          </a:p>
        </p:txBody>
      </p:sp>
      <p:sp>
        <p:nvSpPr>
          <p:cNvPr id="27" name="TextBox 57"/>
          <p:cNvSpPr txBox="1">
            <a:spLocks noChangeArrowheads="1"/>
          </p:cNvSpPr>
          <p:nvPr/>
        </p:nvSpPr>
        <p:spPr bwMode="auto">
          <a:xfrm>
            <a:off x="4414838" y="2419350"/>
            <a:ext cx="306387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34290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68580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02870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37160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18288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2860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27432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2004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90000"/>
              </a:lnSpc>
              <a:buSzPct val="90000"/>
              <a:buFontTx/>
              <a:buNone/>
            </a:pPr>
            <a:r>
              <a:rPr lang="en-US" altLang="zh-CN" sz="5400" b="1">
                <a:solidFill>
                  <a:srgbClr val="266678"/>
                </a:solidFill>
              </a:rPr>
              <a:t>+</a:t>
            </a:r>
            <a:endParaRPr lang="en-US" altLang="zh-CN" sz="5400" b="1">
              <a:solidFill>
                <a:srgbClr val="266678"/>
              </a:solidFill>
            </a:endParaRPr>
          </a:p>
        </p:txBody>
      </p:sp>
      <p:grpSp>
        <p:nvGrpSpPr>
          <p:cNvPr id="25605" name="组合 77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80" name="矩形 79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1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5672" name="组合 81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83" name="矩形 82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5674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75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25606" name="AutoShape 4"/>
          <p:cNvSpPr>
            <a:spLocks noChangeAspect="1" noChangeArrowheads="1" noTextEdit="1"/>
          </p:cNvSpPr>
          <p:nvPr/>
        </p:nvSpPr>
        <p:spPr bwMode="auto">
          <a:xfrm>
            <a:off x="11772900" y="917575"/>
            <a:ext cx="495300" cy="181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31" name="组合 30"/>
          <p:cNvGrpSpPr/>
          <p:nvPr/>
        </p:nvGrpSpPr>
        <p:grpSpPr bwMode="auto">
          <a:xfrm>
            <a:off x="7013575" y="1866900"/>
            <a:ext cx="1784350" cy="1784350"/>
            <a:chOff x="7013466" y="1866746"/>
            <a:chExt cx="1785124" cy="1785124"/>
          </a:xfrm>
        </p:grpSpPr>
        <p:sp>
          <p:nvSpPr>
            <p:cNvPr id="16" name="Rectangle 10"/>
            <p:cNvSpPr>
              <a:spLocks noChangeAspect="1"/>
            </p:cNvSpPr>
            <p:nvPr/>
          </p:nvSpPr>
          <p:spPr bwMode="auto">
            <a:xfrm>
              <a:off x="7013466" y="1866746"/>
              <a:ext cx="1785124" cy="1785124"/>
            </a:xfrm>
            <a:prstGeom prst="rect">
              <a:avLst/>
            </a:prstGeom>
            <a:noFill/>
            <a:ln w="57150">
              <a:solidFill>
                <a:srgbClr val="32879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34281" tIns="34281" rIns="34281" bIns="34281" anchor="b"/>
            <a:lstStyle>
              <a:lvl1pPr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342900" indent="-285750" defTabSz="68580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685800" indent="-22860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028700" indent="-228600" defTabSz="6858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1371600" indent="-228600" defTabSz="6858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1828800" indent="-228600" defTabSz="685800" fontAlgn="base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286000" indent="-228600" defTabSz="685800" fontAlgn="base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2743200" indent="-228600" defTabSz="685800" fontAlgn="base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200400" indent="-228600" defTabSz="685800" fontAlgn="base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en-US" altLang="zh-CN" sz="900" b="1" smtClean="0">
                <a:solidFill>
                  <a:srgbClr val="FFFFFF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25662" name="TextBox 76"/>
            <p:cNvSpPr txBox="1">
              <a:spLocks noChangeArrowheads="1"/>
            </p:cNvSpPr>
            <p:nvPr/>
          </p:nvSpPr>
          <p:spPr bwMode="auto">
            <a:xfrm>
              <a:off x="7164288" y="2715766"/>
              <a:ext cx="1507144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2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意进取 </a:t>
              </a:r>
              <a:endParaRPr lang="en-US" altLang="zh-CN" sz="2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2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普及精品</a:t>
              </a:r>
              <a:endParaRPr lang="zh-CN" altLang="en-US" sz="2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5663" name="组合 157"/>
            <p:cNvGrpSpPr/>
            <p:nvPr/>
          </p:nvGrpSpPr>
          <p:grpSpPr bwMode="auto">
            <a:xfrm>
              <a:off x="7524328" y="1958202"/>
              <a:ext cx="676290" cy="676290"/>
              <a:chOff x="-2628800" y="7324491"/>
              <a:chExt cx="2122488" cy="2122488"/>
            </a:xfrm>
          </p:grpSpPr>
          <p:sp>
            <p:nvSpPr>
              <p:cNvPr id="159" name="Freeform 208"/>
              <p:cNvSpPr/>
              <p:nvPr/>
            </p:nvSpPr>
            <p:spPr bwMode="auto">
              <a:xfrm>
                <a:off x="-2627120" y="7326560"/>
                <a:ext cx="2118378" cy="2118378"/>
              </a:xfrm>
              <a:custGeom>
                <a:avLst/>
                <a:gdLst>
                  <a:gd name="T0" fmla="*/ 566 w 566"/>
                  <a:gd name="T1" fmla="*/ 283 h 566"/>
                  <a:gd name="T2" fmla="*/ 566 w 566"/>
                  <a:gd name="T3" fmla="*/ 298 h 566"/>
                  <a:gd name="T4" fmla="*/ 408 w 566"/>
                  <a:gd name="T5" fmla="*/ 537 h 566"/>
                  <a:gd name="T6" fmla="*/ 283 w 566"/>
                  <a:gd name="T7" fmla="*/ 566 h 566"/>
                  <a:gd name="T8" fmla="*/ 0 w 566"/>
                  <a:gd name="T9" fmla="*/ 283 h 566"/>
                  <a:gd name="T10" fmla="*/ 283 w 566"/>
                  <a:gd name="T11" fmla="*/ 0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288"/>
                      <a:pt x="566" y="293"/>
                      <a:pt x="566" y="298"/>
                    </a:cubicBezTo>
                    <a:cubicBezTo>
                      <a:pt x="561" y="403"/>
                      <a:pt x="498" y="493"/>
                      <a:pt x="408" y="537"/>
                    </a:cubicBezTo>
                    <a:cubicBezTo>
                      <a:pt x="370" y="556"/>
                      <a:pt x="328" y="566"/>
                      <a:pt x="283" y="566"/>
                    </a:cubicBezTo>
                    <a:cubicBezTo>
                      <a:pt x="127" y="566"/>
                      <a:pt x="0" y="440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40" y="0"/>
                      <a:pt x="566" y="127"/>
                      <a:pt x="566" y="283"/>
                    </a:cubicBezTo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665" name="Freeform 209"/>
              <p:cNvSpPr/>
              <p:nvPr/>
            </p:nvSpPr>
            <p:spPr bwMode="auto">
              <a:xfrm>
                <a:off x="-1927125" y="7929329"/>
                <a:ext cx="1420813" cy="1409700"/>
              </a:xfrm>
              <a:custGeom>
                <a:avLst/>
                <a:gdLst>
                  <a:gd name="T0" fmla="*/ 2147483646 w 379"/>
                  <a:gd name="T1" fmla="*/ 0 h 376"/>
                  <a:gd name="T2" fmla="*/ 2147483646 w 379"/>
                  <a:gd name="T3" fmla="*/ 2147483646 h 376"/>
                  <a:gd name="T4" fmla="*/ 2147483646 w 379"/>
                  <a:gd name="T5" fmla="*/ 2147483646 h 376"/>
                  <a:gd name="T6" fmla="*/ 2147483646 w 379"/>
                  <a:gd name="T7" fmla="*/ 2147483646 h 376"/>
                  <a:gd name="T8" fmla="*/ 0 w 379"/>
                  <a:gd name="T9" fmla="*/ 2147483646 h 376"/>
                  <a:gd name="T10" fmla="*/ 0 w 379"/>
                  <a:gd name="T11" fmla="*/ 2147483646 h 376"/>
                  <a:gd name="T12" fmla="*/ 2147483646 w 379"/>
                  <a:gd name="T13" fmla="*/ 2147483646 h 376"/>
                  <a:gd name="T14" fmla="*/ 2147483646 w 379"/>
                  <a:gd name="T15" fmla="*/ 2147483646 h 376"/>
                  <a:gd name="T16" fmla="*/ 2147483646 w 379"/>
                  <a:gd name="T17" fmla="*/ 2147483646 h 376"/>
                  <a:gd name="T18" fmla="*/ 2147483646 w 379"/>
                  <a:gd name="T19" fmla="*/ 2147483646 h 376"/>
                  <a:gd name="T20" fmla="*/ 2147483646 w 379"/>
                  <a:gd name="T21" fmla="*/ 2147483646 h 376"/>
                  <a:gd name="T22" fmla="*/ 2147483646 w 379"/>
                  <a:gd name="T23" fmla="*/ 2147483646 h 376"/>
                  <a:gd name="T24" fmla="*/ 2147483646 w 379"/>
                  <a:gd name="T25" fmla="*/ 2147483646 h 376"/>
                  <a:gd name="T26" fmla="*/ 2147483646 w 379"/>
                  <a:gd name="T27" fmla="*/ 2147483646 h 376"/>
                  <a:gd name="T28" fmla="*/ 2147483646 w 379"/>
                  <a:gd name="T29" fmla="*/ 2147483646 h 376"/>
                  <a:gd name="T30" fmla="*/ 2147483646 w 379"/>
                  <a:gd name="T31" fmla="*/ 2147483646 h 376"/>
                  <a:gd name="T32" fmla="*/ 2147483646 w 379"/>
                  <a:gd name="T33" fmla="*/ 2147483646 h 376"/>
                  <a:gd name="T34" fmla="*/ 2147483646 w 379"/>
                  <a:gd name="T35" fmla="*/ 2147483646 h 376"/>
                  <a:gd name="T36" fmla="*/ 2147483646 w 379"/>
                  <a:gd name="T37" fmla="*/ 2147483646 h 376"/>
                  <a:gd name="T38" fmla="*/ 2147483646 w 379"/>
                  <a:gd name="T39" fmla="*/ 2147483646 h 376"/>
                  <a:gd name="T40" fmla="*/ 2147483646 w 379"/>
                  <a:gd name="T41" fmla="*/ 2147483646 h 376"/>
                  <a:gd name="T42" fmla="*/ 2147483646 w 379"/>
                  <a:gd name="T43" fmla="*/ 0 h 3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79" h="376">
                    <a:moveTo>
                      <a:pt x="142" y="0"/>
                    </a:moveTo>
                    <a:cubicBezTo>
                      <a:pt x="160" y="13"/>
                      <a:pt x="172" y="35"/>
                      <a:pt x="172" y="59"/>
                    </a:cubicBezTo>
                    <a:cubicBezTo>
                      <a:pt x="172" y="99"/>
                      <a:pt x="140" y="132"/>
                      <a:pt x="100" y="132"/>
                    </a:cubicBezTo>
                    <a:cubicBezTo>
                      <a:pt x="61" y="132"/>
                      <a:pt x="30" y="102"/>
                      <a:pt x="27" y="6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4" y="51"/>
                      <a:pt x="6" y="55"/>
                      <a:pt x="6" y="59"/>
                    </a:cubicBezTo>
                    <a:cubicBezTo>
                      <a:pt x="6" y="111"/>
                      <a:pt x="48" y="153"/>
                      <a:pt x="100" y="153"/>
                    </a:cubicBezTo>
                    <a:cubicBezTo>
                      <a:pt x="151" y="153"/>
                      <a:pt x="193" y="111"/>
                      <a:pt x="193" y="59"/>
                    </a:cubicBezTo>
                    <a:cubicBezTo>
                      <a:pt x="193" y="52"/>
                      <a:pt x="199" y="47"/>
                      <a:pt x="206" y="47"/>
                    </a:cubicBezTo>
                    <a:cubicBezTo>
                      <a:pt x="213" y="47"/>
                      <a:pt x="218" y="52"/>
                      <a:pt x="218" y="59"/>
                    </a:cubicBezTo>
                    <a:cubicBezTo>
                      <a:pt x="218" y="125"/>
                      <a:pt x="165" y="178"/>
                      <a:pt x="100" y="178"/>
                    </a:cubicBezTo>
                    <a:cubicBezTo>
                      <a:pt x="80" y="178"/>
                      <a:pt x="60" y="173"/>
                      <a:pt x="44" y="164"/>
                    </a:cubicBezTo>
                    <a:cubicBezTo>
                      <a:pt x="88" y="191"/>
                      <a:pt x="88" y="191"/>
                      <a:pt x="88" y="191"/>
                    </a:cubicBezTo>
                    <a:cubicBezTo>
                      <a:pt x="90" y="186"/>
                      <a:pt x="95" y="183"/>
                      <a:pt x="100" y="183"/>
                    </a:cubicBezTo>
                    <a:cubicBezTo>
                      <a:pt x="107" y="183"/>
                      <a:pt x="112" y="189"/>
                      <a:pt x="112" y="196"/>
                    </a:cubicBezTo>
                    <a:cubicBezTo>
                      <a:pt x="112" y="292"/>
                      <a:pt x="112" y="292"/>
                      <a:pt x="112" y="292"/>
                    </a:cubicBezTo>
                    <a:cubicBezTo>
                      <a:pt x="112" y="299"/>
                      <a:pt x="107" y="304"/>
                      <a:pt x="100" y="304"/>
                    </a:cubicBezTo>
                    <a:cubicBezTo>
                      <a:pt x="98" y="304"/>
                      <a:pt x="97" y="304"/>
                      <a:pt x="96" y="304"/>
                    </a:cubicBezTo>
                    <a:cubicBezTo>
                      <a:pt x="221" y="376"/>
                      <a:pt x="221" y="376"/>
                      <a:pt x="221" y="376"/>
                    </a:cubicBezTo>
                    <a:cubicBezTo>
                      <a:pt x="311" y="332"/>
                      <a:pt x="374" y="242"/>
                      <a:pt x="379" y="137"/>
                    </a:cubicBezTo>
                    <a:cubicBezTo>
                      <a:pt x="142" y="0"/>
                      <a:pt x="142" y="0"/>
                      <a:pt x="142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5666" name="组合 160"/>
              <p:cNvGrpSpPr/>
              <p:nvPr/>
            </p:nvGrpSpPr>
            <p:grpSpPr bwMode="auto">
              <a:xfrm>
                <a:off x="-1998563" y="7880116"/>
                <a:ext cx="889000" cy="1192213"/>
                <a:chOff x="14825663" y="-517525"/>
                <a:chExt cx="889000" cy="1192213"/>
              </a:xfrm>
            </p:grpSpPr>
            <p:sp>
              <p:nvSpPr>
                <p:cNvPr id="25667" name="Oval 210"/>
                <p:cNvSpPr>
                  <a:spLocks noChangeArrowheads="1"/>
                </p:cNvSpPr>
                <p:nvPr/>
              </p:nvSpPr>
              <p:spPr bwMode="auto">
                <a:xfrm>
                  <a:off x="14997113" y="-517525"/>
                  <a:ext cx="544513" cy="54451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668" name="Freeform 211"/>
                <p:cNvSpPr/>
                <p:nvPr/>
              </p:nvSpPr>
              <p:spPr bwMode="auto">
                <a:xfrm>
                  <a:off x="14825663" y="-292100"/>
                  <a:ext cx="889000" cy="490538"/>
                </a:xfrm>
                <a:custGeom>
                  <a:avLst/>
                  <a:gdLst>
                    <a:gd name="T0" fmla="*/ 2147483646 w 237"/>
                    <a:gd name="T1" fmla="*/ 0 h 131"/>
                    <a:gd name="T2" fmla="*/ 2147483646 w 237"/>
                    <a:gd name="T3" fmla="*/ 2147483646 h 131"/>
                    <a:gd name="T4" fmla="*/ 2147483646 w 237"/>
                    <a:gd name="T5" fmla="*/ 2147483646 h 131"/>
                    <a:gd name="T6" fmla="*/ 2147483646 w 237"/>
                    <a:gd name="T7" fmla="*/ 2147483646 h 131"/>
                    <a:gd name="T8" fmla="*/ 2147483646 w 237"/>
                    <a:gd name="T9" fmla="*/ 0 h 131"/>
                    <a:gd name="T10" fmla="*/ 0 w 237"/>
                    <a:gd name="T11" fmla="*/ 2147483646 h 131"/>
                    <a:gd name="T12" fmla="*/ 2147483646 w 237"/>
                    <a:gd name="T13" fmla="*/ 2147483646 h 131"/>
                    <a:gd name="T14" fmla="*/ 2147483646 w 237"/>
                    <a:gd name="T15" fmla="*/ 2147483646 h 131"/>
                    <a:gd name="T16" fmla="*/ 2147483646 w 237"/>
                    <a:gd name="T17" fmla="*/ 0 h 13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37" h="131">
                      <a:moveTo>
                        <a:pt x="225" y="0"/>
                      </a:moveTo>
                      <a:cubicBezTo>
                        <a:pt x="218" y="0"/>
                        <a:pt x="212" y="5"/>
                        <a:pt x="212" y="12"/>
                      </a:cubicBezTo>
                      <a:cubicBezTo>
                        <a:pt x="212" y="64"/>
                        <a:pt x="170" y="106"/>
                        <a:pt x="119" y="106"/>
                      </a:cubicBezTo>
                      <a:cubicBezTo>
                        <a:pt x="67" y="106"/>
                        <a:pt x="25" y="64"/>
                        <a:pt x="25" y="12"/>
                      </a:cubicBezTo>
                      <a:cubicBezTo>
                        <a:pt x="25" y="5"/>
                        <a:pt x="20" y="0"/>
                        <a:pt x="13" y="0"/>
                      </a:cubicBezTo>
                      <a:cubicBezTo>
                        <a:pt x="6" y="0"/>
                        <a:pt x="0" y="5"/>
                        <a:pt x="0" y="12"/>
                      </a:cubicBezTo>
                      <a:cubicBezTo>
                        <a:pt x="0" y="78"/>
                        <a:pt x="53" y="131"/>
                        <a:pt x="119" y="131"/>
                      </a:cubicBezTo>
                      <a:cubicBezTo>
                        <a:pt x="184" y="131"/>
                        <a:pt x="237" y="78"/>
                        <a:pt x="237" y="12"/>
                      </a:cubicBezTo>
                      <a:cubicBezTo>
                        <a:pt x="237" y="5"/>
                        <a:pt x="232" y="0"/>
                        <a:pt x="22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69" name="Freeform 212"/>
                <p:cNvSpPr/>
                <p:nvPr/>
              </p:nvSpPr>
              <p:spPr bwMode="auto">
                <a:xfrm>
                  <a:off x="15222538" y="217488"/>
                  <a:ext cx="93663" cy="457200"/>
                </a:xfrm>
                <a:custGeom>
                  <a:avLst/>
                  <a:gdLst>
                    <a:gd name="T0" fmla="*/ 2147483646 w 25"/>
                    <a:gd name="T1" fmla="*/ 0 h 122"/>
                    <a:gd name="T2" fmla="*/ 0 w 25"/>
                    <a:gd name="T3" fmla="*/ 2147483646 h 122"/>
                    <a:gd name="T4" fmla="*/ 0 w 25"/>
                    <a:gd name="T5" fmla="*/ 2147483646 h 122"/>
                    <a:gd name="T6" fmla="*/ 2147483646 w 25"/>
                    <a:gd name="T7" fmla="*/ 2147483646 h 122"/>
                    <a:gd name="T8" fmla="*/ 2147483646 w 25"/>
                    <a:gd name="T9" fmla="*/ 2147483646 h 122"/>
                    <a:gd name="T10" fmla="*/ 2147483646 w 25"/>
                    <a:gd name="T11" fmla="*/ 2147483646 h 122"/>
                    <a:gd name="T12" fmla="*/ 2147483646 w 25"/>
                    <a:gd name="T13" fmla="*/ 0 h 12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5" h="122">
                      <a:moveTo>
                        <a:pt x="13" y="0"/>
                      </a:move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6"/>
                        <a:pt x="6" y="122"/>
                        <a:pt x="13" y="122"/>
                      </a:cubicBezTo>
                      <a:cubicBezTo>
                        <a:pt x="20" y="122"/>
                        <a:pt x="25" y="116"/>
                        <a:pt x="25" y="109"/>
                      </a:cubicBezTo>
                      <a:cubicBezTo>
                        <a:pt x="25" y="13"/>
                        <a:pt x="25" y="13"/>
                        <a:pt x="25" y="13"/>
                      </a:cubicBezTo>
                      <a:cubicBezTo>
                        <a:pt x="25" y="6"/>
                        <a:pt x="20" y="0"/>
                        <a:pt x="1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2" name="组合 1"/>
          <p:cNvGrpSpPr/>
          <p:nvPr/>
        </p:nvGrpSpPr>
        <p:grpSpPr bwMode="auto">
          <a:xfrm>
            <a:off x="336550" y="1863725"/>
            <a:ext cx="1787525" cy="1785938"/>
            <a:chOff x="336228" y="1864114"/>
            <a:chExt cx="1788084" cy="1785124"/>
          </a:xfrm>
        </p:grpSpPr>
        <p:sp>
          <p:nvSpPr>
            <p:cNvPr id="12" name="Rectangle 6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336228" y="1864114"/>
              <a:ext cx="1784908" cy="1785124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74" name="矩形 73"/>
            <p:cNvSpPr/>
            <p:nvPr/>
          </p:nvSpPr>
          <p:spPr>
            <a:xfrm>
              <a:off x="394984" y="3263651"/>
              <a:ext cx="1729328" cy="2776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650" name="Freeform 51"/>
            <p:cNvSpPr>
              <a:spLocks noEditPoints="1"/>
            </p:cNvSpPr>
            <p:nvPr/>
          </p:nvSpPr>
          <p:spPr bwMode="auto">
            <a:xfrm rot="5400000" flipH="1" flipV="1">
              <a:off x="1188235" y="2816308"/>
              <a:ext cx="143376" cy="12993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5651" name="组合 149"/>
            <p:cNvGrpSpPr/>
            <p:nvPr/>
          </p:nvGrpSpPr>
          <p:grpSpPr bwMode="auto">
            <a:xfrm>
              <a:off x="890645" y="2024618"/>
              <a:ext cx="676290" cy="676290"/>
              <a:chOff x="-2628800" y="5022616"/>
              <a:chExt cx="2122488" cy="2122488"/>
            </a:xfrm>
          </p:grpSpPr>
          <p:sp>
            <p:nvSpPr>
              <p:cNvPr id="151" name="Freeform 202"/>
              <p:cNvSpPr/>
              <p:nvPr/>
            </p:nvSpPr>
            <p:spPr bwMode="auto">
              <a:xfrm>
                <a:off x="-2629447" y="5021866"/>
                <a:ext cx="2123103" cy="2121475"/>
              </a:xfrm>
              <a:custGeom>
                <a:avLst/>
                <a:gdLst>
                  <a:gd name="T0" fmla="*/ 566 w 566"/>
                  <a:gd name="T1" fmla="*/ 283 h 566"/>
                  <a:gd name="T2" fmla="*/ 565 w 566"/>
                  <a:gd name="T3" fmla="*/ 315 h 566"/>
                  <a:gd name="T4" fmla="*/ 409 w 566"/>
                  <a:gd name="T5" fmla="*/ 537 h 566"/>
                  <a:gd name="T6" fmla="*/ 283 w 566"/>
                  <a:gd name="T7" fmla="*/ 566 h 566"/>
                  <a:gd name="T8" fmla="*/ 0 w 566"/>
                  <a:gd name="T9" fmla="*/ 283 h 566"/>
                  <a:gd name="T10" fmla="*/ 283 w 566"/>
                  <a:gd name="T11" fmla="*/ 0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294"/>
                      <a:pt x="566" y="304"/>
                      <a:pt x="565" y="315"/>
                    </a:cubicBezTo>
                    <a:cubicBezTo>
                      <a:pt x="554" y="412"/>
                      <a:pt x="493" y="495"/>
                      <a:pt x="409" y="537"/>
                    </a:cubicBezTo>
                    <a:cubicBezTo>
                      <a:pt x="371" y="556"/>
                      <a:pt x="329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40" y="0"/>
                      <a:pt x="566" y="127"/>
                      <a:pt x="566" y="283"/>
                    </a:cubicBezTo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655" name="Freeform 203"/>
              <p:cNvSpPr>
                <a:spLocks noEditPoints="1"/>
              </p:cNvSpPr>
              <p:nvPr/>
            </p:nvSpPr>
            <p:spPr bwMode="auto">
              <a:xfrm>
                <a:off x="-1957288" y="5713179"/>
                <a:ext cx="1447800" cy="1323975"/>
              </a:xfrm>
              <a:custGeom>
                <a:avLst/>
                <a:gdLst>
                  <a:gd name="T0" fmla="*/ 2147483646 w 386"/>
                  <a:gd name="T1" fmla="*/ 2147483646 h 353"/>
                  <a:gd name="T2" fmla="*/ 2147483646 w 386"/>
                  <a:gd name="T3" fmla="*/ 2147483646 h 353"/>
                  <a:gd name="T4" fmla="*/ 2147483646 w 386"/>
                  <a:gd name="T5" fmla="*/ 2147483646 h 353"/>
                  <a:gd name="T6" fmla="*/ 2147483646 w 386"/>
                  <a:gd name="T7" fmla="*/ 2147483646 h 353"/>
                  <a:gd name="T8" fmla="*/ 2147483646 w 386"/>
                  <a:gd name="T9" fmla="*/ 2147483646 h 353"/>
                  <a:gd name="T10" fmla="*/ 2147483646 w 386"/>
                  <a:gd name="T11" fmla="*/ 2147483646 h 353"/>
                  <a:gd name="T12" fmla="*/ 2147483646 w 386"/>
                  <a:gd name="T13" fmla="*/ 2147483646 h 353"/>
                  <a:gd name="T14" fmla="*/ 2147483646 w 386"/>
                  <a:gd name="T15" fmla="*/ 2147483646 h 353"/>
                  <a:gd name="T16" fmla="*/ 2147483646 w 386"/>
                  <a:gd name="T17" fmla="*/ 2147483646 h 353"/>
                  <a:gd name="T18" fmla="*/ 2147483646 w 386"/>
                  <a:gd name="T19" fmla="*/ 0 h 353"/>
                  <a:gd name="T20" fmla="*/ 2147483646 w 386"/>
                  <a:gd name="T21" fmla="*/ 2147483646 h 353"/>
                  <a:gd name="T22" fmla="*/ 2147483646 w 386"/>
                  <a:gd name="T23" fmla="*/ 2147483646 h 353"/>
                  <a:gd name="T24" fmla="*/ 2147483646 w 386"/>
                  <a:gd name="T25" fmla="*/ 2147483646 h 353"/>
                  <a:gd name="T26" fmla="*/ 2147483646 w 386"/>
                  <a:gd name="T27" fmla="*/ 2147483646 h 353"/>
                  <a:gd name="T28" fmla="*/ 2147483646 w 386"/>
                  <a:gd name="T29" fmla="*/ 2147483646 h 353"/>
                  <a:gd name="T30" fmla="*/ 2147483646 w 386"/>
                  <a:gd name="T31" fmla="*/ 2147483646 h 353"/>
                  <a:gd name="T32" fmla="*/ 0 w 386"/>
                  <a:gd name="T33" fmla="*/ 2147483646 h 353"/>
                  <a:gd name="T34" fmla="*/ 2147483646 w 386"/>
                  <a:gd name="T35" fmla="*/ 2147483646 h 353"/>
                  <a:gd name="T36" fmla="*/ 2147483646 w 386"/>
                  <a:gd name="T37" fmla="*/ 2147483646 h 353"/>
                  <a:gd name="T38" fmla="*/ 2147483646 w 386"/>
                  <a:gd name="T39" fmla="*/ 2147483646 h 353"/>
                  <a:gd name="T40" fmla="*/ 2147483646 w 386"/>
                  <a:gd name="T41" fmla="*/ 2147483646 h 353"/>
                  <a:gd name="T42" fmla="*/ 2147483646 w 386"/>
                  <a:gd name="T43" fmla="*/ 2147483646 h 353"/>
                  <a:gd name="T44" fmla="*/ 2147483646 w 386"/>
                  <a:gd name="T45" fmla="*/ 2147483646 h 353"/>
                  <a:gd name="T46" fmla="*/ 2147483646 w 386"/>
                  <a:gd name="T47" fmla="*/ 2147483646 h 353"/>
                  <a:gd name="T48" fmla="*/ 2147483646 w 386"/>
                  <a:gd name="T49" fmla="*/ 2147483646 h 353"/>
                  <a:gd name="T50" fmla="*/ 2147483646 w 386"/>
                  <a:gd name="T51" fmla="*/ 2147483646 h 353"/>
                  <a:gd name="T52" fmla="*/ 2147483646 w 386"/>
                  <a:gd name="T53" fmla="*/ 2147483646 h 353"/>
                  <a:gd name="T54" fmla="*/ 2147483646 w 386"/>
                  <a:gd name="T55" fmla="*/ 2147483646 h 353"/>
                  <a:gd name="T56" fmla="*/ 2147483646 w 386"/>
                  <a:gd name="T57" fmla="*/ 2147483646 h 353"/>
                  <a:gd name="T58" fmla="*/ 2147483646 w 386"/>
                  <a:gd name="T59" fmla="*/ 2147483646 h 353"/>
                  <a:gd name="T60" fmla="*/ 2147483646 w 386"/>
                  <a:gd name="T61" fmla="*/ 2147483646 h 353"/>
                  <a:gd name="T62" fmla="*/ 2147483646 w 386"/>
                  <a:gd name="T63" fmla="*/ 2147483646 h 353"/>
                  <a:gd name="T64" fmla="*/ 2147483646 w 386"/>
                  <a:gd name="T65" fmla="*/ 2147483646 h 353"/>
                  <a:gd name="T66" fmla="*/ 2147483646 w 386"/>
                  <a:gd name="T67" fmla="*/ 2147483646 h 353"/>
                  <a:gd name="T68" fmla="*/ 2147483646 w 386"/>
                  <a:gd name="T69" fmla="*/ 2147483646 h 353"/>
                  <a:gd name="T70" fmla="*/ 2147483646 w 386"/>
                  <a:gd name="T71" fmla="*/ 0 h 353"/>
                  <a:gd name="T72" fmla="*/ 2147483646 w 386"/>
                  <a:gd name="T73" fmla="*/ 0 h 353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386" h="353">
                    <a:moveTo>
                      <a:pt x="35" y="191"/>
                    </a:moveTo>
                    <a:cubicBezTo>
                      <a:pt x="33" y="191"/>
                      <a:pt x="31" y="189"/>
                      <a:pt x="31" y="187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99"/>
                      <a:pt x="33" y="97"/>
                      <a:pt x="35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9" y="97"/>
                      <a:pt x="70" y="99"/>
                      <a:pt x="70" y="101"/>
                    </a:cubicBezTo>
                    <a:cubicBezTo>
                      <a:pt x="70" y="187"/>
                      <a:pt x="70" y="187"/>
                      <a:pt x="70" y="187"/>
                    </a:cubicBezTo>
                    <a:cubicBezTo>
                      <a:pt x="70" y="189"/>
                      <a:pt x="69" y="191"/>
                      <a:pt x="67" y="191"/>
                    </a:cubicBezTo>
                    <a:cubicBezTo>
                      <a:pt x="35" y="191"/>
                      <a:pt x="35" y="191"/>
                      <a:pt x="35" y="191"/>
                    </a:cubicBezTo>
                    <a:moveTo>
                      <a:pt x="6" y="0"/>
                    </a:moveTo>
                    <a:cubicBezTo>
                      <a:pt x="8" y="1"/>
                      <a:pt x="10" y="4"/>
                      <a:pt x="10" y="7"/>
                    </a:cubicBezTo>
                    <a:cubicBezTo>
                      <a:pt x="10" y="205"/>
                      <a:pt x="10" y="205"/>
                      <a:pt x="10" y="205"/>
                    </a:cubicBezTo>
                    <a:cubicBezTo>
                      <a:pt x="228" y="205"/>
                      <a:pt x="228" y="205"/>
                      <a:pt x="228" y="205"/>
                    </a:cubicBezTo>
                    <a:cubicBezTo>
                      <a:pt x="232" y="205"/>
                      <a:pt x="236" y="208"/>
                      <a:pt x="236" y="213"/>
                    </a:cubicBezTo>
                    <a:cubicBezTo>
                      <a:pt x="236" y="217"/>
                      <a:pt x="232" y="221"/>
                      <a:pt x="228" y="221"/>
                    </a:cubicBezTo>
                    <a:cubicBezTo>
                      <a:pt x="2" y="221"/>
                      <a:pt x="2" y="221"/>
                      <a:pt x="2" y="221"/>
                    </a:cubicBezTo>
                    <a:cubicBezTo>
                      <a:pt x="1" y="221"/>
                      <a:pt x="0" y="220"/>
                      <a:pt x="0" y="220"/>
                    </a:cubicBezTo>
                    <a:cubicBezTo>
                      <a:pt x="230" y="353"/>
                      <a:pt x="230" y="353"/>
                      <a:pt x="230" y="353"/>
                    </a:cubicBezTo>
                    <a:cubicBezTo>
                      <a:pt x="314" y="311"/>
                      <a:pt x="375" y="228"/>
                      <a:pt x="386" y="131"/>
                    </a:cubicBezTo>
                    <a:cubicBezTo>
                      <a:pt x="205" y="23"/>
                      <a:pt x="205" y="23"/>
                      <a:pt x="205" y="23"/>
                    </a:cubicBezTo>
                    <a:cubicBezTo>
                      <a:pt x="206" y="23"/>
                      <a:pt x="206" y="25"/>
                      <a:pt x="206" y="26"/>
                    </a:cubicBezTo>
                    <a:cubicBezTo>
                      <a:pt x="206" y="187"/>
                      <a:pt x="206" y="187"/>
                      <a:pt x="206" y="187"/>
                    </a:cubicBezTo>
                    <a:cubicBezTo>
                      <a:pt x="206" y="189"/>
                      <a:pt x="205" y="191"/>
                      <a:pt x="203" y="191"/>
                    </a:cubicBezTo>
                    <a:cubicBezTo>
                      <a:pt x="169" y="191"/>
                      <a:pt x="169" y="191"/>
                      <a:pt x="169" y="191"/>
                    </a:cubicBezTo>
                    <a:cubicBezTo>
                      <a:pt x="167" y="191"/>
                      <a:pt x="166" y="189"/>
                      <a:pt x="166" y="187"/>
                    </a:cubicBezTo>
                    <a:cubicBezTo>
                      <a:pt x="166" y="80"/>
                      <a:pt x="166" y="80"/>
                      <a:pt x="166" y="80"/>
                    </a:cubicBezTo>
                    <a:cubicBezTo>
                      <a:pt x="134" y="60"/>
                      <a:pt x="134" y="60"/>
                      <a:pt x="134" y="60"/>
                    </a:cubicBezTo>
                    <a:cubicBezTo>
                      <a:pt x="135" y="61"/>
                      <a:pt x="136" y="62"/>
                      <a:pt x="136" y="63"/>
                    </a:cubicBezTo>
                    <a:cubicBezTo>
                      <a:pt x="136" y="187"/>
                      <a:pt x="136" y="187"/>
                      <a:pt x="136" y="187"/>
                    </a:cubicBezTo>
                    <a:cubicBezTo>
                      <a:pt x="136" y="189"/>
                      <a:pt x="134" y="191"/>
                      <a:pt x="132" y="191"/>
                    </a:cubicBezTo>
                    <a:cubicBezTo>
                      <a:pt x="102" y="191"/>
                      <a:pt x="102" y="191"/>
                      <a:pt x="102" y="191"/>
                    </a:cubicBezTo>
                    <a:cubicBezTo>
                      <a:pt x="100" y="191"/>
                      <a:pt x="98" y="189"/>
                      <a:pt x="98" y="187"/>
                    </a:cubicBezTo>
                    <a:cubicBezTo>
                      <a:pt x="98" y="63"/>
                      <a:pt x="98" y="63"/>
                      <a:pt x="98" y="63"/>
                    </a:cubicBezTo>
                    <a:cubicBezTo>
                      <a:pt x="98" y="61"/>
                      <a:pt x="100" y="59"/>
                      <a:pt x="102" y="59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5656" name="组合 152"/>
              <p:cNvGrpSpPr/>
              <p:nvPr/>
            </p:nvGrpSpPr>
            <p:grpSpPr bwMode="auto">
              <a:xfrm>
                <a:off x="-1979513" y="5708416"/>
                <a:ext cx="906463" cy="833438"/>
                <a:chOff x="14844713" y="-2689225"/>
                <a:chExt cx="906463" cy="833438"/>
              </a:xfrm>
            </p:grpSpPr>
            <p:sp>
              <p:nvSpPr>
                <p:cNvPr id="25657" name="Freeform 204"/>
                <p:cNvSpPr/>
                <p:nvPr/>
              </p:nvSpPr>
              <p:spPr bwMode="auto">
                <a:xfrm>
                  <a:off x="14982826" y="-2320925"/>
                  <a:ext cx="149225" cy="352425"/>
                </a:xfrm>
                <a:custGeom>
                  <a:avLst/>
                  <a:gdLst>
                    <a:gd name="T0" fmla="*/ 2147483646 w 40"/>
                    <a:gd name="T1" fmla="*/ 2147483646 h 94"/>
                    <a:gd name="T2" fmla="*/ 2147483646 w 40"/>
                    <a:gd name="T3" fmla="*/ 0 h 94"/>
                    <a:gd name="T4" fmla="*/ 2147483646 w 40"/>
                    <a:gd name="T5" fmla="*/ 0 h 94"/>
                    <a:gd name="T6" fmla="*/ 0 w 40"/>
                    <a:gd name="T7" fmla="*/ 2147483646 h 94"/>
                    <a:gd name="T8" fmla="*/ 0 w 40"/>
                    <a:gd name="T9" fmla="*/ 2147483646 h 94"/>
                    <a:gd name="T10" fmla="*/ 2147483646 w 40"/>
                    <a:gd name="T11" fmla="*/ 2147483646 h 94"/>
                    <a:gd name="T12" fmla="*/ 2147483646 w 40"/>
                    <a:gd name="T13" fmla="*/ 2147483646 h 94"/>
                    <a:gd name="T14" fmla="*/ 2147483646 w 40"/>
                    <a:gd name="T15" fmla="*/ 2147483646 h 94"/>
                    <a:gd name="T16" fmla="*/ 2147483646 w 40"/>
                    <a:gd name="T17" fmla="*/ 2147483646 h 9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0" h="94">
                      <a:moveTo>
                        <a:pt x="40" y="4"/>
                      </a:moveTo>
                      <a:cubicBezTo>
                        <a:pt x="40" y="2"/>
                        <a:pt x="38" y="0"/>
                        <a:pt x="36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90"/>
                        <a:pt x="0" y="90"/>
                        <a:pt x="0" y="90"/>
                      </a:cubicBezTo>
                      <a:cubicBezTo>
                        <a:pt x="0" y="92"/>
                        <a:pt x="2" y="94"/>
                        <a:pt x="4" y="94"/>
                      </a:cubicBezTo>
                      <a:cubicBezTo>
                        <a:pt x="36" y="94"/>
                        <a:pt x="36" y="94"/>
                        <a:pt x="36" y="94"/>
                      </a:cubicBezTo>
                      <a:cubicBezTo>
                        <a:pt x="38" y="94"/>
                        <a:pt x="40" y="92"/>
                        <a:pt x="40" y="90"/>
                      </a:cubicBezTo>
                      <a:lnTo>
                        <a:pt x="40" y="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58" name="Freeform 205"/>
                <p:cNvSpPr/>
                <p:nvPr/>
              </p:nvSpPr>
              <p:spPr bwMode="auto">
                <a:xfrm>
                  <a:off x="15233651" y="-2463800"/>
                  <a:ext cx="142875" cy="495300"/>
                </a:xfrm>
                <a:custGeom>
                  <a:avLst/>
                  <a:gdLst>
                    <a:gd name="T0" fmla="*/ 2147483646 w 38"/>
                    <a:gd name="T1" fmla="*/ 2147483646 h 132"/>
                    <a:gd name="T2" fmla="*/ 2147483646 w 38"/>
                    <a:gd name="T3" fmla="*/ 0 h 132"/>
                    <a:gd name="T4" fmla="*/ 2147483646 w 38"/>
                    <a:gd name="T5" fmla="*/ 0 h 132"/>
                    <a:gd name="T6" fmla="*/ 0 w 38"/>
                    <a:gd name="T7" fmla="*/ 2147483646 h 132"/>
                    <a:gd name="T8" fmla="*/ 0 w 38"/>
                    <a:gd name="T9" fmla="*/ 2147483646 h 132"/>
                    <a:gd name="T10" fmla="*/ 2147483646 w 38"/>
                    <a:gd name="T11" fmla="*/ 2147483646 h 132"/>
                    <a:gd name="T12" fmla="*/ 2147483646 w 38"/>
                    <a:gd name="T13" fmla="*/ 2147483646 h 132"/>
                    <a:gd name="T14" fmla="*/ 2147483646 w 38"/>
                    <a:gd name="T15" fmla="*/ 2147483646 h 132"/>
                    <a:gd name="T16" fmla="*/ 2147483646 w 38"/>
                    <a:gd name="T17" fmla="*/ 2147483646 h 13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8" h="132">
                      <a:moveTo>
                        <a:pt x="38" y="4"/>
                      </a:moveTo>
                      <a:cubicBezTo>
                        <a:pt x="38" y="2"/>
                        <a:pt x="36" y="0"/>
                        <a:pt x="3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30"/>
                        <a:pt x="2" y="132"/>
                        <a:pt x="4" y="132"/>
                      </a:cubicBezTo>
                      <a:cubicBezTo>
                        <a:pt x="34" y="132"/>
                        <a:pt x="34" y="132"/>
                        <a:pt x="34" y="132"/>
                      </a:cubicBezTo>
                      <a:cubicBezTo>
                        <a:pt x="36" y="132"/>
                        <a:pt x="38" y="130"/>
                        <a:pt x="38" y="128"/>
                      </a:cubicBezTo>
                      <a:lnTo>
                        <a:pt x="38" y="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59" name="Freeform 206"/>
                <p:cNvSpPr/>
                <p:nvPr/>
              </p:nvSpPr>
              <p:spPr bwMode="auto">
                <a:xfrm>
                  <a:off x="15489238" y="-2601912"/>
                  <a:ext cx="149225" cy="633413"/>
                </a:xfrm>
                <a:custGeom>
                  <a:avLst/>
                  <a:gdLst>
                    <a:gd name="T0" fmla="*/ 2147483646 w 40"/>
                    <a:gd name="T1" fmla="*/ 2147483646 h 169"/>
                    <a:gd name="T2" fmla="*/ 2147483646 w 40"/>
                    <a:gd name="T3" fmla="*/ 2147483646 h 169"/>
                    <a:gd name="T4" fmla="*/ 2147483646 w 40"/>
                    <a:gd name="T5" fmla="*/ 2147483646 h 169"/>
                    <a:gd name="T6" fmla="*/ 2147483646 w 40"/>
                    <a:gd name="T7" fmla="*/ 2147483646 h 169"/>
                    <a:gd name="T8" fmla="*/ 0 w 40"/>
                    <a:gd name="T9" fmla="*/ 2147483646 h 169"/>
                    <a:gd name="T10" fmla="*/ 0 w 40"/>
                    <a:gd name="T11" fmla="*/ 2147483646 h 169"/>
                    <a:gd name="T12" fmla="*/ 2147483646 w 40"/>
                    <a:gd name="T13" fmla="*/ 0 h 169"/>
                    <a:gd name="T14" fmla="*/ 2147483646 w 40"/>
                    <a:gd name="T15" fmla="*/ 0 h 169"/>
                    <a:gd name="T16" fmla="*/ 2147483646 w 40"/>
                    <a:gd name="T17" fmla="*/ 0 h 169"/>
                    <a:gd name="T18" fmla="*/ 2147483646 w 40"/>
                    <a:gd name="T19" fmla="*/ 2147483646 h 169"/>
                    <a:gd name="T20" fmla="*/ 2147483646 w 40"/>
                    <a:gd name="T21" fmla="*/ 2147483646 h 169"/>
                    <a:gd name="T22" fmla="*/ 2147483646 w 40"/>
                    <a:gd name="T23" fmla="*/ 2147483646 h 16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40" h="169">
                      <a:moveTo>
                        <a:pt x="40" y="4"/>
                      </a:moveTo>
                      <a:cubicBezTo>
                        <a:pt x="40" y="165"/>
                        <a:pt x="40" y="165"/>
                        <a:pt x="40" y="165"/>
                      </a:cubicBezTo>
                      <a:cubicBezTo>
                        <a:pt x="40" y="167"/>
                        <a:pt x="39" y="169"/>
                        <a:pt x="37" y="169"/>
                      </a:cubicBezTo>
                      <a:cubicBezTo>
                        <a:pt x="3" y="169"/>
                        <a:pt x="3" y="169"/>
                        <a:pt x="3" y="169"/>
                      </a:cubicBezTo>
                      <a:cubicBezTo>
                        <a:pt x="1" y="169"/>
                        <a:pt x="0" y="167"/>
                        <a:pt x="0" y="165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1" y="0"/>
                        <a:pt x="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7" y="0"/>
                        <a:pt x="38" y="0"/>
                        <a:pt x="38" y="0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40" y="1"/>
                        <a:pt x="40" y="3"/>
                        <a:pt x="40" y="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60" name="Freeform 207"/>
                <p:cNvSpPr/>
                <p:nvPr/>
              </p:nvSpPr>
              <p:spPr bwMode="auto">
                <a:xfrm>
                  <a:off x="14844713" y="-2689225"/>
                  <a:ext cx="906463" cy="833438"/>
                </a:xfrm>
                <a:custGeom>
                  <a:avLst/>
                  <a:gdLst>
                    <a:gd name="T0" fmla="*/ 2147483646 w 242"/>
                    <a:gd name="T1" fmla="*/ 2147483646 h 222"/>
                    <a:gd name="T2" fmla="*/ 2147483646 w 242"/>
                    <a:gd name="T3" fmla="*/ 2147483646 h 222"/>
                    <a:gd name="T4" fmla="*/ 2147483646 w 242"/>
                    <a:gd name="T5" fmla="*/ 2147483646 h 222"/>
                    <a:gd name="T6" fmla="*/ 2147483646 w 242"/>
                    <a:gd name="T7" fmla="*/ 2147483646 h 222"/>
                    <a:gd name="T8" fmla="*/ 2147483646 w 242"/>
                    <a:gd name="T9" fmla="*/ 2147483646 h 222"/>
                    <a:gd name="T10" fmla="*/ 0 w 242"/>
                    <a:gd name="T11" fmla="*/ 2147483646 h 222"/>
                    <a:gd name="T12" fmla="*/ 0 w 242"/>
                    <a:gd name="T13" fmla="*/ 2147483646 h 222"/>
                    <a:gd name="T14" fmla="*/ 2147483646 w 242"/>
                    <a:gd name="T15" fmla="*/ 0 h 222"/>
                    <a:gd name="T16" fmla="*/ 2147483646 w 242"/>
                    <a:gd name="T17" fmla="*/ 0 h 222"/>
                    <a:gd name="T18" fmla="*/ 2147483646 w 242"/>
                    <a:gd name="T19" fmla="*/ 2147483646 h 222"/>
                    <a:gd name="T20" fmla="*/ 2147483646 w 242"/>
                    <a:gd name="T21" fmla="*/ 2147483646 h 222"/>
                    <a:gd name="T22" fmla="*/ 2147483646 w 242"/>
                    <a:gd name="T23" fmla="*/ 2147483646 h 222"/>
                    <a:gd name="T24" fmla="*/ 2147483646 w 242"/>
                    <a:gd name="T25" fmla="*/ 2147483646 h 222"/>
                    <a:gd name="T26" fmla="*/ 2147483646 w 242"/>
                    <a:gd name="T27" fmla="*/ 2147483646 h 22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242" h="222">
                      <a:moveTo>
                        <a:pt x="242" y="214"/>
                      </a:moveTo>
                      <a:cubicBezTo>
                        <a:pt x="242" y="218"/>
                        <a:pt x="238" y="222"/>
                        <a:pt x="234" y="222"/>
                      </a:cubicBezTo>
                      <a:cubicBezTo>
                        <a:pt x="8" y="222"/>
                        <a:pt x="8" y="222"/>
                        <a:pt x="8" y="222"/>
                      </a:cubicBezTo>
                      <a:cubicBezTo>
                        <a:pt x="7" y="222"/>
                        <a:pt x="6" y="221"/>
                        <a:pt x="6" y="221"/>
                      </a:cubicBezTo>
                      <a:cubicBezTo>
                        <a:pt x="4" y="221"/>
                        <a:pt x="3" y="220"/>
                        <a:pt x="2" y="219"/>
                      </a:cubicBezTo>
                      <a:cubicBezTo>
                        <a:pt x="1" y="218"/>
                        <a:pt x="0" y="216"/>
                        <a:pt x="0" y="214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"/>
                        <a:pt x="4" y="0"/>
                        <a:pt x="8" y="0"/>
                      </a:cubicBezTo>
                      <a:cubicBezTo>
                        <a:pt x="8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2" y="1"/>
                      </a:cubicBezTo>
                      <a:cubicBezTo>
                        <a:pt x="14" y="2"/>
                        <a:pt x="16" y="5"/>
                        <a:pt x="16" y="8"/>
                      </a:cubicBezTo>
                      <a:cubicBezTo>
                        <a:pt x="16" y="206"/>
                        <a:pt x="16" y="206"/>
                        <a:pt x="16" y="206"/>
                      </a:cubicBezTo>
                      <a:cubicBezTo>
                        <a:pt x="234" y="206"/>
                        <a:pt x="234" y="206"/>
                        <a:pt x="234" y="206"/>
                      </a:cubicBezTo>
                      <a:cubicBezTo>
                        <a:pt x="238" y="206"/>
                        <a:pt x="242" y="209"/>
                        <a:pt x="242" y="2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25652" name="矩形 8"/>
            <p:cNvSpPr>
              <a:spLocks noChangeArrowheads="1"/>
            </p:cNvSpPr>
            <p:nvPr/>
          </p:nvSpPr>
          <p:spPr bwMode="auto">
            <a:xfrm>
              <a:off x="736752" y="2934368"/>
              <a:ext cx="1046342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76" name="直接连接符 175"/>
            <p:cNvCxnSpPr/>
            <p:nvPr/>
          </p:nvCxnSpPr>
          <p:spPr>
            <a:xfrm>
              <a:off x="499792" y="3257304"/>
              <a:ext cx="1521301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组合 4"/>
          <p:cNvGrpSpPr/>
          <p:nvPr/>
        </p:nvGrpSpPr>
        <p:grpSpPr bwMode="auto">
          <a:xfrm>
            <a:off x="2582863" y="1863725"/>
            <a:ext cx="1785937" cy="1785938"/>
            <a:chOff x="2583649" y="1864209"/>
            <a:chExt cx="1785124" cy="1785124"/>
          </a:xfrm>
        </p:grpSpPr>
        <p:sp>
          <p:nvSpPr>
            <p:cNvPr id="18" name="Rectangle 12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2583649" y="1864209"/>
              <a:ext cx="1785124" cy="1785124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5627" name="组合 132"/>
            <p:cNvGrpSpPr/>
            <p:nvPr/>
          </p:nvGrpSpPr>
          <p:grpSpPr bwMode="auto">
            <a:xfrm>
              <a:off x="3138066" y="2024618"/>
              <a:ext cx="676290" cy="676290"/>
              <a:chOff x="-2828032" y="411510"/>
              <a:chExt cx="2122488" cy="2122488"/>
            </a:xfrm>
          </p:grpSpPr>
          <p:sp>
            <p:nvSpPr>
              <p:cNvPr id="134" name="Freeform 187"/>
              <p:cNvSpPr/>
              <p:nvPr/>
            </p:nvSpPr>
            <p:spPr bwMode="auto">
              <a:xfrm>
                <a:off x="-2830015" y="411058"/>
                <a:ext cx="2126456" cy="2121475"/>
              </a:xfrm>
              <a:custGeom>
                <a:avLst/>
                <a:gdLst>
                  <a:gd name="T0" fmla="*/ 566 w 566"/>
                  <a:gd name="T1" fmla="*/ 283 h 566"/>
                  <a:gd name="T2" fmla="*/ 386 w 566"/>
                  <a:gd name="T3" fmla="*/ 547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5 w 566"/>
                  <a:gd name="T11" fmla="*/ 26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3"/>
                      <a:pt x="491" y="506"/>
                      <a:pt x="386" y="547"/>
                    </a:cubicBezTo>
                    <a:cubicBezTo>
                      <a:pt x="354" y="559"/>
                      <a:pt x="319" y="566"/>
                      <a:pt x="283" y="566"/>
                    </a:cubicBezTo>
                    <a:cubicBezTo>
                      <a:pt x="126" y="566"/>
                      <a:pt x="0" y="440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32" y="0"/>
                      <a:pt x="555" y="117"/>
                      <a:pt x="565" y="264"/>
                    </a:cubicBezTo>
                    <a:cubicBezTo>
                      <a:pt x="565" y="270"/>
                      <a:pt x="566" y="277"/>
                      <a:pt x="566" y="283"/>
                    </a:cubicBezTo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633" name="Freeform 188"/>
              <p:cNvSpPr/>
              <p:nvPr/>
            </p:nvSpPr>
            <p:spPr bwMode="auto">
              <a:xfrm>
                <a:off x="-1859657" y="786160"/>
                <a:ext cx="1154113" cy="1676400"/>
              </a:xfrm>
              <a:custGeom>
                <a:avLst/>
                <a:gdLst>
                  <a:gd name="T0" fmla="*/ 2147483646 w 308"/>
                  <a:gd name="T1" fmla="*/ 0 h 447"/>
                  <a:gd name="T2" fmla="*/ 2147483646 w 308"/>
                  <a:gd name="T3" fmla="*/ 2147483646 h 447"/>
                  <a:gd name="T4" fmla="*/ 2147483646 w 308"/>
                  <a:gd name="T5" fmla="*/ 2147483646 h 447"/>
                  <a:gd name="T6" fmla="*/ 2147483646 w 308"/>
                  <a:gd name="T7" fmla="*/ 2147483646 h 447"/>
                  <a:gd name="T8" fmla="*/ 2147483646 w 308"/>
                  <a:gd name="T9" fmla="*/ 2147483646 h 447"/>
                  <a:gd name="T10" fmla="*/ 2147483646 w 308"/>
                  <a:gd name="T11" fmla="*/ 2147483646 h 447"/>
                  <a:gd name="T12" fmla="*/ 2147483646 w 308"/>
                  <a:gd name="T13" fmla="*/ 2147483646 h 447"/>
                  <a:gd name="T14" fmla="*/ 2147483646 w 308"/>
                  <a:gd name="T15" fmla="*/ 2147483646 h 447"/>
                  <a:gd name="T16" fmla="*/ 2147483646 w 308"/>
                  <a:gd name="T17" fmla="*/ 2147483646 h 447"/>
                  <a:gd name="T18" fmla="*/ 2147483646 w 308"/>
                  <a:gd name="T19" fmla="*/ 2147483646 h 447"/>
                  <a:gd name="T20" fmla="*/ 2147483646 w 308"/>
                  <a:gd name="T21" fmla="*/ 2147483646 h 447"/>
                  <a:gd name="T22" fmla="*/ 2147483646 w 308"/>
                  <a:gd name="T23" fmla="*/ 2147483646 h 447"/>
                  <a:gd name="T24" fmla="*/ 2147483646 w 308"/>
                  <a:gd name="T25" fmla="*/ 2147483646 h 447"/>
                  <a:gd name="T26" fmla="*/ 2147483646 w 308"/>
                  <a:gd name="T27" fmla="*/ 2147483646 h 447"/>
                  <a:gd name="T28" fmla="*/ 2147483646 w 308"/>
                  <a:gd name="T29" fmla="*/ 2147483646 h 447"/>
                  <a:gd name="T30" fmla="*/ 2147483646 w 308"/>
                  <a:gd name="T31" fmla="*/ 2147483646 h 447"/>
                  <a:gd name="T32" fmla="*/ 2147483646 w 308"/>
                  <a:gd name="T33" fmla="*/ 2147483646 h 447"/>
                  <a:gd name="T34" fmla="*/ 2147483646 w 308"/>
                  <a:gd name="T35" fmla="*/ 2147483646 h 447"/>
                  <a:gd name="T36" fmla="*/ 2147483646 w 308"/>
                  <a:gd name="T37" fmla="*/ 2147483646 h 447"/>
                  <a:gd name="T38" fmla="*/ 2147483646 w 308"/>
                  <a:gd name="T39" fmla="*/ 2147483646 h 447"/>
                  <a:gd name="T40" fmla="*/ 2147483646 w 308"/>
                  <a:gd name="T41" fmla="*/ 2147483646 h 447"/>
                  <a:gd name="T42" fmla="*/ 2147483646 w 308"/>
                  <a:gd name="T43" fmla="*/ 2147483646 h 447"/>
                  <a:gd name="T44" fmla="*/ 2147483646 w 308"/>
                  <a:gd name="T45" fmla="*/ 2147483646 h 447"/>
                  <a:gd name="T46" fmla="*/ 2147483646 w 308"/>
                  <a:gd name="T47" fmla="*/ 2147483646 h 447"/>
                  <a:gd name="T48" fmla="*/ 0 w 308"/>
                  <a:gd name="T49" fmla="*/ 2147483646 h 447"/>
                  <a:gd name="T50" fmla="*/ 2147483646 w 308"/>
                  <a:gd name="T51" fmla="*/ 2147483646 h 447"/>
                  <a:gd name="T52" fmla="*/ 2147483646 w 308"/>
                  <a:gd name="T53" fmla="*/ 2147483646 h 447"/>
                  <a:gd name="T54" fmla="*/ 2147483646 w 308"/>
                  <a:gd name="T55" fmla="*/ 2147483646 h 447"/>
                  <a:gd name="T56" fmla="*/ 2147483646 w 308"/>
                  <a:gd name="T57" fmla="*/ 2147483646 h 447"/>
                  <a:gd name="T58" fmla="*/ 2147483646 w 308"/>
                  <a:gd name="T59" fmla="*/ 0 h 44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08" h="447">
                    <a:moveTo>
                      <a:pt x="18" y="0"/>
                    </a:moveTo>
                    <a:cubicBezTo>
                      <a:pt x="20" y="2"/>
                      <a:pt x="21" y="7"/>
                      <a:pt x="21" y="15"/>
                    </a:cubicBezTo>
                    <a:cubicBezTo>
                      <a:pt x="21" y="117"/>
                      <a:pt x="21" y="117"/>
                      <a:pt x="21" y="117"/>
                    </a:cubicBezTo>
                    <a:cubicBezTo>
                      <a:pt x="24" y="116"/>
                      <a:pt x="28" y="115"/>
                      <a:pt x="33" y="115"/>
                    </a:cubicBezTo>
                    <a:cubicBezTo>
                      <a:pt x="34" y="115"/>
                      <a:pt x="35" y="115"/>
                      <a:pt x="36" y="115"/>
                    </a:cubicBezTo>
                    <a:cubicBezTo>
                      <a:pt x="36" y="115"/>
                      <a:pt x="37" y="115"/>
                      <a:pt x="38" y="115"/>
                    </a:cubicBezTo>
                    <a:cubicBezTo>
                      <a:pt x="47" y="115"/>
                      <a:pt x="57" y="118"/>
                      <a:pt x="58" y="127"/>
                    </a:cubicBezTo>
                    <a:cubicBezTo>
                      <a:pt x="61" y="126"/>
                      <a:pt x="65" y="125"/>
                      <a:pt x="69" y="125"/>
                    </a:cubicBezTo>
                    <a:cubicBezTo>
                      <a:pt x="70" y="125"/>
                      <a:pt x="71" y="125"/>
                      <a:pt x="72" y="125"/>
                    </a:cubicBezTo>
                    <a:cubicBezTo>
                      <a:pt x="73" y="125"/>
                      <a:pt x="73" y="125"/>
                      <a:pt x="74" y="125"/>
                    </a:cubicBezTo>
                    <a:cubicBezTo>
                      <a:pt x="84" y="125"/>
                      <a:pt x="95" y="129"/>
                      <a:pt x="95" y="140"/>
                    </a:cubicBezTo>
                    <a:cubicBezTo>
                      <a:pt x="96" y="139"/>
                      <a:pt x="98" y="139"/>
                      <a:pt x="100" y="139"/>
                    </a:cubicBezTo>
                    <a:cubicBezTo>
                      <a:pt x="101" y="139"/>
                      <a:pt x="101" y="139"/>
                      <a:pt x="102" y="139"/>
                    </a:cubicBezTo>
                    <a:cubicBezTo>
                      <a:pt x="103" y="139"/>
                      <a:pt x="104" y="139"/>
                      <a:pt x="105" y="139"/>
                    </a:cubicBezTo>
                    <a:cubicBezTo>
                      <a:pt x="114" y="139"/>
                      <a:pt x="126" y="143"/>
                      <a:pt x="126" y="149"/>
                    </a:cubicBezTo>
                    <a:cubicBezTo>
                      <a:pt x="126" y="180"/>
                      <a:pt x="131" y="222"/>
                      <a:pt x="121" y="251"/>
                    </a:cubicBezTo>
                    <a:cubicBezTo>
                      <a:pt x="118" y="261"/>
                      <a:pt x="111" y="287"/>
                      <a:pt x="99" y="288"/>
                    </a:cubicBezTo>
                    <a:cubicBezTo>
                      <a:pt x="122" y="288"/>
                      <a:pt x="122" y="288"/>
                      <a:pt x="122" y="288"/>
                    </a:cubicBezTo>
                    <a:cubicBezTo>
                      <a:pt x="124" y="288"/>
                      <a:pt x="127" y="289"/>
                      <a:pt x="129" y="291"/>
                    </a:cubicBezTo>
                    <a:cubicBezTo>
                      <a:pt x="130" y="293"/>
                      <a:pt x="131" y="295"/>
                      <a:pt x="131" y="297"/>
                    </a:cubicBezTo>
                    <a:cubicBezTo>
                      <a:pt x="131" y="363"/>
                      <a:pt x="131" y="363"/>
                      <a:pt x="131" y="363"/>
                    </a:cubicBezTo>
                    <a:cubicBezTo>
                      <a:pt x="131" y="366"/>
                      <a:pt x="129" y="369"/>
                      <a:pt x="127" y="370"/>
                    </a:cubicBezTo>
                    <a:cubicBezTo>
                      <a:pt x="126" y="372"/>
                      <a:pt x="124" y="372"/>
                      <a:pt x="122" y="372"/>
                    </a:cubicBezTo>
                    <a:cubicBezTo>
                      <a:pt x="3" y="372"/>
                      <a:pt x="3" y="372"/>
                      <a:pt x="3" y="372"/>
                    </a:cubicBezTo>
                    <a:cubicBezTo>
                      <a:pt x="2" y="372"/>
                      <a:pt x="1" y="372"/>
                      <a:pt x="0" y="372"/>
                    </a:cubicBezTo>
                    <a:cubicBezTo>
                      <a:pt x="128" y="447"/>
                      <a:pt x="128" y="447"/>
                      <a:pt x="128" y="447"/>
                    </a:cubicBezTo>
                    <a:cubicBezTo>
                      <a:pt x="233" y="406"/>
                      <a:pt x="308" y="303"/>
                      <a:pt x="308" y="183"/>
                    </a:cubicBezTo>
                    <a:cubicBezTo>
                      <a:pt x="308" y="177"/>
                      <a:pt x="307" y="170"/>
                      <a:pt x="307" y="164"/>
                    </a:cubicBezTo>
                    <a:cubicBezTo>
                      <a:pt x="307" y="164"/>
                      <a:pt x="307" y="164"/>
                      <a:pt x="307" y="164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5634" name="组合 135"/>
              <p:cNvGrpSpPr/>
              <p:nvPr/>
            </p:nvGrpSpPr>
            <p:grpSpPr bwMode="auto">
              <a:xfrm>
                <a:off x="-2189857" y="767110"/>
                <a:ext cx="820738" cy="1414463"/>
                <a:chOff x="10250488" y="6194425"/>
                <a:chExt cx="820738" cy="1414463"/>
              </a:xfrm>
            </p:grpSpPr>
            <p:sp>
              <p:nvSpPr>
                <p:cNvPr id="25635" name="Freeform 189"/>
                <p:cNvSpPr/>
                <p:nvPr/>
              </p:nvSpPr>
              <p:spPr bwMode="auto">
                <a:xfrm>
                  <a:off x="10306051" y="6791325"/>
                  <a:ext cx="198438" cy="217488"/>
                </a:xfrm>
                <a:custGeom>
                  <a:avLst/>
                  <a:gdLst>
                    <a:gd name="T0" fmla="*/ 2147483646 w 53"/>
                    <a:gd name="T1" fmla="*/ 2147483646 h 58"/>
                    <a:gd name="T2" fmla="*/ 2147483646 w 53"/>
                    <a:gd name="T3" fmla="*/ 2147483646 h 58"/>
                    <a:gd name="T4" fmla="*/ 2147483646 w 53"/>
                    <a:gd name="T5" fmla="*/ 2147483646 h 58"/>
                    <a:gd name="T6" fmla="*/ 2147483646 w 53"/>
                    <a:gd name="T7" fmla="*/ 2147483646 h 58"/>
                    <a:gd name="T8" fmla="*/ 2147483646 w 53"/>
                    <a:gd name="T9" fmla="*/ 2147483646 h 58"/>
                    <a:gd name="T10" fmla="*/ 2147483646 w 53"/>
                    <a:gd name="T11" fmla="*/ 2147483646 h 58"/>
                    <a:gd name="T12" fmla="*/ 2147483646 w 53"/>
                    <a:gd name="T13" fmla="*/ 2147483646 h 58"/>
                    <a:gd name="T14" fmla="*/ 2147483646 w 53"/>
                    <a:gd name="T15" fmla="*/ 2147483646 h 58"/>
                    <a:gd name="T16" fmla="*/ 2147483646 w 53"/>
                    <a:gd name="T17" fmla="*/ 2147483646 h 58"/>
                    <a:gd name="T18" fmla="*/ 2147483646 w 53"/>
                    <a:gd name="T19" fmla="*/ 2147483646 h 58"/>
                    <a:gd name="T20" fmla="*/ 0 w 53"/>
                    <a:gd name="T21" fmla="*/ 2147483646 h 58"/>
                    <a:gd name="T22" fmla="*/ 2147483646 w 53"/>
                    <a:gd name="T23" fmla="*/ 2147483646 h 5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53" h="58">
                      <a:moveTo>
                        <a:pt x="53" y="52"/>
                      </a:moveTo>
                      <a:cubicBezTo>
                        <a:pt x="53" y="58"/>
                        <a:pt x="53" y="58"/>
                        <a:pt x="53" y="58"/>
                      </a:cubicBezTo>
                      <a:cubicBezTo>
                        <a:pt x="49" y="54"/>
                        <a:pt x="46" y="50"/>
                        <a:pt x="42" y="46"/>
                      </a:cubicBezTo>
                      <a:cubicBezTo>
                        <a:pt x="41" y="44"/>
                        <a:pt x="39" y="42"/>
                        <a:pt x="37" y="40"/>
                      </a:cubicBezTo>
                      <a:cubicBezTo>
                        <a:pt x="31" y="32"/>
                        <a:pt x="25" y="25"/>
                        <a:pt x="20" y="20"/>
                      </a:cubicBezTo>
                      <a:cubicBezTo>
                        <a:pt x="19" y="19"/>
                        <a:pt x="18" y="18"/>
                        <a:pt x="17" y="17"/>
                      </a:cubicBezTo>
                      <a:cubicBezTo>
                        <a:pt x="14" y="13"/>
                        <a:pt x="11" y="10"/>
                        <a:pt x="8" y="8"/>
                      </a:cubicBezTo>
                      <a:cubicBezTo>
                        <a:pt x="7" y="8"/>
                        <a:pt x="7" y="7"/>
                        <a:pt x="6" y="7"/>
                      </a:cubicBezTo>
                      <a:cubicBezTo>
                        <a:pt x="6" y="6"/>
                        <a:pt x="5" y="6"/>
                        <a:pt x="4" y="6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2" y="4"/>
                        <a:pt x="1" y="4"/>
                        <a:pt x="0" y="4"/>
                      </a:cubicBezTo>
                      <a:cubicBezTo>
                        <a:pt x="11" y="0"/>
                        <a:pt x="24" y="19"/>
                        <a:pt x="53" y="5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36" name="Freeform 190"/>
                <p:cNvSpPr/>
                <p:nvPr/>
              </p:nvSpPr>
              <p:spPr bwMode="auto">
                <a:xfrm>
                  <a:off x="10914063" y="6750050"/>
                  <a:ext cx="0" cy="3175"/>
                </a:xfrm>
                <a:custGeom>
                  <a:avLst/>
                  <a:gdLst>
                    <a:gd name="T0" fmla="*/ 2147483646 h 1"/>
                    <a:gd name="T1" fmla="*/ 0 h 1"/>
                    <a:gd name="T2" fmla="*/ 2147483646 h 1"/>
                    <a:gd name="T3" fmla="*/ 0 60000 65536"/>
                    <a:gd name="T4" fmla="*/ 0 60000 65536"/>
                    <a:gd name="T5" fmla="*/ 0 60000 65536"/>
                  </a:gdLst>
                  <a:ahLst/>
                  <a:cxnLst>
                    <a:cxn ang="T3">
                      <a:pos x="0" y="T0"/>
                    </a:cxn>
                    <a:cxn ang="T4">
                      <a:pos x="0" y="T1"/>
                    </a:cxn>
                    <a:cxn ang="T5">
                      <a:pos x="0" y="T2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cubicBezTo>
                        <a:pt x="0" y="1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37" name="Freeform 191"/>
                <p:cNvSpPr/>
                <p:nvPr/>
              </p:nvSpPr>
              <p:spPr bwMode="auto">
                <a:xfrm>
                  <a:off x="10928351" y="6735763"/>
                  <a:ext cx="142875" cy="557213"/>
                </a:xfrm>
                <a:custGeom>
                  <a:avLst/>
                  <a:gdLst>
                    <a:gd name="T0" fmla="*/ 2147483646 w 38"/>
                    <a:gd name="T1" fmla="*/ 2147483646 h 149"/>
                    <a:gd name="T2" fmla="*/ 2147483646 w 38"/>
                    <a:gd name="T3" fmla="*/ 2147483646 h 149"/>
                    <a:gd name="T4" fmla="*/ 0 w 38"/>
                    <a:gd name="T5" fmla="*/ 2147483646 h 149"/>
                    <a:gd name="T6" fmla="*/ 2147483646 w 38"/>
                    <a:gd name="T7" fmla="*/ 2147483646 h 149"/>
                    <a:gd name="T8" fmla="*/ 2147483646 w 38"/>
                    <a:gd name="T9" fmla="*/ 2147483646 h 149"/>
                    <a:gd name="T10" fmla="*/ 2147483646 w 38"/>
                    <a:gd name="T11" fmla="*/ 0 h 149"/>
                    <a:gd name="T12" fmla="*/ 2147483646 w 38"/>
                    <a:gd name="T13" fmla="*/ 2147483646 h 149"/>
                    <a:gd name="T14" fmla="*/ 2147483646 w 38"/>
                    <a:gd name="T15" fmla="*/ 2147483646 h 14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38" h="149">
                      <a:moveTo>
                        <a:pt x="28" y="112"/>
                      </a:moveTo>
                      <a:cubicBezTo>
                        <a:pt x="25" y="123"/>
                        <a:pt x="18" y="149"/>
                        <a:pt x="6" y="149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12" y="149"/>
                        <a:pt x="20" y="123"/>
                        <a:pt x="23" y="112"/>
                      </a:cubicBezTo>
                      <a:cubicBezTo>
                        <a:pt x="33" y="83"/>
                        <a:pt x="28" y="41"/>
                        <a:pt x="28" y="10"/>
                      </a:cubicBezTo>
                      <a:cubicBezTo>
                        <a:pt x="28" y="5"/>
                        <a:pt x="18" y="1"/>
                        <a:pt x="9" y="0"/>
                      </a:cubicBezTo>
                      <a:cubicBezTo>
                        <a:pt x="19" y="0"/>
                        <a:pt x="33" y="4"/>
                        <a:pt x="33" y="10"/>
                      </a:cubicBezTo>
                      <a:cubicBezTo>
                        <a:pt x="33" y="41"/>
                        <a:pt x="38" y="83"/>
                        <a:pt x="28" y="11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38" name="Freeform 192"/>
                <p:cNvSpPr/>
                <p:nvPr/>
              </p:nvSpPr>
              <p:spPr bwMode="auto">
                <a:xfrm>
                  <a:off x="10914063" y="6750050"/>
                  <a:ext cx="0" cy="3175"/>
                </a:xfrm>
                <a:custGeom>
                  <a:avLst/>
                  <a:gdLst>
                    <a:gd name="T0" fmla="*/ 2147483646 h 1"/>
                    <a:gd name="T1" fmla="*/ 0 h 1"/>
                    <a:gd name="T2" fmla="*/ 2147483646 h 1"/>
                    <a:gd name="T3" fmla="*/ 0 60000 65536"/>
                    <a:gd name="T4" fmla="*/ 0 60000 65536"/>
                    <a:gd name="T5" fmla="*/ 0 60000 65536"/>
                  </a:gdLst>
                  <a:ahLst/>
                  <a:cxnLst>
                    <a:cxn ang="T3">
                      <a:pos x="0" y="T0"/>
                    </a:cxn>
                    <a:cxn ang="T4">
                      <a:pos x="0" y="T1"/>
                    </a:cxn>
                    <a:cxn ang="T5">
                      <a:pos x="0" y="T2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cubicBezTo>
                        <a:pt x="0" y="1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39" name="Freeform 193"/>
                <p:cNvSpPr/>
                <p:nvPr/>
              </p:nvSpPr>
              <p:spPr bwMode="auto">
                <a:xfrm>
                  <a:off x="10250488" y="6194425"/>
                  <a:ext cx="801688" cy="1098550"/>
                </a:xfrm>
                <a:custGeom>
                  <a:avLst/>
                  <a:gdLst>
                    <a:gd name="T0" fmla="*/ 2147483646 w 214"/>
                    <a:gd name="T1" fmla="*/ 2147483646 h 293"/>
                    <a:gd name="T2" fmla="*/ 2147483646 w 214"/>
                    <a:gd name="T3" fmla="*/ 2147483646 h 293"/>
                    <a:gd name="T4" fmla="*/ 2147483646 w 214"/>
                    <a:gd name="T5" fmla="*/ 2147483646 h 293"/>
                    <a:gd name="T6" fmla="*/ 2147483646 w 214"/>
                    <a:gd name="T7" fmla="*/ 2147483646 h 293"/>
                    <a:gd name="T8" fmla="*/ 2147483646 w 214"/>
                    <a:gd name="T9" fmla="*/ 2147483646 h 293"/>
                    <a:gd name="T10" fmla="*/ 2147483646 w 214"/>
                    <a:gd name="T11" fmla="*/ 2147483646 h 293"/>
                    <a:gd name="T12" fmla="*/ 2147483646 w 214"/>
                    <a:gd name="T13" fmla="*/ 2147483646 h 293"/>
                    <a:gd name="T14" fmla="*/ 2147483646 w 214"/>
                    <a:gd name="T15" fmla="*/ 2147483646 h 293"/>
                    <a:gd name="T16" fmla="*/ 2147483646 w 214"/>
                    <a:gd name="T17" fmla="*/ 2147483646 h 293"/>
                    <a:gd name="T18" fmla="*/ 2147483646 w 214"/>
                    <a:gd name="T19" fmla="*/ 0 h 293"/>
                    <a:gd name="T20" fmla="*/ 2147483646 w 214"/>
                    <a:gd name="T21" fmla="*/ 2147483646 h 293"/>
                    <a:gd name="T22" fmla="*/ 2147483646 w 214"/>
                    <a:gd name="T23" fmla="*/ 2147483646 h 293"/>
                    <a:gd name="T24" fmla="*/ 2147483646 w 214"/>
                    <a:gd name="T25" fmla="*/ 2147483646 h 293"/>
                    <a:gd name="T26" fmla="*/ 2147483646 w 214"/>
                    <a:gd name="T27" fmla="*/ 2147483646 h 293"/>
                    <a:gd name="T28" fmla="*/ 2147483646 w 214"/>
                    <a:gd name="T29" fmla="*/ 2147483646 h 293"/>
                    <a:gd name="T30" fmla="*/ 2147483646 w 214"/>
                    <a:gd name="T31" fmla="*/ 2147483646 h 293"/>
                    <a:gd name="T32" fmla="*/ 2147483646 w 214"/>
                    <a:gd name="T33" fmla="*/ 2147483646 h 293"/>
                    <a:gd name="T34" fmla="*/ 2147483646 w 214"/>
                    <a:gd name="T35" fmla="*/ 2147483646 h 293"/>
                    <a:gd name="T36" fmla="*/ 2147483646 w 214"/>
                    <a:gd name="T37" fmla="*/ 2147483646 h 293"/>
                    <a:gd name="T38" fmla="*/ 2147483646 w 214"/>
                    <a:gd name="T39" fmla="*/ 2147483646 h 293"/>
                    <a:gd name="T40" fmla="*/ 2147483646 w 214"/>
                    <a:gd name="T41" fmla="*/ 2147483646 h 293"/>
                    <a:gd name="T42" fmla="*/ 2147483646 w 214"/>
                    <a:gd name="T43" fmla="*/ 2147483646 h 293"/>
                    <a:gd name="T44" fmla="*/ 2147483646 w 214"/>
                    <a:gd name="T45" fmla="*/ 2147483646 h 293"/>
                    <a:gd name="T46" fmla="*/ 2147483646 w 214"/>
                    <a:gd name="T47" fmla="*/ 2147483646 h 293"/>
                    <a:gd name="T48" fmla="*/ 2147483646 w 214"/>
                    <a:gd name="T49" fmla="*/ 2147483646 h 293"/>
                    <a:gd name="T50" fmla="*/ 2147483646 w 214"/>
                    <a:gd name="T51" fmla="*/ 2147483646 h 293"/>
                    <a:gd name="T52" fmla="*/ 2147483646 w 214"/>
                    <a:gd name="T53" fmla="*/ 2147483646 h 293"/>
                    <a:gd name="T54" fmla="*/ 2147483646 w 214"/>
                    <a:gd name="T55" fmla="*/ 2147483646 h 293"/>
                    <a:gd name="T56" fmla="*/ 2147483646 w 214"/>
                    <a:gd name="T57" fmla="*/ 2147483646 h 293"/>
                    <a:gd name="T58" fmla="*/ 2147483646 w 214"/>
                    <a:gd name="T59" fmla="*/ 2147483646 h 293"/>
                    <a:gd name="T60" fmla="*/ 2147483646 w 214"/>
                    <a:gd name="T61" fmla="*/ 2147483646 h 293"/>
                    <a:gd name="T62" fmla="*/ 2147483646 w 214"/>
                    <a:gd name="T63" fmla="*/ 2147483646 h 293"/>
                    <a:gd name="T64" fmla="*/ 2147483646 w 214"/>
                    <a:gd name="T65" fmla="*/ 2147483646 h 293"/>
                    <a:gd name="T66" fmla="*/ 2147483646 w 214"/>
                    <a:gd name="T67" fmla="*/ 2147483646 h 293"/>
                    <a:gd name="T68" fmla="*/ 2147483646 w 214"/>
                    <a:gd name="T69" fmla="*/ 2147483646 h 293"/>
                    <a:gd name="T70" fmla="*/ 2147483646 w 214"/>
                    <a:gd name="T71" fmla="*/ 2147483646 h 293"/>
                    <a:gd name="T72" fmla="*/ 2147483646 w 214"/>
                    <a:gd name="T73" fmla="*/ 2147483646 h 293"/>
                    <a:gd name="T74" fmla="*/ 2147483646 w 214"/>
                    <a:gd name="T75" fmla="*/ 2147483646 h 293"/>
                    <a:gd name="T76" fmla="*/ 2147483646 w 214"/>
                    <a:gd name="T77" fmla="*/ 2147483646 h 293"/>
                    <a:gd name="T78" fmla="*/ 2147483646 w 214"/>
                    <a:gd name="T79" fmla="*/ 2147483646 h 293"/>
                    <a:gd name="T80" fmla="*/ 2147483646 w 214"/>
                    <a:gd name="T81" fmla="*/ 2147483646 h 293"/>
                    <a:gd name="T82" fmla="*/ 2147483646 w 214"/>
                    <a:gd name="T83" fmla="*/ 2147483646 h 293"/>
                    <a:gd name="T84" fmla="*/ 2147483646 w 214"/>
                    <a:gd name="T85" fmla="*/ 2147483646 h 293"/>
                    <a:gd name="T86" fmla="*/ 2147483646 w 214"/>
                    <a:gd name="T87" fmla="*/ 2147483646 h 293"/>
                    <a:gd name="T88" fmla="*/ 2147483646 w 214"/>
                    <a:gd name="T89" fmla="*/ 2147483646 h 293"/>
                    <a:gd name="T90" fmla="*/ 2147483646 w 214"/>
                    <a:gd name="T91" fmla="*/ 2147483646 h 293"/>
                    <a:gd name="T92" fmla="*/ 2147483646 w 214"/>
                    <a:gd name="T93" fmla="*/ 2147483646 h 293"/>
                    <a:gd name="T94" fmla="*/ 2147483646 w 214"/>
                    <a:gd name="T95" fmla="*/ 2147483646 h 293"/>
                    <a:gd name="T96" fmla="*/ 2147483646 w 214"/>
                    <a:gd name="T97" fmla="*/ 2147483646 h 293"/>
                    <a:gd name="T98" fmla="*/ 2147483646 w 214"/>
                    <a:gd name="T99" fmla="*/ 2147483646 h 293"/>
                    <a:gd name="T100" fmla="*/ 2147483646 w 214"/>
                    <a:gd name="T101" fmla="*/ 2147483646 h 293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214" h="293">
                      <a:moveTo>
                        <a:pt x="204" y="256"/>
                      </a:moveTo>
                      <a:cubicBezTo>
                        <a:pt x="201" y="267"/>
                        <a:pt x="193" y="293"/>
                        <a:pt x="181" y="293"/>
                      </a:cubicBezTo>
                      <a:cubicBezTo>
                        <a:pt x="106" y="293"/>
                        <a:pt x="106" y="293"/>
                        <a:pt x="106" y="293"/>
                      </a:cubicBezTo>
                      <a:cubicBezTo>
                        <a:pt x="86" y="293"/>
                        <a:pt x="85" y="293"/>
                        <a:pt x="72" y="277"/>
                      </a:cubicBezTo>
                      <a:cubicBezTo>
                        <a:pt x="60" y="262"/>
                        <a:pt x="47" y="248"/>
                        <a:pt x="35" y="233"/>
                      </a:cubicBezTo>
                      <a:cubicBezTo>
                        <a:pt x="25" y="220"/>
                        <a:pt x="17" y="209"/>
                        <a:pt x="10" y="200"/>
                      </a:cubicBezTo>
                      <a:cubicBezTo>
                        <a:pt x="5" y="192"/>
                        <a:pt x="1" y="185"/>
                        <a:pt x="1" y="180"/>
                      </a:cubicBezTo>
                      <a:cubicBezTo>
                        <a:pt x="0" y="174"/>
                        <a:pt x="1" y="169"/>
                        <a:pt x="6" y="165"/>
                      </a:cubicBezTo>
                      <a:cubicBezTo>
                        <a:pt x="9" y="162"/>
                        <a:pt x="12" y="162"/>
                        <a:pt x="15" y="163"/>
                      </a:cubicBezTo>
                      <a:cubicBezTo>
                        <a:pt x="16" y="163"/>
                        <a:pt x="17" y="163"/>
                        <a:pt x="18" y="164"/>
                      </a:cubicBezTo>
                      <a:cubicBezTo>
                        <a:pt x="19" y="165"/>
                        <a:pt x="19" y="165"/>
                        <a:pt x="19" y="165"/>
                      </a:cubicBezTo>
                      <a:cubicBezTo>
                        <a:pt x="20" y="165"/>
                        <a:pt x="21" y="165"/>
                        <a:pt x="21" y="166"/>
                      </a:cubicBezTo>
                      <a:cubicBezTo>
                        <a:pt x="22" y="166"/>
                        <a:pt x="22" y="167"/>
                        <a:pt x="23" y="167"/>
                      </a:cubicBezTo>
                      <a:cubicBezTo>
                        <a:pt x="26" y="169"/>
                        <a:pt x="29" y="172"/>
                        <a:pt x="32" y="176"/>
                      </a:cubicBezTo>
                      <a:cubicBezTo>
                        <a:pt x="33" y="177"/>
                        <a:pt x="34" y="178"/>
                        <a:pt x="35" y="179"/>
                      </a:cubicBezTo>
                      <a:cubicBezTo>
                        <a:pt x="40" y="184"/>
                        <a:pt x="46" y="191"/>
                        <a:pt x="52" y="199"/>
                      </a:cubicBezTo>
                      <a:cubicBezTo>
                        <a:pt x="54" y="201"/>
                        <a:pt x="56" y="203"/>
                        <a:pt x="57" y="205"/>
                      </a:cubicBezTo>
                      <a:cubicBezTo>
                        <a:pt x="61" y="209"/>
                        <a:pt x="64" y="213"/>
                        <a:pt x="68" y="217"/>
                      </a:cubicBezTo>
                      <a:cubicBezTo>
                        <a:pt x="68" y="15"/>
                        <a:pt x="68" y="15"/>
                        <a:pt x="68" y="15"/>
                      </a:cubicBezTo>
                      <a:cubicBezTo>
                        <a:pt x="68" y="4"/>
                        <a:pt x="70" y="0"/>
                        <a:pt x="82" y="0"/>
                      </a:cubicBezTo>
                      <a:cubicBezTo>
                        <a:pt x="83" y="0"/>
                        <a:pt x="84" y="0"/>
                        <a:pt x="86" y="0"/>
                      </a:cubicBezTo>
                      <a:cubicBezTo>
                        <a:pt x="88" y="0"/>
                        <a:pt x="89" y="0"/>
                        <a:pt x="91" y="1"/>
                      </a:cubicBezTo>
                      <a:cubicBezTo>
                        <a:pt x="92" y="1"/>
                        <a:pt x="92" y="1"/>
                        <a:pt x="93" y="1"/>
                      </a:cubicBezTo>
                      <a:cubicBezTo>
                        <a:pt x="94" y="1"/>
                        <a:pt x="94" y="1"/>
                        <a:pt x="95" y="1"/>
                      </a:cubicBezTo>
                      <a:cubicBezTo>
                        <a:pt x="95" y="1"/>
                        <a:pt x="96" y="1"/>
                        <a:pt x="96" y="2"/>
                      </a:cubicBezTo>
                      <a:cubicBezTo>
                        <a:pt x="97" y="2"/>
                        <a:pt x="97" y="2"/>
                        <a:pt x="98" y="2"/>
                      </a:cubicBezTo>
                      <a:cubicBezTo>
                        <a:pt x="98" y="3"/>
                        <a:pt x="99" y="3"/>
                        <a:pt x="100" y="4"/>
                      </a:cubicBezTo>
                      <a:cubicBezTo>
                        <a:pt x="100" y="4"/>
                        <a:pt x="100" y="4"/>
                        <a:pt x="100" y="4"/>
                      </a:cubicBezTo>
                      <a:cubicBezTo>
                        <a:pt x="101" y="5"/>
                        <a:pt x="101" y="5"/>
                        <a:pt x="101" y="5"/>
                      </a:cubicBezTo>
                      <a:cubicBezTo>
                        <a:pt x="101" y="5"/>
                        <a:pt x="101" y="5"/>
                        <a:pt x="101" y="5"/>
                      </a:cubicBezTo>
                      <a:cubicBezTo>
                        <a:pt x="102" y="7"/>
                        <a:pt x="102" y="8"/>
                        <a:pt x="103" y="10"/>
                      </a:cubicBezTo>
                      <a:cubicBezTo>
                        <a:pt x="103" y="10"/>
                        <a:pt x="103" y="10"/>
                        <a:pt x="103" y="10"/>
                      </a:cubicBezTo>
                      <a:cubicBezTo>
                        <a:pt x="103" y="12"/>
                        <a:pt x="103" y="13"/>
                        <a:pt x="103" y="14"/>
                      </a:cubicBezTo>
                      <a:cubicBezTo>
                        <a:pt x="103" y="15"/>
                        <a:pt x="103" y="15"/>
                        <a:pt x="103" y="15"/>
                      </a:cubicBezTo>
                      <a:cubicBezTo>
                        <a:pt x="103" y="17"/>
                        <a:pt x="103" y="18"/>
                        <a:pt x="103" y="20"/>
                      </a:cubicBezTo>
                      <a:cubicBezTo>
                        <a:pt x="103" y="128"/>
                        <a:pt x="103" y="128"/>
                        <a:pt x="103" y="128"/>
                      </a:cubicBezTo>
                      <a:cubicBezTo>
                        <a:pt x="103" y="127"/>
                        <a:pt x="104" y="127"/>
                        <a:pt x="104" y="126"/>
                      </a:cubicBezTo>
                      <a:cubicBezTo>
                        <a:pt x="104" y="125"/>
                        <a:pt x="104" y="125"/>
                        <a:pt x="104" y="125"/>
                      </a:cubicBezTo>
                      <a:cubicBezTo>
                        <a:pt x="105" y="125"/>
                        <a:pt x="105" y="125"/>
                        <a:pt x="105" y="125"/>
                      </a:cubicBezTo>
                      <a:cubicBezTo>
                        <a:pt x="106" y="124"/>
                        <a:pt x="107" y="123"/>
                        <a:pt x="109" y="122"/>
                      </a:cubicBezTo>
                      <a:cubicBezTo>
                        <a:pt x="113" y="121"/>
                        <a:pt x="118" y="120"/>
                        <a:pt x="124" y="120"/>
                      </a:cubicBezTo>
                      <a:cubicBezTo>
                        <a:pt x="124" y="120"/>
                        <a:pt x="124" y="120"/>
                        <a:pt x="124" y="120"/>
                      </a:cubicBezTo>
                      <a:cubicBezTo>
                        <a:pt x="125" y="120"/>
                        <a:pt x="126" y="120"/>
                        <a:pt x="126" y="121"/>
                      </a:cubicBezTo>
                      <a:cubicBezTo>
                        <a:pt x="127" y="121"/>
                        <a:pt x="128" y="121"/>
                        <a:pt x="128" y="121"/>
                      </a:cubicBezTo>
                      <a:cubicBezTo>
                        <a:pt x="129" y="121"/>
                        <a:pt x="129" y="121"/>
                        <a:pt x="130" y="121"/>
                      </a:cubicBezTo>
                      <a:cubicBezTo>
                        <a:pt x="130" y="121"/>
                        <a:pt x="131" y="122"/>
                        <a:pt x="131" y="122"/>
                      </a:cubicBezTo>
                      <a:cubicBezTo>
                        <a:pt x="132" y="122"/>
                        <a:pt x="132" y="122"/>
                        <a:pt x="133" y="122"/>
                      </a:cubicBezTo>
                      <a:cubicBezTo>
                        <a:pt x="133" y="123"/>
                        <a:pt x="133" y="123"/>
                        <a:pt x="133" y="123"/>
                      </a:cubicBezTo>
                      <a:cubicBezTo>
                        <a:pt x="134" y="123"/>
                        <a:pt x="134" y="123"/>
                        <a:pt x="134" y="123"/>
                      </a:cubicBezTo>
                      <a:cubicBezTo>
                        <a:pt x="135" y="123"/>
                        <a:pt x="135" y="124"/>
                        <a:pt x="136" y="124"/>
                      </a:cubicBezTo>
                      <a:cubicBezTo>
                        <a:pt x="136" y="124"/>
                        <a:pt x="136" y="125"/>
                        <a:pt x="137" y="125"/>
                      </a:cubicBezTo>
                      <a:cubicBezTo>
                        <a:pt x="137" y="125"/>
                        <a:pt x="137" y="125"/>
                        <a:pt x="137" y="125"/>
                      </a:cubicBezTo>
                      <a:cubicBezTo>
                        <a:pt x="137" y="125"/>
                        <a:pt x="138" y="126"/>
                        <a:pt x="138" y="126"/>
                      </a:cubicBezTo>
                      <a:cubicBezTo>
                        <a:pt x="138" y="126"/>
                        <a:pt x="139" y="127"/>
                        <a:pt x="139" y="127"/>
                      </a:cubicBezTo>
                      <a:cubicBezTo>
                        <a:pt x="139" y="127"/>
                        <a:pt x="139" y="127"/>
                        <a:pt x="139" y="127"/>
                      </a:cubicBezTo>
                      <a:cubicBezTo>
                        <a:pt x="139" y="128"/>
                        <a:pt x="139" y="128"/>
                        <a:pt x="139" y="128"/>
                      </a:cubicBezTo>
                      <a:cubicBezTo>
                        <a:pt x="140" y="129"/>
                        <a:pt x="140" y="129"/>
                        <a:pt x="140" y="130"/>
                      </a:cubicBezTo>
                      <a:cubicBezTo>
                        <a:pt x="141" y="132"/>
                        <a:pt x="141" y="134"/>
                        <a:pt x="140" y="136"/>
                      </a:cubicBezTo>
                      <a:cubicBezTo>
                        <a:pt x="141" y="136"/>
                        <a:pt x="141" y="135"/>
                        <a:pt x="142" y="135"/>
                      </a:cubicBezTo>
                      <a:cubicBezTo>
                        <a:pt x="142" y="135"/>
                        <a:pt x="142" y="135"/>
                        <a:pt x="142" y="135"/>
                      </a:cubicBezTo>
                      <a:cubicBezTo>
                        <a:pt x="142" y="134"/>
                        <a:pt x="142" y="134"/>
                        <a:pt x="142" y="134"/>
                      </a:cubicBezTo>
                      <a:cubicBezTo>
                        <a:pt x="143" y="134"/>
                        <a:pt x="143" y="134"/>
                        <a:pt x="143" y="134"/>
                      </a:cubicBezTo>
                      <a:cubicBezTo>
                        <a:pt x="143" y="133"/>
                        <a:pt x="143" y="133"/>
                        <a:pt x="143" y="133"/>
                      </a:cubicBezTo>
                      <a:cubicBezTo>
                        <a:pt x="144" y="133"/>
                        <a:pt x="144" y="133"/>
                        <a:pt x="144" y="133"/>
                      </a:cubicBezTo>
                      <a:cubicBezTo>
                        <a:pt x="144" y="133"/>
                        <a:pt x="144" y="133"/>
                        <a:pt x="145" y="133"/>
                      </a:cubicBezTo>
                      <a:cubicBezTo>
                        <a:pt x="145" y="132"/>
                        <a:pt x="145" y="132"/>
                        <a:pt x="146" y="132"/>
                      </a:cubicBezTo>
                      <a:cubicBezTo>
                        <a:pt x="150" y="131"/>
                        <a:pt x="155" y="130"/>
                        <a:pt x="160" y="130"/>
                      </a:cubicBezTo>
                      <a:cubicBezTo>
                        <a:pt x="160" y="130"/>
                        <a:pt x="160" y="130"/>
                        <a:pt x="160" y="130"/>
                      </a:cubicBezTo>
                      <a:cubicBezTo>
                        <a:pt x="161" y="130"/>
                        <a:pt x="161" y="130"/>
                        <a:pt x="162" y="131"/>
                      </a:cubicBezTo>
                      <a:cubicBezTo>
                        <a:pt x="163" y="131"/>
                        <a:pt x="164" y="131"/>
                        <a:pt x="164" y="131"/>
                      </a:cubicBezTo>
                      <a:cubicBezTo>
                        <a:pt x="165" y="131"/>
                        <a:pt x="166" y="131"/>
                        <a:pt x="166" y="131"/>
                      </a:cubicBezTo>
                      <a:cubicBezTo>
                        <a:pt x="167" y="132"/>
                        <a:pt x="167" y="132"/>
                        <a:pt x="168" y="132"/>
                      </a:cubicBezTo>
                      <a:cubicBezTo>
                        <a:pt x="169" y="132"/>
                        <a:pt x="170" y="133"/>
                        <a:pt x="171" y="133"/>
                      </a:cubicBezTo>
                      <a:cubicBezTo>
                        <a:pt x="172" y="134"/>
                        <a:pt x="172" y="134"/>
                        <a:pt x="172" y="134"/>
                      </a:cubicBezTo>
                      <a:cubicBezTo>
                        <a:pt x="173" y="135"/>
                        <a:pt x="173" y="135"/>
                        <a:pt x="173" y="135"/>
                      </a:cubicBezTo>
                      <a:cubicBezTo>
                        <a:pt x="173" y="135"/>
                        <a:pt x="174" y="136"/>
                        <a:pt x="175" y="136"/>
                      </a:cubicBezTo>
                      <a:cubicBezTo>
                        <a:pt x="175" y="137"/>
                        <a:pt x="175" y="137"/>
                        <a:pt x="175" y="137"/>
                      </a:cubicBezTo>
                      <a:cubicBezTo>
                        <a:pt x="176" y="138"/>
                        <a:pt x="176" y="139"/>
                        <a:pt x="176" y="139"/>
                      </a:cubicBezTo>
                      <a:cubicBezTo>
                        <a:pt x="176" y="139"/>
                        <a:pt x="176" y="139"/>
                        <a:pt x="176" y="139"/>
                      </a:cubicBezTo>
                      <a:cubicBezTo>
                        <a:pt x="177" y="142"/>
                        <a:pt x="178" y="144"/>
                        <a:pt x="177" y="148"/>
                      </a:cubicBezTo>
                      <a:cubicBezTo>
                        <a:pt x="177" y="147"/>
                        <a:pt x="178" y="147"/>
                        <a:pt x="179" y="146"/>
                      </a:cubicBezTo>
                      <a:cubicBezTo>
                        <a:pt x="179" y="146"/>
                        <a:pt x="179" y="146"/>
                        <a:pt x="179" y="146"/>
                      </a:cubicBezTo>
                      <a:cubicBezTo>
                        <a:pt x="179" y="146"/>
                        <a:pt x="179" y="146"/>
                        <a:pt x="179" y="146"/>
                      </a:cubicBezTo>
                      <a:cubicBezTo>
                        <a:pt x="180" y="146"/>
                        <a:pt x="180" y="146"/>
                        <a:pt x="180" y="145"/>
                      </a:cubicBezTo>
                      <a:cubicBezTo>
                        <a:pt x="181" y="145"/>
                        <a:pt x="181" y="145"/>
                        <a:pt x="181" y="145"/>
                      </a:cubicBezTo>
                      <a:cubicBezTo>
                        <a:pt x="182" y="145"/>
                        <a:pt x="182" y="145"/>
                        <a:pt x="182" y="145"/>
                      </a:cubicBezTo>
                      <a:cubicBezTo>
                        <a:pt x="182" y="145"/>
                        <a:pt x="182" y="145"/>
                        <a:pt x="183" y="145"/>
                      </a:cubicBezTo>
                      <a:cubicBezTo>
                        <a:pt x="185" y="144"/>
                        <a:pt x="188" y="144"/>
                        <a:pt x="190" y="144"/>
                      </a:cubicBezTo>
                      <a:cubicBezTo>
                        <a:pt x="191" y="145"/>
                        <a:pt x="192" y="145"/>
                        <a:pt x="194" y="145"/>
                      </a:cubicBezTo>
                      <a:cubicBezTo>
                        <a:pt x="194" y="145"/>
                        <a:pt x="195" y="145"/>
                        <a:pt x="195" y="145"/>
                      </a:cubicBezTo>
                      <a:cubicBezTo>
                        <a:pt x="196" y="145"/>
                        <a:pt x="197" y="146"/>
                        <a:pt x="199" y="146"/>
                      </a:cubicBezTo>
                      <a:cubicBezTo>
                        <a:pt x="200" y="146"/>
                        <a:pt x="201" y="147"/>
                        <a:pt x="202" y="147"/>
                      </a:cubicBezTo>
                      <a:cubicBezTo>
                        <a:pt x="202" y="147"/>
                        <a:pt x="202" y="147"/>
                        <a:pt x="202" y="147"/>
                      </a:cubicBezTo>
                      <a:cubicBezTo>
                        <a:pt x="202" y="147"/>
                        <a:pt x="203" y="147"/>
                        <a:pt x="203" y="148"/>
                      </a:cubicBezTo>
                      <a:cubicBezTo>
                        <a:pt x="204" y="148"/>
                        <a:pt x="204" y="148"/>
                        <a:pt x="205" y="148"/>
                      </a:cubicBezTo>
                      <a:cubicBezTo>
                        <a:pt x="205" y="149"/>
                        <a:pt x="206" y="149"/>
                        <a:pt x="206" y="149"/>
                      </a:cubicBezTo>
                      <a:cubicBezTo>
                        <a:pt x="207" y="150"/>
                        <a:pt x="207" y="150"/>
                        <a:pt x="207" y="150"/>
                      </a:cubicBezTo>
                      <a:cubicBezTo>
                        <a:pt x="207" y="150"/>
                        <a:pt x="208" y="151"/>
                        <a:pt x="208" y="151"/>
                      </a:cubicBezTo>
                      <a:cubicBezTo>
                        <a:pt x="208" y="152"/>
                        <a:pt x="208" y="152"/>
                        <a:pt x="208" y="152"/>
                      </a:cubicBezTo>
                      <a:cubicBezTo>
                        <a:pt x="209" y="153"/>
                        <a:pt x="209" y="153"/>
                        <a:pt x="209" y="153"/>
                      </a:cubicBezTo>
                      <a:cubicBezTo>
                        <a:pt x="209" y="153"/>
                        <a:pt x="209" y="153"/>
                        <a:pt x="209" y="153"/>
                      </a:cubicBezTo>
                      <a:cubicBezTo>
                        <a:pt x="209" y="154"/>
                        <a:pt x="209" y="154"/>
                        <a:pt x="209" y="154"/>
                      </a:cubicBezTo>
                      <a:cubicBezTo>
                        <a:pt x="209" y="185"/>
                        <a:pt x="214" y="227"/>
                        <a:pt x="204" y="25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0" name="Freeform 194"/>
                <p:cNvSpPr/>
                <p:nvPr/>
              </p:nvSpPr>
              <p:spPr bwMode="auto">
                <a:xfrm>
                  <a:off x="10556876" y="7292975"/>
                  <a:ext cx="514350" cy="315913"/>
                </a:xfrm>
                <a:custGeom>
                  <a:avLst/>
                  <a:gdLst>
                    <a:gd name="T0" fmla="*/ 2147483646 w 137"/>
                    <a:gd name="T1" fmla="*/ 2147483646 h 84"/>
                    <a:gd name="T2" fmla="*/ 2147483646 w 137"/>
                    <a:gd name="T3" fmla="*/ 2147483646 h 84"/>
                    <a:gd name="T4" fmla="*/ 2147483646 w 137"/>
                    <a:gd name="T5" fmla="*/ 2147483646 h 84"/>
                    <a:gd name="T6" fmla="*/ 2147483646 w 137"/>
                    <a:gd name="T7" fmla="*/ 2147483646 h 84"/>
                    <a:gd name="T8" fmla="*/ 2147483646 w 137"/>
                    <a:gd name="T9" fmla="*/ 2147483646 h 84"/>
                    <a:gd name="T10" fmla="*/ 2147483646 w 137"/>
                    <a:gd name="T11" fmla="*/ 2147483646 h 84"/>
                    <a:gd name="T12" fmla="*/ 2147483646 w 137"/>
                    <a:gd name="T13" fmla="*/ 2147483646 h 84"/>
                    <a:gd name="T14" fmla="*/ 0 w 137"/>
                    <a:gd name="T15" fmla="*/ 2147483646 h 84"/>
                    <a:gd name="T16" fmla="*/ 0 w 137"/>
                    <a:gd name="T17" fmla="*/ 2147483646 h 84"/>
                    <a:gd name="T18" fmla="*/ 2147483646 w 137"/>
                    <a:gd name="T19" fmla="*/ 0 h 84"/>
                    <a:gd name="T20" fmla="*/ 2147483646 w 137"/>
                    <a:gd name="T21" fmla="*/ 0 h 84"/>
                    <a:gd name="T22" fmla="*/ 2147483646 w 137"/>
                    <a:gd name="T23" fmla="*/ 2147483646 h 8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137" h="84">
                      <a:moveTo>
                        <a:pt x="137" y="9"/>
                      </a:moveTo>
                      <a:cubicBezTo>
                        <a:pt x="137" y="75"/>
                        <a:pt x="137" y="75"/>
                        <a:pt x="137" y="75"/>
                      </a:cubicBezTo>
                      <a:cubicBezTo>
                        <a:pt x="137" y="80"/>
                        <a:pt x="133" y="84"/>
                        <a:pt x="128" y="84"/>
                      </a:cubicBezTo>
                      <a:cubicBezTo>
                        <a:pt x="9" y="84"/>
                        <a:pt x="9" y="84"/>
                        <a:pt x="9" y="84"/>
                      </a:cubicBezTo>
                      <a:cubicBezTo>
                        <a:pt x="8" y="84"/>
                        <a:pt x="7" y="84"/>
                        <a:pt x="6" y="84"/>
                      </a:cubicBezTo>
                      <a:cubicBezTo>
                        <a:pt x="5" y="83"/>
                        <a:pt x="4" y="83"/>
                        <a:pt x="3" y="82"/>
                      </a:cubicBezTo>
                      <a:cubicBezTo>
                        <a:pt x="3" y="82"/>
                        <a:pt x="3" y="82"/>
                        <a:pt x="3" y="82"/>
                      </a:cubicBezTo>
                      <a:cubicBezTo>
                        <a:pt x="1" y="81"/>
                        <a:pt x="0" y="78"/>
                        <a:pt x="0" y="75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4"/>
                        <a:pt x="4" y="0"/>
                        <a:pt x="9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33" y="0"/>
                        <a:pt x="137" y="4"/>
                        <a:pt x="137" y="9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1" name="Freeform 195"/>
                <p:cNvSpPr>
                  <a:spLocks noEditPoints="1"/>
                </p:cNvSpPr>
                <p:nvPr/>
              </p:nvSpPr>
              <p:spPr bwMode="auto">
                <a:xfrm>
                  <a:off x="10933113" y="7477125"/>
                  <a:ext cx="111125" cy="112713"/>
                </a:xfrm>
                <a:custGeom>
                  <a:avLst/>
                  <a:gdLst>
                    <a:gd name="T0" fmla="*/ 2147483646 w 30"/>
                    <a:gd name="T1" fmla="*/ 2147483646 h 30"/>
                    <a:gd name="T2" fmla="*/ 2147483646 w 30"/>
                    <a:gd name="T3" fmla="*/ 2147483646 h 30"/>
                    <a:gd name="T4" fmla="*/ 2147483646 w 30"/>
                    <a:gd name="T5" fmla="*/ 2147483646 h 30"/>
                    <a:gd name="T6" fmla="*/ 2147483646 w 30"/>
                    <a:gd name="T7" fmla="*/ 2147483646 h 30"/>
                    <a:gd name="T8" fmla="*/ 2147483646 w 30"/>
                    <a:gd name="T9" fmla="*/ 2147483646 h 30"/>
                    <a:gd name="T10" fmla="*/ 2147483646 w 30"/>
                    <a:gd name="T11" fmla="*/ 2147483646 h 30"/>
                    <a:gd name="T12" fmla="*/ 2147483646 w 30"/>
                    <a:gd name="T13" fmla="*/ 2147483646 h 30"/>
                    <a:gd name="T14" fmla="*/ 2147483646 w 30"/>
                    <a:gd name="T15" fmla="*/ 2147483646 h 30"/>
                    <a:gd name="T16" fmla="*/ 2147483646 w 30"/>
                    <a:gd name="T17" fmla="*/ 2147483646 h 30"/>
                    <a:gd name="T18" fmla="*/ 2147483646 w 30"/>
                    <a:gd name="T19" fmla="*/ 2147483646 h 30"/>
                    <a:gd name="T20" fmla="*/ 2147483646 w 30"/>
                    <a:gd name="T21" fmla="*/ 2147483646 h 30"/>
                    <a:gd name="T22" fmla="*/ 2147483646 w 30"/>
                    <a:gd name="T23" fmla="*/ 0 h 30"/>
                    <a:gd name="T24" fmla="*/ 2147483646 w 30"/>
                    <a:gd name="T25" fmla="*/ 2147483646 h 30"/>
                    <a:gd name="T26" fmla="*/ 2147483646 w 30"/>
                    <a:gd name="T27" fmla="*/ 2147483646 h 30"/>
                    <a:gd name="T28" fmla="*/ 2147483646 w 30"/>
                    <a:gd name="T29" fmla="*/ 2147483646 h 30"/>
                    <a:gd name="T30" fmla="*/ 2147483646 w 30"/>
                    <a:gd name="T31" fmla="*/ 2147483646 h 30"/>
                    <a:gd name="T32" fmla="*/ 2147483646 w 30"/>
                    <a:gd name="T33" fmla="*/ 2147483646 h 30"/>
                    <a:gd name="T34" fmla="*/ 2147483646 w 30"/>
                    <a:gd name="T35" fmla="*/ 2147483646 h 30"/>
                    <a:gd name="T36" fmla="*/ 2147483646 w 30"/>
                    <a:gd name="T37" fmla="*/ 2147483646 h 30"/>
                    <a:gd name="T38" fmla="*/ 2147483646 w 30"/>
                    <a:gd name="T39" fmla="*/ 2147483646 h 30"/>
                    <a:gd name="T40" fmla="*/ 2147483646 w 30"/>
                    <a:gd name="T41" fmla="*/ 2147483646 h 30"/>
                    <a:gd name="T42" fmla="*/ 2147483646 w 30"/>
                    <a:gd name="T43" fmla="*/ 0 h 3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30" h="30">
                      <a:moveTo>
                        <a:pt x="13" y="26"/>
                      </a:moveTo>
                      <a:cubicBezTo>
                        <a:pt x="12" y="26"/>
                        <a:pt x="11" y="25"/>
                        <a:pt x="11" y="25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2" y="16"/>
                        <a:pt x="2" y="14"/>
                        <a:pt x="3" y="13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4"/>
                        <a:pt x="12" y="4"/>
                        <a:pt x="13" y="4"/>
                      </a:cubicBezTo>
                      <a:cubicBezTo>
                        <a:pt x="14" y="4"/>
                        <a:pt x="15" y="4"/>
                        <a:pt x="15" y="5"/>
                      </a:cubicBezTo>
                      <a:cubicBezTo>
                        <a:pt x="23" y="13"/>
                        <a:pt x="23" y="13"/>
                        <a:pt x="23" y="13"/>
                      </a:cubicBezTo>
                      <a:cubicBezTo>
                        <a:pt x="24" y="14"/>
                        <a:pt x="24" y="16"/>
                        <a:pt x="23" y="17"/>
                      </a:cubicBezTo>
                      <a:cubicBezTo>
                        <a:pt x="15" y="25"/>
                        <a:pt x="15" y="25"/>
                        <a:pt x="15" y="25"/>
                      </a:cubicBezTo>
                      <a:cubicBezTo>
                        <a:pt x="15" y="25"/>
                        <a:pt x="14" y="26"/>
                        <a:pt x="13" y="26"/>
                      </a:cubicBezTo>
                      <a:moveTo>
                        <a:pt x="15" y="0"/>
                      </a:moveTo>
                      <a:cubicBezTo>
                        <a:pt x="14" y="0"/>
                        <a:pt x="12" y="1"/>
                        <a:pt x="12" y="1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3"/>
                        <a:pt x="0" y="16"/>
                        <a:pt x="1" y="18"/>
                      </a:cubicBez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29"/>
                        <a:pt x="14" y="30"/>
                        <a:pt x="15" y="30"/>
                      </a:cubicBezTo>
                      <a:cubicBezTo>
                        <a:pt x="16" y="30"/>
                        <a:pt x="17" y="29"/>
                        <a:pt x="18" y="28"/>
                      </a:cubicBez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30" y="16"/>
                        <a:pt x="30" y="13"/>
                        <a:pt x="28" y="12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7" y="1"/>
                        <a:pt x="16" y="0"/>
                        <a:pt x="15" y="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2" name="Freeform 196"/>
                <p:cNvSpPr/>
                <p:nvPr/>
              </p:nvSpPr>
              <p:spPr bwMode="auto">
                <a:xfrm>
                  <a:off x="10939463" y="7493000"/>
                  <a:ext cx="82550" cy="82550"/>
                </a:xfrm>
                <a:custGeom>
                  <a:avLst/>
                  <a:gdLst>
                    <a:gd name="T0" fmla="*/ 2147483646 w 22"/>
                    <a:gd name="T1" fmla="*/ 0 h 22"/>
                    <a:gd name="T2" fmla="*/ 2147483646 w 22"/>
                    <a:gd name="T3" fmla="*/ 2147483646 h 22"/>
                    <a:gd name="T4" fmla="*/ 2147483646 w 22"/>
                    <a:gd name="T5" fmla="*/ 2147483646 h 22"/>
                    <a:gd name="T6" fmla="*/ 2147483646 w 22"/>
                    <a:gd name="T7" fmla="*/ 2147483646 h 22"/>
                    <a:gd name="T8" fmla="*/ 2147483646 w 22"/>
                    <a:gd name="T9" fmla="*/ 2147483646 h 22"/>
                    <a:gd name="T10" fmla="*/ 2147483646 w 22"/>
                    <a:gd name="T11" fmla="*/ 2147483646 h 22"/>
                    <a:gd name="T12" fmla="*/ 2147483646 w 22"/>
                    <a:gd name="T13" fmla="*/ 2147483646 h 22"/>
                    <a:gd name="T14" fmla="*/ 2147483646 w 22"/>
                    <a:gd name="T15" fmla="*/ 2147483646 h 22"/>
                    <a:gd name="T16" fmla="*/ 2147483646 w 22"/>
                    <a:gd name="T17" fmla="*/ 2147483646 h 22"/>
                    <a:gd name="T18" fmla="*/ 2147483646 w 22"/>
                    <a:gd name="T19" fmla="*/ 2147483646 h 22"/>
                    <a:gd name="T20" fmla="*/ 2147483646 w 22"/>
                    <a:gd name="T21" fmla="*/ 0 h 2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2" h="22">
                      <a:moveTo>
                        <a:pt x="11" y="0"/>
                      </a:moveTo>
                      <a:cubicBezTo>
                        <a:pt x="10" y="0"/>
                        <a:pt x="9" y="0"/>
                        <a:pt x="9" y="1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10"/>
                        <a:pt x="0" y="12"/>
                        <a:pt x="1" y="13"/>
                      </a:cubicBezTo>
                      <a:cubicBezTo>
                        <a:pt x="9" y="21"/>
                        <a:pt x="9" y="21"/>
                        <a:pt x="9" y="21"/>
                      </a:cubicBezTo>
                      <a:cubicBezTo>
                        <a:pt x="9" y="21"/>
                        <a:pt x="10" y="22"/>
                        <a:pt x="11" y="22"/>
                      </a:cubicBezTo>
                      <a:cubicBezTo>
                        <a:pt x="12" y="22"/>
                        <a:pt x="13" y="21"/>
                        <a:pt x="13" y="21"/>
                      </a:cubicBezTo>
                      <a:cubicBezTo>
                        <a:pt x="21" y="13"/>
                        <a:pt x="21" y="13"/>
                        <a:pt x="21" y="13"/>
                      </a:cubicBezTo>
                      <a:cubicBezTo>
                        <a:pt x="22" y="12"/>
                        <a:pt x="22" y="10"/>
                        <a:pt x="21" y="9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2" y="0"/>
                        <a:pt x="11" y="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3" name="Freeform 197"/>
                <p:cNvSpPr/>
                <p:nvPr/>
              </p:nvSpPr>
              <p:spPr bwMode="auto">
                <a:xfrm>
                  <a:off x="10523538" y="6210300"/>
                  <a:ext cx="90488" cy="93663"/>
                </a:xfrm>
                <a:custGeom>
                  <a:avLst/>
                  <a:gdLst>
                    <a:gd name="T0" fmla="*/ 2147483646 w 24"/>
                    <a:gd name="T1" fmla="*/ 2147483646 h 25"/>
                    <a:gd name="T2" fmla="*/ 2147483646 w 24"/>
                    <a:gd name="T3" fmla="*/ 2147483646 h 25"/>
                    <a:gd name="T4" fmla="*/ 2147483646 w 24"/>
                    <a:gd name="T5" fmla="*/ 2147483646 h 25"/>
                    <a:gd name="T6" fmla="*/ 0 w 24"/>
                    <a:gd name="T7" fmla="*/ 2147483646 h 25"/>
                    <a:gd name="T8" fmla="*/ 0 w 24"/>
                    <a:gd name="T9" fmla="*/ 2147483646 h 25"/>
                    <a:gd name="T10" fmla="*/ 2147483646 w 24"/>
                    <a:gd name="T11" fmla="*/ 0 h 25"/>
                    <a:gd name="T12" fmla="*/ 2147483646 w 24"/>
                    <a:gd name="T13" fmla="*/ 0 h 25"/>
                    <a:gd name="T14" fmla="*/ 2147483646 w 24"/>
                    <a:gd name="T15" fmla="*/ 2147483646 h 25"/>
                    <a:gd name="T16" fmla="*/ 2147483646 w 24"/>
                    <a:gd name="T17" fmla="*/ 2147483646 h 2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4" h="25">
                      <a:moveTo>
                        <a:pt x="24" y="20"/>
                      </a:moveTo>
                      <a:cubicBezTo>
                        <a:pt x="24" y="23"/>
                        <a:pt x="22" y="25"/>
                        <a:pt x="19" y="25"/>
                      </a:cubicBezTo>
                      <a:cubicBezTo>
                        <a:pt x="6" y="25"/>
                        <a:pt x="6" y="25"/>
                        <a:pt x="6" y="25"/>
                      </a:cubicBezTo>
                      <a:cubicBezTo>
                        <a:pt x="3" y="25"/>
                        <a:pt x="0" y="23"/>
                        <a:pt x="0" y="20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2" y="0"/>
                        <a:pt x="24" y="3"/>
                        <a:pt x="24" y="5"/>
                      </a:cubicBezTo>
                      <a:lnTo>
                        <a:pt x="24" y="2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4" name="Freeform 198"/>
                <p:cNvSpPr/>
                <p:nvPr/>
              </p:nvSpPr>
              <p:spPr bwMode="auto">
                <a:xfrm>
                  <a:off x="10572751" y="6194425"/>
                  <a:ext cx="85725" cy="558800"/>
                </a:xfrm>
                <a:custGeom>
                  <a:avLst/>
                  <a:gdLst>
                    <a:gd name="T0" fmla="*/ 2147483646 w 23"/>
                    <a:gd name="T1" fmla="*/ 2147483646 h 149"/>
                    <a:gd name="T2" fmla="*/ 2147483646 w 23"/>
                    <a:gd name="T3" fmla="*/ 2147483646 h 149"/>
                    <a:gd name="T4" fmla="*/ 2147483646 w 23"/>
                    <a:gd name="T5" fmla="*/ 2147483646 h 149"/>
                    <a:gd name="T6" fmla="*/ 2147483646 w 23"/>
                    <a:gd name="T7" fmla="*/ 2147483646 h 149"/>
                    <a:gd name="T8" fmla="*/ 2147483646 w 23"/>
                    <a:gd name="T9" fmla="*/ 2147483646 h 149"/>
                    <a:gd name="T10" fmla="*/ 2147483646 w 23"/>
                    <a:gd name="T11" fmla="*/ 2147483646 h 149"/>
                    <a:gd name="T12" fmla="*/ 2147483646 w 23"/>
                    <a:gd name="T13" fmla="*/ 2147483646 h 149"/>
                    <a:gd name="T14" fmla="*/ 2147483646 w 23"/>
                    <a:gd name="T15" fmla="*/ 2147483646 h 149"/>
                    <a:gd name="T16" fmla="*/ 2147483646 w 23"/>
                    <a:gd name="T17" fmla="*/ 2147483646 h 149"/>
                    <a:gd name="T18" fmla="*/ 2147483646 w 23"/>
                    <a:gd name="T19" fmla="*/ 2147483646 h 149"/>
                    <a:gd name="T20" fmla="*/ 2147483646 w 23"/>
                    <a:gd name="T21" fmla="*/ 2147483646 h 149"/>
                    <a:gd name="T22" fmla="*/ 2147483646 w 23"/>
                    <a:gd name="T23" fmla="*/ 2147483646 h 149"/>
                    <a:gd name="T24" fmla="*/ 2147483646 w 23"/>
                    <a:gd name="T25" fmla="*/ 2147483646 h 149"/>
                    <a:gd name="T26" fmla="*/ 2147483646 w 23"/>
                    <a:gd name="T27" fmla="*/ 2147483646 h 149"/>
                    <a:gd name="T28" fmla="*/ 2147483646 w 23"/>
                    <a:gd name="T29" fmla="*/ 2147483646 h 149"/>
                    <a:gd name="T30" fmla="*/ 2147483646 w 23"/>
                    <a:gd name="T31" fmla="*/ 2147483646 h 149"/>
                    <a:gd name="T32" fmla="*/ 2147483646 w 23"/>
                    <a:gd name="T33" fmla="*/ 2147483646 h 149"/>
                    <a:gd name="T34" fmla="*/ 2147483646 w 23"/>
                    <a:gd name="T35" fmla="*/ 2147483646 h 149"/>
                    <a:gd name="T36" fmla="*/ 2147483646 w 23"/>
                    <a:gd name="T37" fmla="*/ 2147483646 h 149"/>
                    <a:gd name="T38" fmla="*/ 2147483646 w 23"/>
                    <a:gd name="T39" fmla="*/ 2147483646 h 149"/>
                    <a:gd name="T40" fmla="*/ 2147483646 w 23"/>
                    <a:gd name="T41" fmla="*/ 2147483646 h 149"/>
                    <a:gd name="T42" fmla="*/ 2147483646 w 23"/>
                    <a:gd name="T43" fmla="*/ 2147483646 h 149"/>
                    <a:gd name="T44" fmla="*/ 2147483646 w 23"/>
                    <a:gd name="T45" fmla="*/ 2147483646 h 149"/>
                    <a:gd name="T46" fmla="*/ 2147483646 w 23"/>
                    <a:gd name="T47" fmla="*/ 2147483646 h 149"/>
                    <a:gd name="T48" fmla="*/ 2147483646 w 23"/>
                    <a:gd name="T49" fmla="*/ 2147483646 h 149"/>
                    <a:gd name="T50" fmla="*/ 2147483646 w 23"/>
                    <a:gd name="T51" fmla="*/ 2147483646 h 149"/>
                    <a:gd name="T52" fmla="*/ 2147483646 w 23"/>
                    <a:gd name="T53" fmla="*/ 2147483646 h 149"/>
                    <a:gd name="T54" fmla="*/ 0 w 23"/>
                    <a:gd name="T55" fmla="*/ 0 h 149"/>
                    <a:gd name="T56" fmla="*/ 2147483646 w 23"/>
                    <a:gd name="T57" fmla="*/ 0 h 149"/>
                    <a:gd name="T58" fmla="*/ 2147483646 w 23"/>
                    <a:gd name="T59" fmla="*/ 2147483646 h 149"/>
                    <a:gd name="T60" fmla="*/ 2147483646 w 23"/>
                    <a:gd name="T61" fmla="*/ 2147483646 h 149"/>
                    <a:gd name="T62" fmla="*/ 2147483646 w 23"/>
                    <a:gd name="T63" fmla="*/ 2147483646 h 149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23" h="149">
                      <a:moveTo>
                        <a:pt x="23" y="20"/>
                      </a:moveTo>
                      <a:cubicBezTo>
                        <a:pt x="23" y="122"/>
                        <a:pt x="23" y="122"/>
                        <a:pt x="23" y="122"/>
                      </a:cubicBezTo>
                      <a:cubicBezTo>
                        <a:pt x="21" y="123"/>
                        <a:pt x="20" y="124"/>
                        <a:pt x="19" y="125"/>
                      </a:cubicBezTo>
                      <a:cubicBezTo>
                        <a:pt x="18" y="125"/>
                        <a:pt x="18" y="125"/>
                        <a:pt x="18" y="125"/>
                      </a:cubicBezTo>
                      <a:cubicBezTo>
                        <a:pt x="18" y="126"/>
                        <a:pt x="18" y="126"/>
                        <a:pt x="18" y="126"/>
                      </a:cubicBezTo>
                      <a:cubicBezTo>
                        <a:pt x="18" y="127"/>
                        <a:pt x="18" y="128"/>
                        <a:pt x="18" y="129"/>
                      </a:cubicBezTo>
                      <a:cubicBezTo>
                        <a:pt x="19" y="131"/>
                        <a:pt x="19" y="134"/>
                        <a:pt x="19" y="137"/>
                      </a:cubicBezTo>
                      <a:cubicBezTo>
                        <a:pt x="19" y="140"/>
                        <a:pt x="19" y="143"/>
                        <a:pt x="18" y="145"/>
                      </a:cubicBezTo>
                      <a:cubicBezTo>
                        <a:pt x="18" y="147"/>
                        <a:pt x="17" y="149"/>
                        <a:pt x="17" y="149"/>
                      </a:cubicBezTo>
                      <a:cubicBezTo>
                        <a:pt x="17" y="149"/>
                        <a:pt x="17" y="147"/>
                        <a:pt x="17" y="145"/>
                      </a:cubicBezTo>
                      <a:cubicBezTo>
                        <a:pt x="16" y="143"/>
                        <a:pt x="16" y="140"/>
                        <a:pt x="16" y="137"/>
                      </a:cubicBezTo>
                      <a:cubicBezTo>
                        <a:pt x="16" y="134"/>
                        <a:pt x="16" y="131"/>
                        <a:pt x="17" y="129"/>
                      </a:cubicBezTo>
                      <a:cubicBezTo>
                        <a:pt x="17" y="127"/>
                        <a:pt x="17" y="125"/>
                        <a:pt x="17" y="125"/>
                      </a:cubicBezTo>
                      <a:cubicBezTo>
                        <a:pt x="17" y="20"/>
                        <a:pt x="17" y="20"/>
                        <a:pt x="17" y="20"/>
                      </a:cubicBezTo>
                      <a:cubicBezTo>
                        <a:pt x="17" y="18"/>
                        <a:pt x="17" y="17"/>
                        <a:pt x="17" y="15"/>
                      </a:cubicBezTo>
                      <a:cubicBezTo>
                        <a:pt x="17" y="14"/>
                        <a:pt x="17" y="14"/>
                        <a:pt x="17" y="14"/>
                      </a:cubicBezTo>
                      <a:cubicBezTo>
                        <a:pt x="17" y="13"/>
                        <a:pt x="17" y="12"/>
                        <a:pt x="17" y="10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16" y="8"/>
                        <a:pt x="16" y="7"/>
                        <a:pt x="15" y="5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13" y="3"/>
                        <a:pt x="12" y="3"/>
                        <a:pt x="12" y="2"/>
                      </a:cubicBezTo>
                      <a:cubicBezTo>
                        <a:pt x="11" y="2"/>
                        <a:pt x="11" y="2"/>
                        <a:pt x="10" y="2"/>
                      </a:cubicBezTo>
                      <a:cubicBezTo>
                        <a:pt x="10" y="1"/>
                        <a:pt x="9" y="1"/>
                        <a:pt x="9" y="1"/>
                      </a:cubicBezTo>
                      <a:cubicBezTo>
                        <a:pt x="8" y="1"/>
                        <a:pt x="8" y="1"/>
                        <a:pt x="7" y="1"/>
                      </a:cubicBezTo>
                      <a:cubicBezTo>
                        <a:pt x="6" y="1"/>
                        <a:pt x="6" y="1"/>
                        <a:pt x="5" y="1"/>
                      </a:cubicBezTo>
                      <a:cubicBezTo>
                        <a:pt x="3" y="0"/>
                        <a:pt x="2" y="0"/>
                        <a:pt x="0" y="0"/>
                      </a:cubicBezTo>
                      <a:cubicBezTo>
                        <a:pt x="0" y="0"/>
                        <a:pt x="1" y="0"/>
                        <a:pt x="2" y="0"/>
                      </a:cubicBezTo>
                      <a:cubicBezTo>
                        <a:pt x="7" y="0"/>
                        <a:pt x="11" y="0"/>
                        <a:pt x="14" y="1"/>
                      </a:cubicBezTo>
                      <a:cubicBezTo>
                        <a:pt x="17" y="2"/>
                        <a:pt x="19" y="3"/>
                        <a:pt x="20" y="4"/>
                      </a:cubicBezTo>
                      <a:cubicBezTo>
                        <a:pt x="22" y="7"/>
                        <a:pt x="23" y="12"/>
                        <a:pt x="23" y="2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5" name="Freeform 199"/>
                <p:cNvSpPr/>
                <p:nvPr/>
              </p:nvSpPr>
              <p:spPr bwMode="auto">
                <a:xfrm>
                  <a:off x="10715626" y="6645275"/>
                  <a:ext cx="82550" cy="107950"/>
                </a:xfrm>
                <a:custGeom>
                  <a:avLst/>
                  <a:gdLst>
                    <a:gd name="T0" fmla="*/ 0 w 22"/>
                    <a:gd name="T1" fmla="*/ 0 h 29"/>
                    <a:gd name="T2" fmla="*/ 2147483646 w 22"/>
                    <a:gd name="T3" fmla="*/ 2147483646 h 29"/>
                    <a:gd name="T4" fmla="*/ 2147483646 w 22"/>
                    <a:gd name="T5" fmla="*/ 2147483646 h 29"/>
                    <a:gd name="T6" fmla="*/ 2147483646 w 22"/>
                    <a:gd name="T7" fmla="*/ 2147483646 h 29"/>
                    <a:gd name="T8" fmla="*/ 2147483646 w 22"/>
                    <a:gd name="T9" fmla="*/ 2147483646 h 29"/>
                    <a:gd name="T10" fmla="*/ 2147483646 w 22"/>
                    <a:gd name="T11" fmla="*/ 2147483646 h 29"/>
                    <a:gd name="T12" fmla="*/ 2147483646 w 22"/>
                    <a:gd name="T13" fmla="*/ 2147483646 h 29"/>
                    <a:gd name="T14" fmla="*/ 2147483646 w 22"/>
                    <a:gd name="T15" fmla="*/ 2147483646 h 29"/>
                    <a:gd name="T16" fmla="*/ 2147483646 w 22"/>
                    <a:gd name="T17" fmla="*/ 2147483646 h 29"/>
                    <a:gd name="T18" fmla="*/ 2147483646 w 22"/>
                    <a:gd name="T19" fmla="*/ 2147483646 h 29"/>
                    <a:gd name="T20" fmla="*/ 0 w 22"/>
                    <a:gd name="T21" fmla="*/ 0 h 2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2" h="29">
                      <a:moveTo>
                        <a:pt x="0" y="0"/>
                      </a:moveTo>
                      <a:cubicBezTo>
                        <a:pt x="7" y="1"/>
                        <a:pt x="14" y="4"/>
                        <a:pt x="16" y="10"/>
                      </a:cubicBezTo>
                      <a:cubicBezTo>
                        <a:pt x="16" y="11"/>
                        <a:pt x="16" y="11"/>
                        <a:pt x="16" y="12"/>
                      </a:cubicBezTo>
                      <a:cubicBezTo>
                        <a:pt x="15" y="14"/>
                        <a:pt x="15" y="16"/>
                        <a:pt x="15" y="19"/>
                      </a:cubicBezTo>
                      <a:cubicBezTo>
                        <a:pt x="15" y="21"/>
                        <a:pt x="15" y="24"/>
                        <a:pt x="16" y="26"/>
                      </a:cubicBezTo>
                      <a:cubicBezTo>
                        <a:pt x="16" y="28"/>
                        <a:pt x="16" y="29"/>
                        <a:pt x="16" y="29"/>
                      </a:cubicBezTo>
                      <a:cubicBezTo>
                        <a:pt x="16" y="29"/>
                        <a:pt x="17" y="28"/>
                        <a:pt x="17" y="26"/>
                      </a:cubicBezTo>
                      <a:cubicBezTo>
                        <a:pt x="18" y="24"/>
                        <a:pt x="18" y="21"/>
                        <a:pt x="18" y="19"/>
                      </a:cubicBezTo>
                      <a:cubicBezTo>
                        <a:pt x="18" y="17"/>
                        <a:pt x="18" y="16"/>
                        <a:pt x="18" y="15"/>
                      </a:cubicBezTo>
                      <a:cubicBezTo>
                        <a:pt x="19" y="14"/>
                        <a:pt x="20" y="13"/>
                        <a:pt x="22" y="12"/>
                      </a:cubicBezTo>
                      <a:cubicBezTo>
                        <a:pt x="21" y="3"/>
                        <a:pt x="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6" name="Freeform 200"/>
                <p:cNvSpPr/>
                <p:nvPr/>
              </p:nvSpPr>
              <p:spPr bwMode="auto">
                <a:xfrm>
                  <a:off x="10850563" y="6681788"/>
                  <a:ext cx="85725" cy="76200"/>
                </a:xfrm>
                <a:custGeom>
                  <a:avLst/>
                  <a:gdLst>
                    <a:gd name="T0" fmla="*/ 0 w 23"/>
                    <a:gd name="T1" fmla="*/ 0 h 20"/>
                    <a:gd name="T2" fmla="*/ 2147483646 w 23"/>
                    <a:gd name="T3" fmla="*/ 2147483646 h 20"/>
                    <a:gd name="T4" fmla="*/ 2147483646 w 23"/>
                    <a:gd name="T5" fmla="*/ 2147483646 h 20"/>
                    <a:gd name="T6" fmla="*/ 2147483646 w 23"/>
                    <a:gd name="T7" fmla="*/ 2147483646 h 20"/>
                    <a:gd name="T8" fmla="*/ 2147483646 w 23"/>
                    <a:gd name="T9" fmla="*/ 2147483646 h 20"/>
                    <a:gd name="T10" fmla="*/ 2147483646 w 23"/>
                    <a:gd name="T11" fmla="*/ 2147483646 h 20"/>
                    <a:gd name="T12" fmla="*/ 2147483646 w 23"/>
                    <a:gd name="T13" fmla="*/ 2147483646 h 20"/>
                    <a:gd name="T14" fmla="*/ 2147483646 w 23"/>
                    <a:gd name="T15" fmla="*/ 2147483646 h 20"/>
                    <a:gd name="T16" fmla="*/ 0 w 23"/>
                    <a:gd name="T17" fmla="*/ 0 h 2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3" h="20">
                      <a:moveTo>
                        <a:pt x="0" y="0"/>
                      </a:moveTo>
                      <a:cubicBezTo>
                        <a:pt x="7" y="1"/>
                        <a:pt x="14" y="4"/>
                        <a:pt x="16" y="9"/>
                      </a:cubicBezTo>
                      <a:cubicBezTo>
                        <a:pt x="16" y="10"/>
                        <a:pt x="16" y="12"/>
                        <a:pt x="16" y="13"/>
                      </a:cubicBezTo>
                      <a:cubicBezTo>
                        <a:pt x="16" y="15"/>
                        <a:pt x="16" y="17"/>
                        <a:pt x="17" y="18"/>
                      </a:cubicBezTo>
                      <a:cubicBezTo>
                        <a:pt x="17" y="19"/>
                        <a:pt x="17" y="20"/>
                        <a:pt x="17" y="20"/>
                      </a:cubicBezTo>
                      <a:cubicBezTo>
                        <a:pt x="17" y="20"/>
                        <a:pt x="18" y="19"/>
                        <a:pt x="18" y="18"/>
                      </a:cubicBezTo>
                      <a:cubicBezTo>
                        <a:pt x="18" y="17"/>
                        <a:pt x="18" y="17"/>
                        <a:pt x="19" y="16"/>
                      </a:cubicBezTo>
                      <a:cubicBezTo>
                        <a:pt x="20" y="16"/>
                        <a:pt x="21" y="15"/>
                        <a:pt x="23" y="15"/>
                      </a:cubicBezTo>
                      <a:cubicBezTo>
                        <a:pt x="23" y="3"/>
                        <a:pt x="10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7" name="Freeform 201"/>
                <p:cNvSpPr/>
                <p:nvPr/>
              </p:nvSpPr>
              <p:spPr bwMode="auto">
                <a:xfrm>
                  <a:off x="10253663" y="6862763"/>
                  <a:ext cx="55563" cy="82550"/>
                </a:xfrm>
                <a:custGeom>
                  <a:avLst/>
                  <a:gdLst>
                    <a:gd name="T0" fmla="*/ 2147483646 w 15"/>
                    <a:gd name="T1" fmla="*/ 2147483646 h 22"/>
                    <a:gd name="T2" fmla="*/ 2147483646 w 15"/>
                    <a:gd name="T3" fmla="*/ 2147483646 h 22"/>
                    <a:gd name="T4" fmla="*/ 2147483646 w 15"/>
                    <a:gd name="T5" fmla="*/ 2147483646 h 22"/>
                    <a:gd name="T6" fmla="*/ 0 w 15"/>
                    <a:gd name="T7" fmla="*/ 2147483646 h 22"/>
                    <a:gd name="T8" fmla="*/ 2147483646 w 15"/>
                    <a:gd name="T9" fmla="*/ 0 h 22"/>
                    <a:gd name="T10" fmla="*/ 2147483646 w 15"/>
                    <a:gd name="T11" fmla="*/ 0 h 22"/>
                    <a:gd name="T12" fmla="*/ 2147483646 w 15"/>
                    <a:gd name="T13" fmla="*/ 2147483646 h 22"/>
                    <a:gd name="T14" fmla="*/ 2147483646 w 15"/>
                    <a:gd name="T15" fmla="*/ 2147483646 h 22"/>
                    <a:gd name="T16" fmla="*/ 2147483646 w 15"/>
                    <a:gd name="T17" fmla="*/ 2147483646 h 2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" h="22">
                      <a:moveTo>
                        <a:pt x="13" y="22"/>
                      </a:moveTo>
                      <a:cubicBezTo>
                        <a:pt x="12" y="22"/>
                        <a:pt x="11" y="22"/>
                        <a:pt x="11" y="22"/>
                      </a:cubicBezTo>
                      <a:cubicBezTo>
                        <a:pt x="10" y="22"/>
                        <a:pt x="10" y="22"/>
                        <a:pt x="9" y="22"/>
                      </a:cubicBezTo>
                      <a:cubicBezTo>
                        <a:pt x="4" y="14"/>
                        <a:pt x="0" y="7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4" y="0"/>
                        <a:pt x="6" y="0"/>
                        <a:pt x="7" y="2"/>
                      </a:cubicBezTo>
                      <a:cubicBezTo>
                        <a:pt x="14" y="17"/>
                        <a:pt x="14" y="17"/>
                        <a:pt x="14" y="17"/>
                      </a:cubicBezTo>
                      <a:cubicBezTo>
                        <a:pt x="15" y="19"/>
                        <a:pt x="15" y="21"/>
                        <a:pt x="13" y="2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79" name="矩形 178"/>
            <p:cNvSpPr/>
            <p:nvPr/>
          </p:nvSpPr>
          <p:spPr>
            <a:xfrm>
              <a:off x="2610624" y="3263746"/>
              <a:ext cx="1729587" cy="2776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629" name="Freeform 51"/>
            <p:cNvSpPr>
              <a:spLocks noEditPoints="1"/>
            </p:cNvSpPr>
            <p:nvPr/>
          </p:nvSpPr>
          <p:spPr bwMode="auto">
            <a:xfrm rot="5400000" flipH="1" flipV="1">
              <a:off x="3403758" y="2816308"/>
              <a:ext cx="143376" cy="12993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630" name="矩形 8"/>
            <p:cNvSpPr>
              <a:spLocks noChangeArrowheads="1"/>
            </p:cNvSpPr>
            <p:nvPr/>
          </p:nvSpPr>
          <p:spPr bwMode="auto">
            <a:xfrm>
              <a:off x="2952275" y="2934368"/>
              <a:ext cx="1046342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2" name="直接连接符 181"/>
            <p:cNvCxnSpPr/>
            <p:nvPr/>
          </p:nvCxnSpPr>
          <p:spPr>
            <a:xfrm>
              <a:off x="2715351" y="3257399"/>
              <a:ext cx="1520133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组合 29"/>
          <p:cNvGrpSpPr/>
          <p:nvPr/>
        </p:nvGrpSpPr>
        <p:grpSpPr bwMode="auto">
          <a:xfrm>
            <a:off x="4795838" y="1863725"/>
            <a:ext cx="1784350" cy="1785938"/>
            <a:chOff x="4795106" y="1864114"/>
            <a:chExt cx="1785124" cy="1785124"/>
          </a:xfrm>
        </p:grpSpPr>
        <p:sp>
          <p:nvSpPr>
            <p:cNvPr id="23" name="Rectangle 17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4795106" y="1864114"/>
              <a:ext cx="1785124" cy="1785124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5612" name="组合 164"/>
            <p:cNvGrpSpPr/>
            <p:nvPr/>
          </p:nvGrpSpPr>
          <p:grpSpPr bwMode="auto">
            <a:xfrm>
              <a:off x="5349523" y="2024618"/>
              <a:ext cx="676290" cy="676290"/>
              <a:chOff x="-2628800" y="2720741"/>
              <a:chExt cx="2122488" cy="2122488"/>
            </a:xfrm>
          </p:grpSpPr>
          <p:sp>
            <p:nvSpPr>
              <p:cNvPr id="166" name="Freeform 213"/>
              <p:cNvSpPr/>
              <p:nvPr/>
            </p:nvSpPr>
            <p:spPr bwMode="auto">
              <a:xfrm>
                <a:off x="-2629240" y="2719991"/>
                <a:ext cx="2123361" cy="2121475"/>
              </a:xfrm>
              <a:custGeom>
                <a:avLst/>
                <a:gdLst>
                  <a:gd name="T0" fmla="*/ 566 w 566"/>
                  <a:gd name="T1" fmla="*/ 283 h 566"/>
                  <a:gd name="T2" fmla="*/ 566 w 566"/>
                  <a:gd name="T3" fmla="*/ 285 h 566"/>
                  <a:gd name="T4" fmla="*/ 402 w 566"/>
                  <a:gd name="T5" fmla="*/ 540 h 566"/>
                  <a:gd name="T6" fmla="*/ 283 w 566"/>
                  <a:gd name="T7" fmla="*/ 566 h 566"/>
                  <a:gd name="T8" fmla="*/ 0 w 566"/>
                  <a:gd name="T9" fmla="*/ 283 h 566"/>
                  <a:gd name="T10" fmla="*/ 283 w 566"/>
                  <a:gd name="T11" fmla="*/ 0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284"/>
                      <a:pt x="566" y="285"/>
                      <a:pt x="566" y="285"/>
                    </a:cubicBezTo>
                    <a:cubicBezTo>
                      <a:pt x="565" y="398"/>
                      <a:pt x="498" y="495"/>
                      <a:pt x="402" y="540"/>
                    </a:cubicBezTo>
                    <a:cubicBezTo>
                      <a:pt x="366" y="556"/>
                      <a:pt x="326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40" y="0"/>
                      <a:pt x="566" y="127"/>
                      <a:pt x="566" y="283"/>
                    </a:cubicBezTo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618" name="Rectangle 214"/>
              <p:cNvSpPr>
                <a:spLocks noChangeArrowheads="1"/>
              </p:cNvSpPr>
              <p:nvPr/>
            </p:nvSpPr>
            <p:spPr bwMode="auto">
              <a:xfrm>
                <a:off x="-1860450" y="4317766"/>
                <a:ext cx="1588" cy="15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19" name="Freeform 215"/>
              <p:cNvSpPr/>
              <p:nvPr/>
            </p:nvSpPr>
            <p:spPr bwMode="auto">
              <a:xfrm>
                <a:off x="-1860450" y="4317766"/>
                <a:ext cx="0" cy="0"/>
              </a:xfrm>
              <a:custGeom>
                <a:avLst/>
                <a:gdLst>
                  <a:gd name="T0" fmla="*/ 0 60000 65536"/>
                  <a:gd name="T1" fmla="*/ 0 60000 65536"/>
                  <a:gd name="T2" fmla="*/ 0 60000 65536"/>
                  <a:gd name="T3" fmla="*/ 0 60000 65536"/>
                </a:gdLst>
                <a:ahLst/>
                <a:cxnLst>
                  <a:cxn ang="T0">
                    <a:pos x="0" y="0"/>
                  </a:cxn>
                  <a:cxn ang="T1">
                    <a:pos x="0" y="0"/>
                  </a:cxn>
                  <a:cxn ang="T2">
                    <a:pos x="0" y="0"/>
                  </a:cxn>
                  <a:cxn ang="T3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20" name="Freeform 216"/>
              <p:cNvSpPr/>
              <p:nvPr/>
            </p:nvSpPr>
            <p:spPr bwMode="auto">
              <a:xfrm>
                <a:off x="-1173063" y="3409716"/>
                <a:ext cx="3175" cy="0"/>
              </a:xfrm>
              <a:custGeom>
                <a:avLst/>
                <a:gdLst>
                  <a:gd name="T0" fmla="*/ 2147483646 w 2"/>
                  <a:gd name="T1" fmla="*/ 2147483646 w 2"/>
                  <a:gd name="T2" fmla="*/ 0 w 2"/>
                  <a:gd name="T3" fmla="*/ 2147483646 w 2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21" name="Freeform 217"/>
              <p:cNvSpPr/>
              <p:nvPr/>
            </p:nvSpPr>
            <p:spPr bwMode="auto">
              <a:xfrm>
                <a:off x="-1173063" y="3409716"/>
                <a:ext cx="3175" cy="0"/>
              </a:xfrm>
              <a:custGeom>
                <a:avLst/>
                <a:gdLst>
                  <a:gd name="T0" fmla="*/ 2147483646 w 2"/>
                  <a:gd name="T1" fmla="*/ 2147483646 w 2"/>
                  <a:gd name="T2" fmla="*/ 0 w 2"/>
                  <a:gd name="T3" fmla="*/ 2147483646 w 2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22" name="Freeform 218"/>
              <p:cNvSpPr/>
              <p:nvPr/>
            </p:nvSpPr>
            <p:spPr bwMode="auto">
              <a:xfrm>
                <a:off x="-1860450" y="3409716"/>
                <a:ext cx="1354138" cy="1335088"/>
              </a:xfrm>
              <a:custGeom>
                <a:avLst/>
                <a:gdLst>
                  <a:gd name="T0" fmla="*/ 2147483646 w 361"/>
                  <a:gd name="T1" fmla="*/ 0 h 356"/>
                  <a:gd name="T2" fmla="*/ 2147483646 w 361"/>
                  <a:gd name="T3" fmla="*/ 2147483646 h 356"/>
                  <a:gd name="T4" fmla="*/ 2147483646 w 361"/>
                  <a:gd name="T5" fmla="*/ 2147483646 h 356"/>
                  <a:gd name="T6" fmla="*/ 0 w 361"/>
                  <a:gd name="T7" fmla="*/ 2147483646 h 356"/>
                  <a:gd name="T8" fmla="*/ 0 w 361"/>
                  <a:gd name="T9" fmla="*/ 2147483646 h 356"/>
                  <a:gd name="T10" fmla="*/ 0 w 361"/>
                  <a:gd name="T11" fmla="*/ 2147483646 h 356"/>
                  <a:gd name="T12" fmla="*/ 2147483646 w 361"/>
                  <a:gd name="T13" fmla="*/ 2147483646 h 356"/>
                  <a:gd name="T14" fmla="*/ 2147483646 w 361"/>
                  <a:gd name="T15" fmla="*/ 2147483646 h 356"/>
                  <a:gd name="T16" fmla="*/ 2147483646 w 361"/>
                  <a:gd name="T17" fmla="*/ 0 h 3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61" h="356">
                    <a:moveTo>
                      <a:pt x="184" y="0"/>
                    </a:moveTo>
                    <a:cubicBezTo>
                      <a:pt x="160" y="156"/>
                      <a:pt x="160" y="156"/>
                      <a:pt x="160" y="156"/>
                    </a:cubicBezTo>
                    <a:cubicBezTo>
                      <a:pt x="123" y="119"/>
                      <a:pt x="123" y="119"/>
                      <a:pt x="123" y="119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197" y="356"/>
                      <a:pt x="197" y="356"/>
                      <a:pt x="197" y="356"/>
                    </a:cubicBezTo>
                    <a:cubicBezTo>
                      <a:pt x="293" y="311"/>
                      <a:pt x="360" y="214"/>
                      <a:pt x="361" y="101"/>
                    </a:cubicBezTo>
                    <a:cubicBezTo>
                      <a:pt x="184" y="0"/>
                      <a:pt x="184" y="0"/>
                      <a:pt x="184" y="0"/>
                    </a:cubicBez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23" name="Rectangle 219"/>
              <p:cNvSpPr>
                <a:spLocks noChangeArrowheads="1"/>
              </p:cNvSpPr>
              <p:nvPr/>
            </p:nvSpPr>
            <p:spPr bwMode="auto">
              <a:xfrm>
                <a:off x="-1860450" y="4317766"/>
                <a:ext cx="1588" cy="15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24" name="Rectangle 220"/>
              <p:cNvSpPr>
                <a:spLocks noChangeArrowheads="1"/>
              </p:cNvSpPr>
              <p:nvPr/>
            </p:nvSpPr>
            <p:spPr bwMode="auto">
              <a:xfrm>
                <a:off x="-1860450" y="4317766"/>
                <a:ext cx="1588" cy="15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25" name="Freeform 221"/>
              <p:cNvSpPr/>
              <p:nvPr/>
            </p:nvSpPr>
            <p:spPr bwMode="auto">
              <a:xfrm>
                <a:off x="-2081113" y="3409716"/>
                <a:ext cx="911225" cy="908050"/>
              </a:xfrm>
              <a:custGeom>
                <a:avLst/>
                <a:gdLst>
                  <a:gd name="T0" fmla="*/ 2147483646 w 574"/>
                  <a:gd name="T1" fmla="*/ 0 h 572"/>
                  <a:gd name="T2" fmla="*/ 2147483646 w 574"/>
                  <a:gd name="T3" fmla="*/ 0 h 572"/>
                  <a:gd name="T4" fmla="*/ 2147483646 w 574"/>
                  <a:gd name="T5" fmla="*/ 2147483646 h 572"/>
                  <a:gd name="T6" fmla="*/ 2147483646 w 574"/>
                  <a:gd name="T7" fmla="*/ 2147483646 h 572"/>
                  <a:gd name="T8" fmla="*/ 2147483646 w 574"/>
                  <a:gd name="T9" fmla="*/ 2147483646 h 572"/>
                  <a:gd name="T10" fmla="*/ 2147483646 w 574"/>
                  <a:gd name="T11" fmla="*/ 2147483646 h 572"/>
                  <a:gd name="T12" fmla="*/ 2147483646 w 574"/>
                  <a:gd name="T13" fmla="*/ 2147483646 h 572"/>
                  <a:gd name="T14" fmla="*/ 0 w 574"/>
                  <a:gd name="T15" fmla="*/ 2147483646 h 572"/>
                  <a:gd name="T16" fmla="*/ 2147483646 w 574"/>
                  <a:gd name="T17" fmla="*/ 2147483646 h 572"/>
                  <a:gd name="T18" fmla="*/ 2147483646 w 574"/>
                  <a:gd name="T19" fmla="*/ 2147483646 h 572"/>
                  <a:gd name="T20" fmla="*/ 2147483646 w 574"/>
                  <a:gd name="T21" fmla="*/ 0 h 572"/>
                  <a:gd name="T22" fmla="*/ 2147483646 w 574"/>
                  <a:gd name="T23" fmla="*/ 0 h 57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74" h="572">
                    <a:moveTo>
                      <a:pt x="574" y="0"/>
                    </a:moveTo>
                    <a:lnTo>
                      <a:pt x="574" y="0"/>
                    </a:lnTo>
                    <a:lnTo>
                      <a:pt x="517" y="369"/>
                    </a:lnTo>
                    <a:lnTo>
                      <a:pt x="430" y="281"/>
                    </a:lnTo>
                    <a:lnTo>
                      <a:pt x="139" y="572"/>
                    </a:lnTo>
                    <a:lnTo>
                      <a:pt x="0" y="435"/>
                    </a:lnTo>
                    <a:lnTo>
                      <a:pt x="290" y="142"/>
                    </a:lnTo>
                    <a:lnTo>
                      <a:pt x="189" y="40"/>
                    </a:lnTo>
                    <a:lnTo>
                      <a:pt x="572" y="0"/>
                    </a:lnTo>
                    <a:lnTo>
                      <a:pt x="57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83" name="矩形 182"/>
            <p:cNvSpPr/>
            <p:nvPr/>
          </p:nvSpPr>
          <p:spPr>
            <a:xfrm>
              <a:off x="4823693" y="3263651"/>
              <a:ext cx="1727949" cy="2776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614" name="Freeform 51"/>
            <p:cNvSpPr>
              <a:spLocks noEditPoints="1"/>
            </p:cNvSpPr>
            <p:nvPr/>
          </p:nvSpPr>
          <p:spPr bwMode="auto">
            <a:xfrm rot="5400000" flipH="1" flipV="1">
              <a:off x="5615980" y="2816308"/>
              <a:ext cx="143376" cy="12993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615" name="矩形 8"/>
            <p:cNvSpPr>
              <a:spLocks noChangeArrowheads="1"/>
            </p:cNvSpPr>
            <p:nvPr/>
          </p:nvSpPr>
          <p:spPr bwMode="auto">
            <a:xfrm>
              <a:off x="5164497" y="2934368"/>
              <a:ext cx="1046342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6" name="直接连接符 185"/>
            <p:cNvCxnSpPr/>
            <p:nvPr/>
          </p:nvCxnSpPr>
          <p:spPr>
            <a:xfrm>
              <a:off x="4926925" y="3257304"/>
              <a:ext cx="1521485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6" dur="2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2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Arrow Connector 17"/>
          <p:cNvCxnSpPr/>
          <p:nvPr/>
        </p:nvCxnSpPr>
        <p:spPr>
          <a:xfrm>
            <a:off x="4991100" y="2730500"/>
            <a:ext cx="1174750" cy="830263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20"/>
          <p:cNvCxnSpPr/>
          <p:nvPr/>
        </p:nvCxnSpPr>
        <p:spPr>
          <a:xfrm rot="5400000" flipH="1" flipV="1">
            <a:off x="5538788" y="1431925"/>
            <a:ext cx="9525" cy="898525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24"/>
          <p:cNvCxnSpPr/>
          <p:nvPr/>
        </p:nvCxnSpPr>
        <p:spPr>
          <a:xfrm>
            <a:off x="3222625" y="1889125"/>
            <a:ext cx="720725" cy="0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9"/>
          <p:cNvCxnSpPr/>
          <p:nvPr/>
        </p:nvCxnSpPr>
        <p:spPr>
          <a:xfrm flipV="1">
            <a:off x="2921000" y="2730500"/>
            <a:ext cx="1087438" cy="679450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35"/>
          <p:cNvCxnSpPr/>
          <p:nvPr/>
        </p:nvCxnSpPr>
        <p:spPr>
          <a:xfrm>
            <a:off x="1758950" y="1914525"/>
            <a:ext cx="608013" cy="0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37"/>
          <p:cNvCxnSpPr/>
          <p:nvPr/>
        </p:nvCxnSpPr>
        <p:spPr>
          <a:xfrm>
            <a:off x="7235825" y="1836738"/>
            <a:ext cx="804863" cy="230187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39"/>
          <p:cNvCxnSpPr/>
          <p:nvPr/>
        </p:nvCxnSpPr>
        <p:spPr>
          <a:xfrm flipV="1">
            <a:off x="7164388" y="3054350"/>
            <a:ext cx="893762" cy="669925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>
          <a:xfrm>
            <a:off x="555625" y="2663825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271713" y="2663825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3946525" y="2663825"/>
            <a:ext cx="1106488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088063" y="2663825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1757363" y="4487863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118225" y="4487863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639" name="组合 45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48" name="矩形 47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9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6798" name="组合 49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51" name="矩形 50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6800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801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7" name="组合 6"/>
          <p:cNvGrpSpPr/>
          <p:nvPr/>
        </p:nvGrpSpPr>
        <p:grpSpPr bwMode="auto">
          <a:xfrm>
            <a:off x="6165850" y="3065463"/>
            <a:ext cx="966788" cy="1450975"/>
            <a:chOff x="6166017" y="3065454"/>
            <a:chExt cx="967361" cy="1450512"/>
          </a:xfrm>
        </p:grpSpPr>
        <p:sp>
          <p:nvSpPr>
            <p:cNvPr id="37" name="Rectangle 12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6166017" y="3065454"/>
              <a:ext cx="967361" cy="145051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26779" name="组合 128"/>
            <p:cNvGrpSpPr/>
            <p:nvPr/>
          </p:nvGrpSpPr>
          <p:grpSpPr bwMode="auto">
            <a:xfrm>
              <a:off x="6275615" y="3167979"/>
              <a:ext cx="748163" cy="746325"/>
              <a:chOff x="2717800" y="-6069013"/>
              <a:chExt cx="2582863" cy="2576513"/>
            </a:xfrm>
          </p:grpSpPr>
          <p:sp>
            <p:nvSpPr>
              <p:cNvPr id="9308" name="Freeform 114"/>
              <p:cNvSpPr/>
              <p:nvPr/>
            </p:nvSpPr>
            <p:spPr bwMode="auto">
              <a:xfrm>
                <a:off x="2717817" y="-6066842"/>
                <a:ext cx="2577353" cy="2575001"/>
              </a:xfrm>
              <a:custGeom>
                <a:avLst/>
                <a:gdLst>
                  <a:gd name="T0" fmla="*/ 0 w 687"/>
                  <a:gd name="T1" fmla="*/ 624 h 687"/>
                  <a:gd name="T2" fmla="*/ 62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94" name="Freeform 115"/>
              <p:cNvSpPr/>
              <p:nvPr/>
            </p:nvSpPr>
            <p:spPr bwMode="auto">
              <a:xfrm>
                <a:off x="3152775" y="-5664200"/>
                <a:ext cx="2147888" cy="2171700"/>
              </a:xfrm>
              <a:custGeom>
                <a:avLst/>
                <a:gdLst>
                  <a:gd name="T0" fmla="*/ 2147483646 w 573"/>
                  <a:gd name="T1" fmla="*/ 2147483646 h 579"/>
                  <a:gd name="T2" fmla="*/ 2147483646 w 573"/>
                  <a:gd name="T3" fmla="*/ 2147483646 h 579"/>
                  <a:gd name="T4" fmla="*/ 2147483646 w 573"/>
                  <a:gd name="T5" fmla="*/ 2147483646 h 579"/>
                  <a:gd name="T6" fmla="*/ 2147483646 w 573"/>
                  <a:gd name="T7" fmla="*/ 2147483646 h 579"/>
                  <a:gd name="T8" fmla="*/ 2147483646 w 573"/>
                  <a:gd name="T9" fmla="*/ 2147483646 h 579"/>
                  <a:gd name="T10" fmla="*/ 2147483646 w 573"/>
                  <a:gd name="T11" fmla="*/ 2147483646 h 579"/>
                  <a:gd name="T12" fmla="*/ 2147483646 w 573"/>
                  <a:gd name="T13" fmla="*/ 2147483646 h 579"/>
                  <a:gd name="T14" fmla="*/ 2147483646 w 573"/>
                  <a:gd name="T15" fmla="*/ 2147483646 h 579"/>
                  <a:gd name="T16" fmla="*/ 2147483646 w 573"/>
                  <a:gd name="T17" fmla="*/ 2147483646 h 579"/>
                  <a:gd name="T18" fmla="*/ 2147483646 w 573"/>
                  <a:gd name="T19" fmla="*/ 2147483646 h 579"/>
                  <a:gd name="T20" fmla="*/ 2147483646 w 573"/>
                  <a:gd name="T21" fmla="*/ 2147483646 h 579"/>
                  <a:gd name="T22" fmla="*/ 2147483646 w 573"/>
                  <a:gd name="T23" fmla="*/ 2147483646 h 579"/>
                  <a:gd name="T24" fmla="*/ 2147483646 w 573"/>
                  <a:gd name="T25" fmla="*/ 2147483646 h 579"/>
                  <a:gd name="T26" fmla="*/ 2147483646 w 573"/>
                  <a:gd name="T27" fmla="*/ 2147483646 h 579"/>
                  <a:gd name="T28" fmla="*/ 2147483646 w 573"/>
                  <a:gd name="T29" fmla="*/ 2147483646 h 579"/>
                  <a:gd name="T30" fmla="*/ 2147483646 w 573"/>
                  <a:gd name="T31" fmla="*/ 2147483646 h 579"/>
                  <a:gd name="T32" fmla="*/ 2147483646 w 573"/>
                  <a:gd name="T33" fmla="*/ 2147483646 h 579"/>
                  <a:gd name="T34" fmla="*/ 2147483646 w 573"/>
                  <a:gd name="T35" fmla="*/ 2147483646 h 579"/>
                  <a:gd name="T36" fmla="*/ 2147483646 w 573"/>
                  <a:gd name="T37" fmla="*/ 2147483646 h 579"/>
                  <a:gd name="T38" fmla="*/ 2147483646 w 573"/>
                  <a:gd name="T39" fmla="*/ 2147483646 h 579"/>
                  <a:gd name="T40" fmla="*/ 2147483646 w 573"/>
                  <a:gd name="T41" fmla="*/ 2147483646 h 579"/>
                  <a:gd name="T42" fmla="*/ 2147483646 w 573"/>
                  <a:gd name="T43" fmla="*/ 2147483646 h 579"/>
                  <a:gd name="T44" fmla="*/ 2147483646 w 573"/>
                  <a:gd name="T45" fmla="*/ 2147483646 h 57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573" h="579">
                    <a:moveTo>
                      <a:pt x="457" y="123"/>
                    </a:moveTo>
                    <a:cubicBezTo>
                      <a:pt x="450" y="130"/>
                      <a:pt x="450" y="130"/>
                      <a:pt x="450" y="130"/>
                    </a:cubicBezTo>
                    <a:cubicBezTo>
                      <a:pt x="373" y="53"/>
                      <a:pt x="373" y="53"/>
                      <a:pt x="373" y="53"/>
                    </a:cubicBezTo>
                    <a:cubicBezTo>
                      <a:pt x="327" y="53"/>
                      <a:pt x="327" y="53"/>
                      <a:pt x="327" y="53"/>
                    </a:cubicBezTo>
                    <a:cubicBezTo>
                      <a:pt x="293" y="19"/>
                      <a:pt x="293" y="19"/>
                      <a:pt x="293" y="19"/>
                    </a:cubicBezTo>
                    <a:cubicBezTo>
                      <a:pt x="293" y="19"/>
                      <a:pt x="262" y="8"/>
                      <a:pt x="242" y="21"/>
                    </a:cubicBezTo>
                    <a:cubicBezTo>
                      <a:pt x="222" y="35"/>
                      <a:pt x="240" y="46"/>
                      <a:pt x="226" y="53"/>
                    </a:cubicBezTo>
                    <a:cubicBezTo>
                      <a:pt x="216" y="59"/>
                      <a:pt x="189" y="0"/>
                      <a:pt x="167" y="17"/>
                    </a:cubicBezTo>
                    <a:cubicBezTo>
                      <a:pt x="144" y="34"/>
                      <a:pt x="146" y="75"/>
                      <a:pt x="145" y="73"/>
                    </a:cubicBezTo>
                    <a:cubicBezTo>
                      <a:pt x="144" y="71"/>
                      <a:pt x="125" y="41"/>
                      <a:pt x="87" y="57"/>
                    </a:cubicBezTo>
                    <a:cubicBezTo>
                      <a:pt x="48" y="74"/>
                      <a:pt x="78" y="127"/>
                      <a:pt x="77" y="127"/>
                    </a:cubicBezTo>
                    <a:cubicBezTo>
                      <a:pt x="73" y="128"/>
                      <a:pt x="21" y="123"/>
                      <a:pt x="11" y="131"/>
                    </a:cubicBezTo>
                    <a:cubicBezTo>
                      <a:pt x="0" y="139"/>
                      <a:pt x="5" y="204"/>
                      <a:pt x="5" y="204"/>
                    </a:cubicBezTo>
                    <a:cubicBezTo>
                      <a:pt x="37" y="236"/>
                      <a:pt x="37" y="236"/>
                      <a:pt x="37" y="236"/>
                    </a:cubicBezTo>
                    <a:cubicBezTo>
                      <a:pt x="37" y="236"/>
                      <a:pt x="0" y="249"/>
                      <a:pt x="1" y="269"/>
                    </a:cubicBezTo>
                    <a:cubicBezTo>
                      <a:pt x="3" y="289"/>
                      <a:pt x="13" y="332"/>
                      <a:pt x="13" y="332"/>
                    </a:cubicBezTo>
                    <a:cubicBezTo>
                      <a:pt x="115" y="434"/>
                      <a:pt x="115" y="434"/>
                      <a:pt x="115" y="434"/>
                    </a:cubicBezTo>
                    <a:cubicBezTo>
                      <a:pt x="110" y="439"/>
                      <a:pt x="110" y="439"/>
                      <a:pt x="110" y="439"/>
                    </a:cubicBezTo>
                    <a:cubicBezTo>
                      <a:pt x="250" y="579"/>
                      <a:pt x="250" y="579"/>
                      <a:pt x="250" y="579"/>
                    </a:cubicBezTo>
                    <a:cubicBezTo>
                      <a:pt x="511" y="579"/>
                      <a:pt x="511" y="579"/>
                      <a:pt x="511" y="579"/>
                    </a:cubicBezTo>
                    <a:cubicBezTo>
                      <a:pt x="545" y="579"/>
                      <a:pt x="573" y="551"/>
                      <a:pt x="573" y="516"/>
                    </a:cubicBezTo>
                    <a:cubicBezTo>
                      <a:pt x="573" y="238"/>
                      <a:pt x="573" y="238"/>
                      <a:pt x="573" y="238"/>
                    </a:cubicBezTo>
                    <a:lnTo>
                      <a:pt x="457" y="123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95" name="Freeform 116"/>
              <p:cNvSpPr>
                <a:spLocks noEditPoints="1"/>
              </p:cNvSpPr>
              <p:nvPr/>
            </p:nvSpPr>
            <p:spPr bwMode="auto">
              <a:xfrm>
                <a:off x="3089275" y="-5641975"/>
                <a:ext cx="1841500" cy="1717675"/>
              </a:xfrm>
              <a:custGeom>
                <a:avLst/>
                <a:gdLst>
                  <a:gd name="T0" fmla="*/ 2147483646 w 491"/>
                  <a:gd name="T1" fmla="*/ 2147483646 h 458"/>
                  <a:gd name="T2" fmla="*/ 2147483646 w 491"/>
                  <a:gd name="T3" fmla="*/ 2147483646 h 458"/>
                  <a:gd name="T4" fmla="*/ 2147483646 w 491"/>
                  <a:gd name="T5" fmla="*/ 2147483646 h 458"/>
                  <a:gd name="T6" fmla="*/ 2147483646 w 491"/>
                  <a:gd name="T7" fmla="*/ 2147483646 h 458"/>
                  <a:gd name="T8" fmla="*/ 2147483646 w 491"/>
                  <a:gd name="T9" fmla="*/ 2147483646 h 458"/>
                  <a:gd name="T10" fmla="*/ 2147483646 w 491"/>
                  <a:gd name="T11" fmla="*/ 2147483646 h 458"/>
                  <a:gd name="T12" fmla="*/ 2147483646 w 491"/>
                  <a:gd name="T13" fmla="*/ 2147483646 h 458"/>
                  <a:gd name="T14" fmla="*/ 2147483646 w 491"/>
                  <a:gd name="T15" fmla="*/ 2147483646 h 458"/>
                  <a:gd name="T16" fmla="*/ 2147483646 w 491"/>
                  <a:gd name="T17" fmla="*/ 2147483646 h 458"/>
                  <a:gd name="T18" fmla="*/ 2147483646 w 491"/>
                  <a:gd name="T19" fmla="*/ 2147483646 h 458"/>
                  <a:gd name="T20" fmla="*/ 2147483646 w 491"/>
                  <a:gd name="T21" fmla="*/ 2147483646 h 458"/>
                  <a:gd name="T22" fmla="*/ 2147483646 w 491"/>
                  <a:gd name="T23" fmla="*/ 2147483646 h 458"/>
                  <a:gd name="T24" fmla="*/ 2147483646 w 491"/>
                  <a:gd name="T25" fmla="*/ 2147483646 h 458"/>
                  <a:gd name="T26" fmla="*/ 2147483646 w 491"/>
                  <a:gd name="T27" fmla="*/ 2147483646 h 458"/>
                  <a:gd name="T28" fmla="*/ 2147483646 w 491"/>
                  <a:gd name="T29" fmla="*/ 2147483646 h 458"/>
                  <a:gd name="T30" fmla="*/ 2147483646 w 491"/>
                  <a:gd name="T31" fmla="*/ 2147483646 h 458"/>
                  <a:gd name="T32" fmla="*/ 2147483646 w 491"/>
                  <a:gd name="T33" fmla="*/ 2147483646 h 458"/>
                  <a:gd name="T34" fmla="*/ 2147483646 w 491"/>
                  <a:gd name="T35" fmla="*/ 2147483646 h 458"/>
                  <a:gd name="T36" fmla="*/ 2147483646 w 491"/>
                  <a:gd name="T37" fmla="*/ 2147483646 h 458"/>
                  <a:gd name="T38" fmla="*/ 2147483646 w 491"/>
                  <a:gd name="T39" fmla="*/ 2147483646 h 458"/>
                  <a:gd name="T40" fmla="*/ 2147483646 w 491"/>
                  <a:gd name="T41" fmla="*/ 2147483646 h 458"/>
                  <a:gd name="T42" fmla="*/ 2147483646 w 491"/>
                  <a:gd name="T43" fmla="*/ 2147483646 h 458"/>
                  <a:gd name="T44" fmla="*/ 2147483646 w 491"/>
                  <a:gd name="T45" fmla="*/ 2147483646 h 458"/>
                  <a:gd name="T46" fmla="*/ 2147483646 w 491"/>
                  <a:gd name="T47" fmla="*/ 2147483646 h 458"/>
                  <a:gd name="T48" fmla="*/ 2147483646 w 491"/>
                  <a:gd name="T49" fmla="*/ 2147483646 h 458"/>
                  <a:gd name="T50" fmla="*/ 2147483646 w 491"/>
                  <a:gd name="T51" fmla="*/ 2147483646 h 458"/>
                  <a:gd name="T52" fmla="*/ 2147483646 w 491"/>
                  <a:gd name="T53" fmla="*/ 2147483646 h 458"/>
                  <a:gd name="T54" fmla="*/ 2147483646 w 491"/>
                  <a:gd name="T55" fmla="*/ 2147483646 h 458"/>
                  <a:gd name="T56" fmla="*/ 2147483646 w 491"/>
                  <a:gd name="T57" fmla="*/ 2147483646 h 458"/>
                  <a:gd name="T58" fmla="*/ 2147483646 w 491"/>
                  <a:gd name="T59" fmla="*/ 2147483646 h 458"/>
                  <a:gd name="T60" fmla="*/ 2147483646 w 491"/>
                  <a:gd name="T61" fmla="*/ 2147483646 h 458"/>
                  <a:gd name="T62" fmla="*/ 2147483646 w 491"/>
                  <a:gd name="T63" fmla="*/ 2147483646 h 458"/>
                  <a:gd name="T64" fmla="*/ 2147483646 w 491"/>
                  <a:gd name="T65" fmla="*/ 2147483646 h 458"/>
                  <a:gd name="T66" fmla="*/ 2147483646 w 491"/>
                  <a:gd name="T67" fmla="*/ 2147483646 h 458"/>
                  <a:gd name="T68" fmla="*/ 2147483646 w 491"/>
                  <a:gd name="T69" fmla="*/ 2147483646 h 458"/>
                  <a:gd name="T70" fmla="*/ 2147483646 w 491"/>
                  <a:gd name="T71" fmla="*/ 2147483646 h 458"/>
                  <a:gd name="T72" fmla="*/ 2147483646 w 491"/>
                  <a:gd name="T73" fmla="*/ 2147483646 h 458"/>
                  <a:gd name="T74" fmla="*/ 2147483646 w 491"/>
                  <a:gd name="T75" fmla="*/ 2147483646 h 458"/>
                  <a:gd name="T76" fmla="*/ 2147483646 w 491"/>
                  <a:gd name="T77" fmla="*/ 2147483646 h 458"/>
                  <a:gd name="T78" fmla="*/ 2147483646 w 491"/>
                  <a:gd name="T79" fmla="*/ 2147483646 h 458"/>
                  <a:gd name="T80" fmla="*/ 2147483646 w 491"/>
                  <a:gd name="T81" fmla="*/ 2147483646 h 458"/>
                  <a:gd name="T82" fmla="*/ 2147483646 w 491"/>
                  <a:gd name="T83" fmla="*/ 2147483646 h 458"/>
                  <a:gd name="T84" fmla="*/ 2147483646 w 491"/>
                  <a:gd name="T85" fmla="*/ 2147483646 h 458"/>
                  <a:gd name="T86" fmla="*/ 2147483646 w 491"/>
                  <a:gd name="T87" fmla="*/ 2147483646 h 458"/>
                  <a:gd name="T88" fmla="*/ 2147483646 w 491"/>
                  <a:gd name="T89" fmla="*/ 2147483646 h 458"/>
                  <a:gd name="T90" fmla="*/ 2147483646 w 491"/>
                  <a:gd name="T91" fmla="*/ 2147483646 h 458"/>
                  <a:gd name="T92" fmla="*/ 2147483646 w 491"/>
                  <a:gd name="T93" fmla="*/ 2147483646 h 458"/>
                  <a:gd name="T94" fmla="*/ 2147483646 w 491"/>
                  <a:gd name="T95" fmla="*/ 2147483646 h 458"/>
                  <a:gd name="T96" fmla="*/ 2147483646 w 491"/>
                  <a:gd name="T97" fmla="*/ 2147483646 h 458"/>
                  <a:gd name="T98" fmla="*/ 2147483646 w 491"/>
                  <a:gd name="T99" fmla="*/ 2147483646 h 458"/>
                  <a:gd name="T100" fmla="*/ 2147483646 w 491"/>
                  <a:gd name="T101" fmla="*/ 2147483646 h 458"/>
                  <a:gd name="T102" fmla="*/ 2147483646 w 491"/>
                  <a:gd name="T103" fmla="*/ 2147483646 h 458"/>
                  <a:gd name="T104" fmla="*/ 2147483646 w 491"/>
                  <a:gd name="T105" fmla="*/ 2147483646 h 458"/>
                  <a:gd name="T106" fmla="*/ 2147483646 w 491"/>
                  <a:gd name="T107" fmla="*/ 2147483646 h 458"/>
                  <a:gd name="T108" fmla="*/ 2147483646 w 491"/>
                  <a:gd name="T109" fmla="*/ 2147483646 h 458"/>
                  <a:gd name="T110" fmla="*/ 2147483646 w 491"/>
                  <a:gd name="T111" fmla="*/ 2147483646 h 458"/>
                  <a:gd name="T112" fmla="*/ 2147483646 w 491"/>
                  <a:gd name="T113" fmla="*/ 2147483646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91" h="458">
                    <a:moveTo>
                      <a:pt x="432" y="209"/>
                    </a:moveTo>
                    <a:cubicBezTo>
                      <a:pt x="434" y="209"/>
                      <a:pt x="436" y="208"/>
                      <a:pt x="438" y="208"/>
                    </a:cubicBezTo>
                    <a:cubicBezTo>
                      <a:pt x="469" y="204"/>
                      <a:pt x="491" y="176"/>
                      <a:pt x="487" y="145"/>
                    </a:cubicBezTo>
                    <a:cubicBezTo>
                      <a:pt x="482" y="114"/>
                      <a:pt x="454" y="93"/>
                      <a:pt x="424" y="97"/>
                    </a:cubicBezTo>
                    <a:cubicBezTo>
                      <a:pt x="415" y="98"/>
                      <a:pt x="407" y="101"/>
                      <a:pt x="400" y="106"/>
                    </a:cubicBezTo>
                    <a:cubicBezTo>
                      <a:pt x="405" y="97"/>
                      <a:pt x="408" y="87"/>
                      <a:pt x="406" y="76"/>
                    </a:cubicBezTo>
                    <a:cubicBezTo>
                      <a:pt x="403" y="51"/>
                      <a:pt x="380" y="33"/>
                      <a:pt x="355" y="36"/>
                    </a:cubicBezTo>
                    <a:cubicBezTo>
                      <a:pt x="341" y="38"/>
                      <a:pt x="329" y="46"/>
                      <a:pt x="322" y="57"/>
                    </a:cubicBezTo>
                    <a:cubicBezTo>
                      <a:pt x="323" y="52"/>
                      <a:pt x="324" y="46"/>
                      <a:pt x="323" y="40"/>
                    </a:cubicBezTo>
                    <a:cubicBezTo>
                      <a:pt x="320" y="16"/>
                      <a:pt x="299" y="0"/>
                      <a:pt x="275" y="3"/>
                    </a:cubicBezTo>
                    <a:cubicBezTo>
                      <a:pt x="256" y="6"/>
                      <a:pt x="242" y="20"/>
                      <a:pt x="239" y="38"/>
                    </a:cubicBezTo>
                    <a:cubicBezTo>
                      <a:pt x="236" y="20"/>
                      <a:pt x="220" y="5"/>
                      <a:pt x="200" y="3"/>
                    </a:cubicBezTo>
                    <a:cubicBezTo>
                      <a:pt x="177" y="1"/>
                      <a:pt x="157" y="19"/>
                      <a:pt x="155" y="42"/>
                    </a:cubicBezTo>
                    <a:cubicBezTo>
                      <a:pt x="155" y="49"/>
                      <a:pt x="155" y="54"/>
                      <a:pt x="157" y="60"/>
                    </a:cubicBezTo>
                    <a:cubicBezTo>
                      <a:pt x="150" y="49"/>
                      <a:pt x="138" y="42"/>
                      <a:pt x="123" y="41"/>
                    </a:cubicBezTo>
                    <a:cubicBezTo>
                      <a:pt x="98" y="39"/>
                      <a:pt x="76" y="58"/>
                      <a:pt x="74" y="83"/>
                    </a:cubicBezTo>
                    <a:cubicBezTo>
                      <a:pt x="73" y="93"/>
                      <a:pt x="76" y="102"/>
                      <a:pt x="80" y="110"/>
                    </a:cubicBezTo>
                    <a:cubicBezTo>
                      <a:pt x="75" y="107"/>
                      <a:pt x="68" y="106"/>
                      <a:pt x="62" y="105"/>
                    </a:cubicBezTo>
                    <a:cubicBezTo>
                      <a:pt x="31" y="103"/>
                      <a:pt x="4" y="126"/>
                      <a:pt x="2" y="157"/>
                    </a:cubicBezTo>
                    <a:cubicBezTo>
                      <a:pt x="0" y="188"/>
                      <a:pt x="23" y="215"/>
                      <a:pt x="54" y="217"/>
                    </a:cubicBezTo>
                    <a:cubicBezTo>
                      <a:pt x="55" y="217"/>
                      <a:pt x="55" y="217"/>
                      <a:pt x="56" y="217"/>
                    </a:cubicBezTo>
                    <a:cubicBezTo>
                      <a:pt x="29" y="225"/>
                      <a:pt x="9" y="248"/>
                      <a:pt x="7" y="278"/>
                    </a:cubicBezTo>
                    <a:cubicBezTo>
                      <a:pt x="4" y="315"/>
                      <a:pt x="32" y="347"/>
                      <a:pt x="69" y="350"/>
                    </a:cubicBezTo>
                    <a:cubicBezTo>
                      <a:pt x="86" y="351"/>
                      <a:pt x="103" y="346"/>
                      <a:pt x="115" y="336"/>
                    </a:cubicBezTo>
                    <a:cubicBezTo>
                      <a:pt x="107" y="347"/>
                      <a:pt x="102" y="361"/>
                      <a:pt x="101" y="375"/>
                    </a:cubicBezTo>
                    <a:cubicBezTo>
                      <a:pt x="98" y="417"/>
                      <a:pt x="129" y="452"/>
                      <a:pt x="170" y="455"/>
                    </a:cubicBezTo>
                    <a:cubicBezTo>
                      <a:pt x="209" y="458"/>
                      <a:pt x="243" y="430"/>
                      <a:pt x="249" y="392"/>
                    </a:cubicBezTo>
                    <a:cubicBezTo>
                      <a:pt x="256" y="431"/>
                      <a:pt x="293" y="458"/>
                      <a:pt x="333" y="453"/>
                    </a:cubicBezTo>
                    <a:cubicBezTo>
                      <a:pt x="373" y="447"/>
                      <a:pt x="402" y="410"/>
                      <a:pt x="397" y="369"/>
                    </a:cubicBezTo>
                    <a:cubicBezTo>
                      <a:pt x="395" y="354"/>
                      <a:pt x="389" y="341"/>
                      <a:pt x="380" y="331"/>
                    </a:cubicBezTo>
                    <a:cubicBezTo>
                      <a:pt x="393" y="340"/>
                      <a:pt x="410" y="344"/>
                      <a:pt x="427" y="342"/>
                    </a:cubicBezTo>
                    <a:cubicBezTo>
                      <a:pt x="464" y="337"/>
                      <a:pt x="490" y="303"/>
                      <a:pt x="485" y="266"/>
                    </a:cubicBezTo>
                    <a:cubicBezTo>
                      <a:pt x="481" y="237"/>
                      <a:pt x="459" y="214"/>
                      <a:pt x="432" y="209"/>
                    </a:cubicBezTo>
                    <a:close/>
                    <a:moveTo>
                      <a:pt x="440" y="176"/>
                    </a:moveTo>
                    <a:cubicBezTo>
                      <a:pt x="451" y="175"/>
                      <a:pt x="455" y="162"/>
                      <a:pt x="455" y="162"/>
                    </a:cubicBezTo>
                    <a:cubicBezTo>
                      <a:pt x="457" y="156"/>
                      <a:pt x="462" y="153"/>
                      <a:pt x="468" y="155"/>
                    </a:cubicBezTo>
                    <a:cubicBezTo>
                      <a:pt x="473" y="156"/>
                      <a:pt x="476" y="162"/>
                      <a:pt x="474" y="167"/>
                    </a:cubicBezTo>
                    <a:cubicBezTo>
                      <a:pt x="471" y="177"/>
                      <a:pt x="461" y="194"/>
                      <a:pt x="441" y="196"/>
                    </a:cubicBezTo>
                    <a:cubicBezTo>
                      <a:pt x="440" y="196"/>
                      <a:pt x="440" y="196"/>
                      <a:pt x="440" y="196"/>
                    </a:cubicBezTo>
                    <a:cubicBezTo>
                      <a:pt x="435" y="196"/>
                      <a:pt x="430" y="192"/>
                      <a:pt x="430" y="186"/>
                    </a:cubicBezTo>
                    <a:cubicBezTo>
                      <a:pt x="430" y="181"/>
                      <a:pt x="434" y="176"/>
                      <a:pt x="440" y="176"/>
                    </a:cubicBezTo>
                    <a:close/>
                    <a:moveTo>
                      <a:pt x="63" y="200"/>
                    </a:moveTo>
                    <a:cubicBezTo>
                      <a:pt x="62" y="200"/>
                      <a:pt x="62" y="200"/>
                      <a:pt x="62" y="200"/>
                    </a:cubicBezTo>
                    <a:cubicBezTo>
                      <a:pt x="57" y="200"/>
                      <a:pt x="52" y="196"/>
                      <a:pt x="52" y="190"/>
                    </a:cubicBezTo>
                    <a:cubicBezTo>
                      <a:pt x="52" y="185"/>
                      <a:pt x="56" y="180"/>
                      <a:pt x="62" y="180"/>
                    </a:cubicBezTo>
                    <a:cubicBezTo>
                      <a:pt x="73" y="179"/>
                      <a:pt x="77" y="166"/>
                      <a:pt x="77" y="166"/>
                    </a:cubicBezTo>
                    <a:cubicBezTo>
                      <a:pt x="79" y="160"/>
                      <a:pt x="84" y="157"/>
                      <a:pt x="90" y="159"/>
                    </a:cubicBezTo>
                    <a:cubicBezTo>
                      <a:pt x="95" y="160"/>
                      <a:pt x="98" y="166"/>
                      <a:pt x="96" y="171"/>
                    </a:cubicBezTo>
                    <a:cubicBezTo>
                      <a:pt x="93" y="181"/>
                      <a:pt x="83" y="198"/>
                      <a:pt x="63" y="200"/>
                    </a:cubicBezTo>
                    <a:close/>
                    <a:moveTo>
                      <a:pt x="114" y="315"/>
                    </a:moveTo>
                    <a:cubicBezTo>
                      <a:pt x="106" y="325"/>
                      <a:pt x="95" y="331"/>
                      <a:pt x="81" y="333"/>
                    </a:cubicBezTo>
                    <a:cubicBezTo>
                      <a:pt x="80" y="333"/>
                      <a:pt x="80" y="333"/>
                      <a:pt x="79" y="333"/>
                    </a:cubicBezTo>
                    <a:cubicBezTo>
                      <a:pt x="75" y="333"/>
                      <a:pt x="70" y="329"/>
                      <a:pt x="70" y="324"/>
                    </a:cubicBezTo>
                    <a:cubicBezTo>
                      <a:pt x="69" y="319"/>
                      <a:pt x="73" y="314"/>
                      <a:pt x="78" y="313"/>
                    </a:cubicBezTo>
                    <a:cubicBezTo>
                      <a:pt x="90" y="311"/>
                      <a:pt x="97" y="307"/>
                      <a:pt x="100" y="299"/>
                    </a:cubicBezTo>
                    <a:cubicBezTo>
                      <a:pt x="103" y="293"/>
                      <a:pt x="102" y="286"/>
                      <a:pt x="102" y="286"/>
                    </a:cubicBezTo>
                    <a:cubicBezTo>
                      <a:pt x="101" y="281"/>
                      <a:pt x="105" y="276"/>
                      <a:pt x="110" y="275"/>
                    </a:cubicBezTo>
                    <a:cubicBezTo>
                      <a:pt x="115" y="274"/>
                      <a:pt x="121" y="278"/>
                      <a:pt x="121" y="283"/>
                    </a:cubicBezTo>
                    <a:cubicBezTo>
                      <a:pt x="122" y="285"/>
                      <a:pt x="124" y="301"/>
                      <a:pt x="114" y="315"/>
                    </a:cubicBezTo>
                    <a:close/>
                    <a:moveTo>
                      <a:pt x="212" y="411"/>
                    </a:moveTo>
                    <a:cubicBezTo>
                      <a:pt x="202" y="424"/>
                      <a:pt x="187" y="433"/>
                      <a:pt x="166" y="436"/>
                    </a:cubicBezTo>
                    <a:cubicBezTo>
                      <a:pt x="166" y="436"/>
                      <a:pt x="165" y="436"/>
                      <a:pt x="165" y="436"/>
                    </a:cubicBezTo>
                    <a:cubicBezTo>
                      <a:pt x="160" y="436"/>
                      <a:pt x="156" y="432"/>
                      <a:pt x="155" y="427"/>
                    </a:cubicBezTo>
                    <a:cubicBezTo>
                      <a:pt x="154" y="422"/>
                      <a:pt x="158" y="417"/>
                      <a:pt x="163" y="416"/>
                    </a:cubicBezTo>
                    <a:cubicBezTo>
                      <a:pt x="178" y="414"/>
                      <a:pt x="189" y="408"/>
                      <a:pt x="196" y="399"/>
                    </a:cubicBezTo>
                    <a:cubicBezTo>
                      <a:pt x="205" y="386"/>
                      <a:pt x="203" y="370"/>
                      <a:pt x="203" y="370"/>
                    </a:cubicBezTo>
                    <a:cubicBezTo>
                      <a:pt x="202" y="364"/>
                      <a:pt x="206" y="359"/>
                      <a:pt x="211" y="359"/>
                    </a:cubicBezTo>
                    <a:cubicBezTo>
                      <a:pt x="217" y="358"/>
                      <a:pt x="222" y="361"/>
                      <a:pt x="223" y="367"/>
                    </a:cubicBezTo>
                    <a:cubicBezTo>
                      <a:pt x="223" y="368"/>
                      <a:pt x="226" y="391"/>
                      <a:pt x="212" y="411"/>
                    </a:cubicBezTo>
                    <a:close/>
                    <a:moveTo>
                      <a:pt x="366" y="415"/>
                    </a:moveTo>
                    <a:cubicBezTo>
                      <a:pt x="356" y="428"/>
                      <a:pt x="341" y="437"/>
                      <a:pt x="320" y="440"/>
                    </a:cubicBezTo>
                    <a:cubicBezTo>
                      <a:pt x="320" y="440"/>
                      <a:pt x="319" y="440"/>
                      <a:pt x="319" y="440"/>
                    </a:cubicBezTo>
                    <a:cubicBezTo>
                      <a:pt x="314" y="440"/>
                      <a:pt x="310" y="436"/>
                      <a:pt x="309" y="431"/>
                    </a:cubicBezTo>
                    <a:cubicBezTo>
                      <a:pt x="308" y="426"/>
                      <a:pt x="312" y="421"/>
                      <a:pt x="317" y="420"/>
                    </a:cubicBezTo>
                    <a:cubicBezTo>
                      <a:pt x="332" y="418"/>
                      <a:pt x="343" y="412"/>
                      <a:pt x="350" y="403"/>
                    </a:cubicBezTo>
                    <a:cubicBezTo>
                      <a:pt x="359" y="390"/>
                      <a:pt x="357" y="374"/>
                      <a:pt x="357" y="374"/>
                    </a:cubicBezTo>
                    <a:cubicBezTo>
                      <a:pt x="356" y="368"/>
                      <a:pt x="360" y="363"/>
                      <a:pt x="365" y="363"/>
                    </a:cubicBezTo>
                    <a:cubicBezTo>
                      <a:pt x="371" y="362"/>
                      <a:pt x="376" y="365"/>
                      <a:pt x="377" y="371"/>
                    </a:cubicBezTo>
                    <a:cubicBezTo>
                      <a:pt x="377" y="372"/>
                      <a:pt x="380" y="395"/>
                      <a:pt x="366" y="415"/>
                    </a:cubicBezTo>
                    <a:close/>
                    <a:moveTo>
                      <a:pt x="351" y="283"/>
                    </a:moveTo>
                    <a:cubicBezTo>
                      <a:pt x="353" y="296"/>
                      <a:pt x="358" y="308"/>
                      <a:pt x="366" y="317"/>
                    </a:cubicBezTo>
                    <a:cubicBezTo>
                      <a:pt x="351" y="307"/>
                      <a:pt x="332" y="302"/>
                      <a:pt x="313" y="304"/>
                    </a:cubicBezTo>
                    <a:cubicBezTo>
                      <a:pt x="279" y="309"/>
                      <a:pt x="254" y="335"/>
                      <a:pt x="249" y="367"/>
                    </a:cubicBezTo>
                    <a:cubicBezTo>
                      <a:pt x="243" y="335"/>
                      <a:pt x="215" y="309"/>
                      <a:pt x="181" y="306"/>
                    </a:cubicBezTo>
                    <a:cubicBezTo>
                      <a:pt x="161" y="305"/>
                      <a:pt x="143" y="311"/>
                      <a:pt x="129" y="322"/>
                    </a:cubicBezTo>
                    <a:cubicBezTo>
                      <a:pt x="136" y="312"/>
                      <a:pt x="141" y="300"/>
                      <a:pt x="142" y="287"/>
                    </a:cubicBezTo>
                    <a:cubicBezTo>
                      <a:pt x="144" y="250"/>
                      <a:pt x="116" y="218"/>
                      <a:pt x="79" y="215"/>
                    </a:cubicBezTo>
                    <a:cubicBezTo>
                      <a:pt x="77" y="215"/>
                      <a:pt x="76" y="215"/>
                      <a:pt x="74" y="215"/>
                    </a:cubicBezTo>
                    <a:cubicBezTo>
                      <a:pt x="96" y="208"/>
                      <a:pt x="112" y="189"/>
                      <a:pt x="114" y="165"/>
                    </a:cubicBezTo>
                    <a:cubicBezTo>
                      <a:pt x="115" y="152"/>
                      <a:pt x="111" y="140"/>
                      <a:pt x="105" y="130"/>
                    </a:cubicBezTo>
                    <a:cubicBezTo>
                      <a:pt x="108" y="131"/>
                      <a:pt x="112" y="132"/>
                      <a:pt x="117" y="133"/>
                    </a:cubicBezTo>
                    <a:cubicBezTo>
                      <a:pt x="142" y="135"/>
                      <a:pt x="164" y="115"/>
                      <a:pt x="166" y="90"/>
                    </a:cubicBezTo>
                    <a:cubicBezTo>
                      <a:pt x="166" y="83"/>
                      <a:pt x="165" y="77"/>
                      <a:pt x="163" y="71"/>
                    </a:cubicBezTo>
                    <a:cubicBezTo>
                      <a:pt x="170" y="80"/>
                      <a:pt x="181" y="87"/>
                      <a:pt x="194" y="88"/>
                    </a:cubicBezTo>
                    <a:cubicBezTo>
                      <a:pt x="216" y="89"/>
                      <a:pt x="236" y="74"/>
                      <a:pt x="239" y="52"/>
                    </a:cubicBezTo>
                    <a:cubicBezTo>
                      <a:pt x="243" y="75"/>
                      <a:pt x="264" y="90"/>
                      <a:pt x="287" y="87"/>
                    </a:cubicBezTo>
                    <a:cubicBezTo>
                      <a:pt x="299" y="86"/>
                      <a:pt x="310" y="78"/>
                      <a:pt x="317" y="68"/>
                    </a:cubicBezTo>
                    <a:cubicBezTo>
                      <a:pt x="315" y="74"/>
                      <a:pt x="314" y="81"/>
                      <a:pt x="315" y="88"/>
                    </a:cubicBezTo>
                    <a:cubicBezTo>
                      <a:pt x="318" y="113"/>
                      <a:pt x="341" y="131"/>
                      <a:pt x="367" y="128"/>
                    </a:cubicBezTo>
                    <a:cubicBezTo>
                      <a:pt x="373" y="127"/>
                      <a:pt x="379" y="125"/>
                      <a:pt x="384" y="121"/>
                    </a:cubicBezTo>
                    <a:cubicBezTo>
                      <a:pt x="377" y="132"/>
                      <a:pt x="373" y="146"/>
                      <a:pt x="375" y="160"/>
                    </a:cubicBezTo>
                    <a:cubicBezTo>
                      <a:pt x="378" y="184"/>
                      <a:pt x="396" y="202"/>
                      <a:pt x="418" y="207"/>
                    </a:cubicBezTo>
                    <a:cubicBezTo>
                      <a:pt x="415" y="207"/>
                      <a:pt x="412" y="207"/>
                      <a:pt x="409" y="208"/>
                    </a:cubicBezTo>
                    <a:cubicBezTo>
                      <a:pt x="372" y="212"/>
                      <a:pt x="346" y="246"/>
                      <a:pt x="351" y="283"/>
                    </a:cubicBezTo>
                    <a:close/>
                    <a:moveTo>
                      <a:pt x="457" y="306"/>
                    </a:moveTo>
                    <a:cubicBezTo>
                      <a:pt x="450" y="316"/>
                      <a:pt x="439" y="322"/>
                      <a:pt x="424" y="324"/>
                    </a:cubicBezTo>
                    <a:cubicBezTo>
                      <a:pt x="424" y="324"/>
                      <a:pt x="423" y="324"/>
                      <a:pt x="423" y="324"/>
                    </a:cubicBezTo>
                    <a:cubicBezTo>
                      <a:pt x="418" y="324"/>
                      <a:pt x="414" y="320"/>
                      <a:pt x="413" y="315"/>
                    </a:cubicBezTo>
                    <a:cubicBezTo>
                      <a:pt x="412" y="310"/>
                      <a:pt x="416" y="305"/>
                      <a:pt x="421" y="304"/>
                    </a:cubicBezTo>
                    <a:cubicBezTo>
                      <a:pt x="433" y="302"/>
                      <a:pt x="440" y="297"/>
                      <a:pt x="443" y="290"/>
                    </a:cubicBezTo>
                    <a:cubicBezTo>
                      <a:pt x="446" y="283"/>
                      <a:pt x="445" y="277"/>
                      <a:pt x="445" y="277"/>
                    </a:cubicBezTo>
                    <a:cubicBezTo>
                      <a:pt x="444" y="271"/>
                      <a:pt x="448" y="266"/>
                      <a:pt x="453" y="265"/>
                    </a:cubicBezTo>
                    <a:cubicBezTo>
                      <a:pt x="459" y="265"/>
                      <a:pt x="464" y="268"/>
                      <a:pt x="465" y="274"/>
                    </a:cubicBezTo>
                    <a:cubicBezTo>
                      <a:pt x="465" y="276"/>
                      <a:pt x="467" y="292"/>
                      <a:pt x="457" y="30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780" name="组合 238"/>
            <p:cNvGrpSpPr/>
            <p:nvPr/>
          </p:nvGrpSpPr>
          <p:grpSpPr bwMode="auto">
            <a:xfrm>
              <a:off x="6475444" y="3988927"/>
              <a:ext cx="348505" cy="346505"/>
              <a:chOff x="7129657" y="-1531645"/>
              <a:chExt cx="564454" cy="561216"/>
            </a:xfrm>
          </p:grpSpPr>
          <p:sp>
            <p:nvSpPr>
              <p:cNvPr id="240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84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5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6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7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8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9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90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48" name="Freeform 128"/>
              <p:cNvSpPr/>
              <p:nvPr/>
            </p:nvSpPr>
            <p:spPr bwMode="auto">
              <a:xfrm>
                <a:off x="7315409" y="-1248650"/>
                <a:ext cx="190380" cy="9253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92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6" name="组合 5"/>
          <p:cNvGrpSpPr/>
          <p:nvPr/>
        </p:nvGrpSpPr>
        <p:grpSpPr bwMode="auto">
          <a:xfrm>
            <a:off x="7548563" y="2144713"/>
            <a:ext cx="1416050" cy="833437"/>
            <a:chOff x="7549110" y="2144766"/>
            <a:chExt cx="1415378" cy="834074"/>
          </a:xfrm>
        </p:grpSpPr>
        <p:sp>
          <p:nvSpPr>
            <p:cNvPr id="34" name="Rectangle 17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7549110" y="2144766"/>
              <a:ext cx="1415378" cy="834074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26752" name="组合 129"/>
            <p:cNvGrpSpPr/>
            <p:nvPr/>
          </p:nvGrpSpPr>
          <p:grpSpPr bwMode="auto">
            <a:xfrm>
              <a:off x="7621110" y="2261666"/>
              <a:ext cx="560725" cy="560725"/>
              <a:chOff x="9790112" y="-6069013"/>
              <a:chExt cx="2576513" cy="2576513"/>
            </a:xfrm>
          </p:grpSpPr>
          <p:sp>
            <p:nvSpPr>
              <p:cNvPr id="26766" name="Freeform 96"/>
              <p:cNvSpPr/>
              <p:nvPr/>
            </p:nvSpPr>
            <p:spPr bwMode="auto">
              <a:xfrm>
                <a:off x="9790112" y="-6069013"/>
                <a:ext cx="2576513" cy="2576513"/>
              </a:xfrm>
              <a:custGeom>
                <a:avLst/>
                <a:gdLst>
                  <a:gd name="T0" fmla="*/ 0 w 687"/>
                  <a:gd name="T1" fmla="*/ 2147483646 h 687"/>
                  <a:gd name="T2" fmla="*/ 2147483646 w 687"/>
                  <a:gd name="T3" fmla="*/ 2147483646 h 687"/>
                  <a:gd name="T4" fmla="*/ 2147483646 w 687"/>
                  <a:gd name="T5" fmla="*/ 2147483646 h 687"/>
                  <a:gd name="T6" fmla="*/ 2147483646 w 687"/>
                  <a:gd name="T7" fmla="*/ 2147483646 h 687"/>
                  <a:gd name="T8" fmla="*/ 2147483646 w 687"/>
                  <a:gd name="T9" fmla="*/ 2147483646 h 687"/>
                  <a:gd name="T10" fmla="*/ 2147483646 w 687"/>
                  <a:gd name="T11" fmla="*/ 0 h 687"/>
                  <a:gd name="T12" fmla="*/ 2147483646 w 687"/>
                  <a:gd name="T13" fmla="*/ 0 h 687"/>
                  <a:gd name="T14" fmla="*/ 0 w 687"/>
                  <a:gd name="T15" fmla="*/ 2147483646 h 687"/>
                  <a:gd name="T16" fmla="*/ 0 w 687"/>
                  <a:gd name="T17" fmla="*/ 2147483646 h 68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A45B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291" name="Freeform 97"/>
              <p:cNvSpPr/>
              <p:nvPr/>
            </p:nvSpPr>
            <p:spPr bwMode="auto">
              <a:xfrm>
                <a:off x="9787370" y="-6065960"/>
                <a:ext cx="2581032" cy="2576927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68" name="Freeform 98"/>
              <p:cNvSpPr/>
              <p:nvPr/>
            </p:nvSpPr>
            <p:spPr bwMode="auto">
              <a:xfrm>
                <a:off x="10153650" y="-5537200"/>
                <a:ext cx="2212975" cy="2044700"/>
              </a:xfrm>
              <a:custGeom>
                <a:avLst/>
                <a:gdLst>
                  <a:gd name="T0" fmla="*/ 2147483646 w 590"/>
                  <a:gd name="T1" fmla="*/ 2147483646 h 545"/>
                  <a:gd name="T2" fmla="*/ 2147483646 w 590"/>
                  <a:gd name="T3" fmla="*/ 2147483646 h 545"/>
                  <a:gd name="T4" fmla="*/ 2147483646 w 590"/>
                  <a:gd name="T5" fmla="*/ 0 h 545"/>
                  <a:gd name="T6" fmla="*/ 2147483646 w 590"/>
                  <a:gd name="T7" fmla="*/ 2147483646 h 545"/>
                  <a:gd name="T8" fmla="*/ 2147483646 w 590"/>
                  <a:gd name="T9" fmla="*/ 2147483646 h 545"/>
                  <a:gd name="T10" fmla="*/ 2147483646 w 590"/>
                  <a:gd name="T11" fmla="*/ 2147483646 h 545"/>
                  <a:gd name="T12" fmla="*/ 2147483646 w 590"/>
                  <a:gd name="T13" fmla="*/ 2147483646 h 545"/>
                  <a:gd name="T14" fmla="*/ 2147483646 w 590"/>
                  <a:gd name="T15" fmla="*/ 2147483646 h 545"/>
                  <a:gd name="T16" fmla="*/ 2147483646 w 590"/>
                  <a:gd name="T17" fmla="*/ 2147483646 h 545"/>
                  <a:gd name="T18" fmla="*/ 2147483646 w 590"/>
                  <a:gd name="T19" fmla="*/ 2147483646 h 545"/>
                  <a:gd name="T20" fmla="*/ 2147483646 w 590"/>
                  <a:gd name="T21" fmla="*/ 2147483646 h 545"/>
                  <a:gd name="T22" fmla="*/ 0 w 590"/>
                  <a:gd name="T23" fmla="*/ 2147483646 h 545"/>
                  <a:gd name="T24" fmla="*/ 2147483646 w 590"/>
                  <a:gd name="T25" fmla="*/ 2147483646 h 545"/>
                  <a:gd name="T26" fmla="*/ 2147483646 w 590"/>
                  <a:gd name="T27" fmla="*/ 2147483646 h 545"/>
                  <a:gd name="T28" fmla="*/ 2147483646 w 590"/>
                  <a:gd name="T29" fmla="*/ 2147483646 h 545"/>
                  <a:gd name="T30" fmla="*/ 2147483646 w 590"/>
                  <a:gd name="T31" fmla="*/ 2147483646 h 545"/>
                  <a:gd name="T32" fmla="*/ 2147483646 w 590"/>
                  <a:gd name="T33" fmla="*/ 2147483646 h 54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90" h="545">
                    <a:moveTo>
                      <a:pt x="389" y="55"/>
                    </a:moveTo>
                    <a:cubicBezTo>
                      <a:pt x="363" y="80"/>
                      <a:pt x="363" y="80"/>
                      <a:pt x="363" y="80"/>
                    </a:cubicBezTo>
                    <a:cubicBezTo>
                      <a:pt x="283" y="0"/>
                      <a:pt x="283" y="0"/>
                      <a:pt x="283" y="0"/>
                    </a:cubicBezTo>
                    <a:cubicBezTo>
                      <a:pt x="222" y="20"/>
                      <a:pt x="222" y="20"/>
                      <a:pt x="222" y="20"/>
                    </a:cubicBezTo>
                    <a:cubicBezTo>
                      <a:pt x="192" y="53"/>
                      <a:pt x="192" y="53"/>
                      <a:pt x="192" y="53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137" y="117"/>
                      <a:pt x="137" y="117"/>
                      <a:pt x="137" y="117"/>
                    </a:cubicBezTo>
                    <a:cubicBezTo>
                      <a:pt x="101" y="156"/>
                      <a:pt x="101" y="156"/>
                      <a:pt x="101" y="156"/>
                    </a:cubicBezTo>
                    <a:cubicBezTo>
                      <a:pt x="83" y="139"/>
                      <a:pt x="83" y="139"/>
                      <a:pt x="83" y="139"/>
                    </a:cubicBezTo>
                    <a:cubicBezTo>
                      <a:pt x="83" y="139"/>
                      <a:pt x="10" y="230"/>
                      <a:pt x="9" y="229"/>
                    </a:cubicBezTo>
                    <a:cubicBezTo>
                      <a:pt x="9" y="229"/>
                      <a:pt x="33" y="255"/>
                      <a:pt x="70" y="294"/>
                    </a:cubicBezTo>
                    <a:cubicBezTo>
                      <a:pt x="0" y="364"/>
                      <a:pt x="0" y="364"/>
                      <a:pt x="0" y="364"/>
                    </a:cubicBezTo>
                    <a:cubicBezTo>
                      <a:pt x="180" y="545"/>
                      <a:pt x="180" y="545"/>
                      <a:pt x="180" y="545"/>
                    </a:cubicBezTo>
                    <a:cubicBezTo>
                      <a:pt x="528" y="545"/>
                      <a:pt x="528" y="545"/>
                      <a:pt x="528" y="545"/>
                    </a:cubicBezTo>
                    <a:cubicBezTo>
                      <a:pt x="562" y="545"/>
                      <a:pt x="590" y="517"/>
                      <a:pt x="590" y="482"/>
                    </a:cubicBezTo>
                    <a:cubicBezTo>
                      <a:pt x="590" y="256"/>
                      <a:pt x="590" y="256"/>
                      <a:pt x="590" y="256"/>
                    </a:cubicBezTo>
                    <a:lnTo>
                      <a:pt x="389" y="55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9" name="Freeform 99"/>
              <p:cNvSpPr/>
              <p:nvPr/>
            </p:nvSpPr>
            <p:spPr bwMode="auto">
              <a:xfrm>
                <a:off x="10536237" y="-5334000"/>
                <a:ext cx="1092200" cy="123825"/>
              </a:xfrm>
              <a:custGeom>
                <a:avLst/>
                <a:gdLst>
                  <a:gd name="T0" fmla="*/ 2147483646 w 291"/>
                  <a:gd name="T1" fmla="*/ 2147483646 h 33"/>
                  <a:gd name="T2" fmla="*/ 2147483646 w 291"/>
                  <a:gd name="T3" fmla="*/ 2147483646 h 33"/>
                  <a:gd name="T4" fmla="*/ 2147483646 w 291"/>
                  <a:gd name="T5" fmla="*/ 2147483646 h 33"/>
                  <a:gd name="T6" fmla="*/ 0 w 291"/>
                  <a:gd name="T7" fmla="*/ 2147483646 h 33"/>
                  <a:gd name="T8" fmla="*/ 0 w 291"/>
                  <a:gd name="T9" fmla="*/ 2147483646 h 33"/>
                  <a:gd name="T10" fmla="*/ 2147483646 w 291"/>
                  <a:gd name="T11" fmla="*/ 0 h 33"/>
                  <a:gd name="T12" fmla="*/ 2147483646 w 291"/>
                  <a:gd name="T13" fmla="*/ 0 h 33"/>
                  <a:gd name="T14" fmla="*/ 2147483646 w 291"/>
                  <a:gd name="T15" fmla="*/ 2147483646 h 33"/>
                  <a:gd name="T16" fmla="*/ 2147483646 w 291"/>
                  <a:gd name="T17" fmla="*/ 2147483646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1" h="33">
                    <a:moveTo>
                      <a:pt x="291" y="25"/>
                    </a:moveTo>
                    <a:cubicBezTo>
                      <a:pt x="291" y="29"/>
                      <a:pt x="288" y="33"/>
                      <a:pt x="284" y="33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3" y="33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288" y="0"/>
                      <a:pt x="291" y="3"/>
                      <a:pt x="291" y="7"/>
                    </a:cubicBezTo>
                    <a:lnTo>
                      <a:pt x="291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0" name="Freeform 100"/>
              <p:cNvSpPr/>
              <p:nvPr/>
            </p:nvSpPr>
            <p:spPr bwMode="auto">
              <a:xfrm>
                <a:off x="10506075" y="-5116513"/>
                <a:ext cx="228600" cy="228600"/>
              </a:xfrm>
              <a:custGeom>
                <a:avLst/>
                <a:gdLst>
                  <a:gd name="T0" fmla="*/ 2147483646 w 61"/>
                  <a:gd name="T1" fmla="*/ 2147483646 h 61"/>
                  <a:gd name="T2" fmla="*/ 2147483646 w 61"/>
                  <a:gd name="T3" fmla="*/ 2147483646 h 61"/>
                  <a:gd name="T4" fmla="*/ 2147483646 w 61"/>
                  <a:gd name="T5" fmla="*/ 2147483646 h 61"/>
                  <a:gd name="T6" fmla="*/ 2147483646 w 61"/>
                  <a:gd name="T7" fmla="*/ 2147483646 h 61"/>
                  <a:gd name="T8" fmla="*/ 2147483646 w 61"/>
                  <a:gd name="T9" fmla="*/ 2147483646 h 61"/>
                  <a:gd name="T10" fmla="*/ 2147483646 w 61"/>
                  <a:gd name="T11" fmla="*/ 2147483646 h 61"/>
                  <a:gd name="T12" fmla="*/ 2147483646 w 61"/>
                  <a:gd name="T13" fmla="*/ 0 h 61"/>
                  <a:gd name="T14" fmla="*/ 0 w 61"/>
                  <a:gd name="T15" fmla="*/ 2147483646 h 61"/>
                  <a:gd name="T16" fmla="*/ 2147483646 w 61"/>
                  <a:gd name="T17" fmla="*/ 2147483646 h 6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1" h="61">
                    <a:moveTo>
                      <a:pt x="26" y="61"/>
                    </a:moveTo>
                    <a:cubicBezTo>
                      <a:pt x="26" y="56"/>
                      <a:pt x="26" y="52"/>
                      <a:pt x="26" y="47"/>
                    </a:cubicBezTo>
                    <a:cubicBezTo>
                      <a:pt x="26" y="41"/>
                      <a:pt x="30" y="37"/>
                      <a:pt x="35" y="37"/>
                    </a:cubicBezTo>
                    <a:cubicBezTo>
                      <a:pt x="41" y="37"/>
                      <a:pt x="45" y="41"/>
                      <a:pt x="45" y="47"/>
                    </a:cubicBezTo>
                    <a:cubicBezTo>
                      <a:pt x="45" y="50"/>
                      <a:pt x="45" y="54"/>
                      <a:pt x="45" y="57"/>
                    </a:cubicBezTo>
                    <a:cubicBezTo>
                      <a:pt x="54" y="52"/>
                      <a:pt x="61" y="42"/>
                      <a:pt x="61" y="31"/>
                    </a:cubicBezTo>
                    <a:cubicBezTo>
                      <a:pt x="61" y="14"/>
                      <a:pt x="47" y="0"/>
                      <a:pt x="30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46"/>
                      <a:pt x="11" y="58"/>
                      <a:pt x="26" y="6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1" name="Freeform 101"/>
              <p:cNvSpPr/>
              <p:nvPr/>
            </p:nvSpPr>
            <p:spPr bwMode="auto">
              <a:xfrm>
                <a:off x="10679112" y="-5146675"/>
                <a:ext cx="839788" cy="825500"/>
              </a:xfrm>
              <a:custGeom>
                <a:avLst/>
                <a:gdLst>
                  <a:gd name="T0" fmla="*/ 2147483646 w 224"/>
                  <a:gd name="T1" fmla="*/ 2147483646 h 220"/>
                  <a:gd name="T2" fmla="*/ 2147483646 w 224"/>
                  <a:gd name="T3" fmla="*/ 2147483646 h 220"/>
                  <a:gd name="T4" fmla="*/ 2147483646 w 224"/>
                  <a:gd name="T5" fmla="*/ 2147483646 h 220"/>
                  <a:gd name="T6" fmla="*/ 2147483646 w 224"/>
                  <a:gd name="T7" fmla="*/ 0 h 220"/>
                  <a:gd name="T8" fmla="*/ 2147483646 w 224"/>
                  <a:gd name="T9" fmla="*/ 0 h 220"/>
                  <a:gd name="T10" fmla="*/ 2147483646 w 224"/>
                  <a:gd name="T11" fmla="*/ 2147483646 h 220"/>
                  <a:gd name="T12" fmla="*/ 0 w 224"/>
                  <a:gd name="T13" fmla="*/ 2147483646 h 220"/>
                  <a:gd name="T14" fmla="*/ 2147483646 w 224"/>
                  <a:gd name="T15" fmla="*/ 2147483646 h 2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4" h="220">
                    <a:moveTo>
                      <a:pt x="112" y="220"/>
                    </a:moveTo>
                    <a:cubicBezTo>
                      <a:pt x="169" y="220"/>
                      <a:pt x="216" y="159"/>
                      <a:pt x="224" y="80"/>
                    </a:cubicBezTo>
                    <a:cubicBezTo>
                      <a:pt x="204" y="78"/>
                      <a:pt x="188" y="60"/>
                      <a:pt x="188" y="39"/>
                    </a:cubicBezTo>
                    <a:cubicBezTo>
                      <a:pt x="188" y="21"/>
                      <a:pt x="198" y="7"/>
                      <a:pt x="21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6" y="7"/>
                      <a:pt x="26" y="21"/>
                      <a:pt x="26" y="39"/>
                    </a:cubicBezTo>
                    <a:cubicBezTo>
                      <a:pt x="26" y="56"/>
                      <a:pt x="15" y="71"/>
                      <a:pt x="0" y="77"/>
                    </a:cubicBezTo>
                    <a:cubicBezTo>
                      <a:pt x="7" y="158"/>
                      <a:pt x="55" y="220"/>
                      <a:pt x="112" y="2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2" name="Freeform 102"/>
              <p:cNvSpPr/>
              <p:nvPr/>
            </p:nvSpPr>
            <p:spPr bwMode="auto">
              <a:xfrm>
                <a:off x="10056812" y="-5014913"/>
                <a:ext cx="2043113" cy="1016000"/>
              </a:xfrm>
              <a:custGeom>
                <a:avLst/>
                <a:gdLst>
                  <a:gd name="T0" fmla="*/ 2147483646 w 545"/>
                  <a:gd name="T1" fmla="*/ 0 h 271"/>
                  <a:gd name="T2" fmla="*/ 2147483646 w 545"/>
                  <a:gd name="T3" fmla="*/ 2147483646 h 271"/>
                  <a:gd name="T4" fmla="*/ 2147483646 w 545"/>
                  <a:gd name="T5" fmla="*/ 2147483646 h 271"/>
                  <a:gd name="T6" fmla="*/ 2147483646 w 545"/>
                  <a:gd name="T7" fmla="*/ 2147483646 h 271"/>
                  <a:gd name="T8" fmla="*/ 2147483646 w 545"/>
                  <a:gd name="T9" fmla="*/ 2147483646 h 271"/>
                  <a:gd name="T10" fmla="*/ 2147483646 w 545"/>
                  <a:gd name="T11" fmla="*/ 2147483646 h 271"/>
                  <a:gd name="T12" fmla="*/ 2147483646 w 545"/>
                  <a:gd name="T13" fmla="*/ 0 h 271"/>
                  <a:gd name="T14" fmla="*/ 0 w 545"/>
                  <a:gd name="T15" fmla="*/ 2147483646 h 271"/>
                  <a:gd name="T16" fmla="*/ 2147483646 w 545"/>
                  <a:gd name="T17" fmla="*/ 2147483646 h 271"/>
                  <a:gd name="T18" fmla="*/ 2147483646 w 545"/>
                  <a:gd name="T19" fmla="*/ 2147483646 h 271"/>
                  <a:gd name="T20" fmla="*/ 2147483646 w 545"/>
                  <a:gd name="T21" fmla="*/ 2147483646 h 271"/>
                  <a:gd name="T22" fmla="*/ 2147483646 w 545"/>
                  <a:gd name="T23" fmla="*/ 0 h 27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45" h="271">
                    <a:moveTo>
                      <a:pt x="437" y="0"/>
                    </a:moveTo>
                    <a:cubicBezTo>
                      <a:pt x="437" y="1"/>
                      <a:pt x="437" y="2"/>
                      <a:pt x="437" y="4"/>
                    </a:cubicBezTo>
                    <a:cubicBezTo>
                      <a:pt x="437" y="21"/>
                      <a:pt x="426" y="37"/>
                      <a:pt x="410" y="43"/>
                    </a:cubicBezTo>
                    <a:cubicBezTo>
                      <a:pt x="402" y="134"/>
                      <a:pt x="346" y="206"/>
                      <a:pt x="278" y="206"/>
                    </a:cubicBezTo>
                    <a:cubicBezTo>
                      <a:pt x="211" y="206"/>
                      <a:pt x="156" y="136"/>
                      <a:pt x="147" y="45"/>
                    </a:cubicBezTo>
                    <a:cubicBezTo>
                      <a:pt x="125" y="43"/>
                      <a:pt x="109" y="25"/>
                      <a:pt x="109" y="4"/>
                    </a:cubicBezTo>
                    <a:cubicBezTo>
                      <a:pt x="109" y="2"/>
                      <a:pt x="109" y="1"/>
                      <a:pt x="109" y="0"/>
                    </a:cubicBezTo>
                    <a:cubicBezTo>
                      <a:pt x="67" y="44"/>
                      <a:pt x="0" y="119"/>
                      <a:pt x="0" y="161"/>
                    </a:cubicBezTo>
                    <a:cubicBezTo>
                      <a:pt x="0" y="214"/>
                      <a:pt x="51" y="267"/>
                      <a:pt x="107" y="271"/>
                    </a:cubicBezTo>
                    <a:cubicBezTo>
                      <a:pt x="439" y="271"/>
                      <a:pt x="439" y="271"/>
                      <a:pt x="439" y="271"/>
                    </a:cubicBezTo>
                    <a:cubicBezTo>
                      <a:pt x="494" y="267"/>
                      <a:pt x="545" y="214"/>
                      <a:pt x="545" y="161"/>
                    </a:cubicBezTo>
                    <a:cubicBezTo>
                      <a:pt x="545" y="119"/>
                      <a:pt x="479" y="44"/>
                      <a:pt x="43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3" name="Freeform 103"/>
              <p:cNvSpPr/>
              <p:nvPr/>
            </p:nvSpPr>
            <p:spPr bwMode="auto">
              <a:xfrm>
                <a:off x="11425237" y="-5116513"/>
                <a:ext cx="228600" cy="228600"/>
              </a:xfrm>
              <a:custGeom>
                <a:avLst/>
                <a:gdLst>
                  <a:gd name="T0" fmla="*/ 2147483646 w 61"/>
                  <a:gd name="T1" fmla="*/ 2147483646 h 61"/>
                  <a:gd name="T2" fmla="*/ 2147483646 w 61"/>
                  <a:gd name="T3" fmla="*/ 0 h 61"/>
                  <a:gd name="T4" fmla="*/ 0 w 61"/>
                  <a:gd name="T5" fmla="*/ 2147483646 h 61"/>
                  <a:gd name="T6" fmla="*/ 2147483646 w 61"/>
                  <a:gd name="T7" fmla="*/ 2147483646 h 61"/>
                  <a:gd name="T8" fmla="*/ 2147483646 w 61"/>
                  <a:gd name="T9" fmla="*/ 2147483646 h 61"/>
                  <a:gd name="T10" fmla="*/ 2147483646 w 61"/>
                  <a:gd name="T11" fmla="*/ 2147483646 h 61"/>
                  <a:gd name="T12" fmla="*/ 2147483646 w 61"/>
                  <a:gd name="T13" fmla="*/ 2147483646 h 61"/>
                  <a:gd name="T14" fmla="*/ 2147483646 w 61"/>
                  <a:gd name="T15" fmla="*/ 2147483646 h 61"/>
                  <a:gd name="T16" fmla="*/ 2147483646 w 61"/>
                  <a:gd name="T17" fmla="*/ 2147483646 h 6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1" h="61">
                    <a:moveTo>
                      <a:pt x="61" y="31"/>
                    </a:moveTo>
                    <a:cubicBezTo>
                      <a:pt x="61" y="14"/>
                      <a:pt x="47" y="0"/>
                      <a:pt x="30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46"/>
                      <a:pt x="11" y="59"/>
                      <a:pt x="26" y="61"/>
                    </a:cubicBezTo>
                    <a:cubicBezTo>
                      <a:pt x="26" y="56"/>
                      <a:pt x="27" y="52"/>
                      <a:pt x="27" y="47"/>
                    </a:cubicBezTo>
                    <a:cubicBezTo>
                      <a:pt x="27" y="41"/>
                      <a:pt x="31" y="37"/>
                      <a:pt x="36" y="37"/>
                    </a:cubicBezTo>
                    <a:cubicBezTo>
                      <a:pt x="42" y="37"/>
                      <a:pt x="46" y="41"/>
                      <a:pt x="46" y="47"/>
                    </a:cubicBezTo>
                    <a:cubicBezTo>
                      <a:pt x="46" y="50"/>
                      <a:pt x="46" y="54"/>
                      <a:pt x="46" y="57"/>
                    </a:cubicBezTo>
                    <a:cubicBezTo>
                      <a:pt x="55" y="51"/>
                      <a:pt x="61" y="42"/>
                      <a:pt x="61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4" name="Freeform 104"/>
              <p:cNvSpPr/>
              <p:nvPr/>
            </p:nvSpPr>
            <p:spPr bwMode="auto">
              <a:xfrm>
                <a:off x="11193462" y="-5454650"/>
                <a:ext cx="209550" cy="117475"/>
              </a:xfrm>
              <a:custGeom>
                <a:avLst/>
                <a:gdLst>
                  <a:gd name="T0" fmla="*/ 2147483646 w 56"/>
                  <a:gd name="T1" fmla="*/ 2147483646 h 31"/>
                  <a:gd name="T2" fmla="*/ 2147483646 w 56"/>
                  <a:gd name="T3" fmla="*/ 2147483646 h 31"/>
                  <a:gd name="T4" fmla="*/ 2147483646 w 56"/>
                  <a:gd name="T5" fmla="*/ 2147483646 h 31"/>
                  <a:gd name="T6" fmla="*/ 2147483646 w 56"/>
                  <a:gd name="T7" fmla="*/ 2147483646 h 31"/>
                  <a:gd name="T8" fmla="*/ 2147483646 w 56"/>
                  <a:gd name="T9" fmla="*/ 2147483646 h 31"/>
                  <a:gd name="T10" fmla="*/ 2147483646 w 56"/>
                  <a:gd name="T11" fmla="*/ 2147483646 h 31"/>
                  <a:gd name="T12" fmla="*/ 2147483646 w 56"/>
                  <a:gd name="T13" fmla="*/ 2147483646 h 31"/>
                  <a:gd name="T14" fmla="*/ 2147483646 w 56"/>
                  <a:gd name="T15" fmla="*/ 2147483646 h 31"/>
                  <a:gd name="T16" fmla="*/ 2147483646 w 56"/>
                  <a:gd name="T17" fmla="*/ 2147483646 h 31"/>
                  <a:gd name="T18" fmla="*/ 2147483646 w 56"/>
                  <a:gd name="T19" fmla="*/ 2147483646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6" h="31">
                    <a:moveTo>
                      <a:pt x="52" y="31"/>
                    </a:moveTo>
                    <a:cubicBezTo>
                      <a:pt x="21" y="31"/>
                      <a:pt x="21" y="31"/>
                      <a:pt x="21" y="31"/>
                    </a:cubicBezTo>
                    <a:cubicBezTo>
                      <a:pt x="20" y="31"/>
                      <a:pt x="19" y="31"/>
                      <a:pt x="18" y="3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3"/>
                      <a:pt x="2" y="1"/>
                    </a:cubicBezTo>
                    <a:cubicBezTo>
                      <a:pt x="4" y="0"/>
                      <a:pt x="7" y="1"/>
                      <a:pt x="8" y="2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4" y="23"/>
                      <a:pt x="56" y="25"/>
                      <a:pt x="56" y="27"/>
                    </a:cubicBezTo>
                    <a:cubicBezTo>
                      <a:pt x="56" y="30"/>
                      <a:pt x="54" y="31"/>
                      <a:pt x="52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5" name="Oval 105"/>
              <p:cNvSpPr>
                <a:spLocks noChangeArrowheads="1"/>
              </p:cNvSpPr>
              <p:nvPr/>
            </p:nvSpPr>
            <p:spPr bwMode="auto">
              <a:xfrm>
                <a:off x="11088687" y="-5567363"/>
                <a:ext cx="157163" cy="1587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76" name="Freeform 106"/>
              <p:cNvSpPr/>
              <p:nvPr/>
            </p:nvSpPr>
            <p:spPr bwMode="auto">
              <a:xfrm>
                <a:off x="10772775" y="-5454650"/>
                <a:ext cx="206375" cy="117475"/>
              </a:xfrm>
              <a:custGeom>
                <a:avLst/>
                <a:gdLst>
                  <a:gd name="T0" fmla="*/ 2147483646 w 55"/>
                  <a:gd name="T1" fmla="*/ 2147483646 h 31"/>
                  <a:gd name="T2" fmla="*/ 2147483646 w 55"/>
                  <a:gd name="T3" fmla="*/ 2147483646 h 31"/>
                  <a:gd name="T4" fmla="*/ 2147483646 w 55"/>
                  <a:gd name="T5" fmla="*/ 2147483646 h 31"/>
                  <a:gd name="T6" fmla="*/ 2147483646 w 55"/>
                  <a:gd name="T7" fmla="*/ 2147483646 h 31"/>
                  <a:gd name="T8" fmla="*/ 2147483646 w 55"/>
                  <a:gd name="T9" fmla="*/ 2147483646 h 31"/>
                  <a:gd name="T10" fmla="*/ 2147483646 w 55"/>
                  <a:gd name="T11" fmla="*/ 2147483646 h 31"/>
                  <a:gd name="T12" fmla="*/ 2147483646 w 55"/>
                  <a:gd name="T13" fmla="*/ 2147483646 h 31"/>
                  <a:gd name="T14" fmla="*/ 2147483646 w 55"/>
                  <a:gd name="T15" fmla="*/ 2147483646 h 31"/>
                  <a:gd name="T16" fmla="*/ 0 w 55"/>
                  <a:gd name="T17" fmla="*/ 2147483646 h 31"/>
                  <a:gd name="T18" fmla="*/ 2147483646 w 55"/>
                  <a:gd name="T19" fmla="*/ 2147483646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5" h="31">
                    <a:moveTo>
                      <a:pt x="4" y="31"/>
                    </a:moveTo>
                    <a:cubicBezTo>
                      <a:pt x="34" y="31"/>
                      <a:pt x="34" y="31"/>
                      <a:pt x="34" y="31"/>
                    </a:cubicBezTo>
                    <a:cubicBezTo>
                      <a:pt x="36" y="31"/>
                      <a:pt x="37" y="31"/>
                      <a:pt x="38" y="30"/>
                    </a:cubicBezTo>
                    <a:cubicBezTo>
                      <a:pt x="54" y="7"/>
                      <a:pt x="54" y="7"/>
                      <a:pt x="54" y="7"/>
                    </a:cubicBezTo>
                    <a:cubicBezTo>
                      <a:pt x="55" y="5"/>
                      <a:pt x="55" y="3"/>
                      <a:pt x="53" y="1"/>
                    </a:cubicBezTo>
                    <a:cubicBezTo>
                      <a:pt x="51" y="0"/>
                      <a:pt x="49" y="1"/>
                      <a:pt x="48" y="2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2" y="23"/>
                      <a:pt x="0" y="25"/>
                      <a:pt x="0" y="27"/>
                    </a:cubicBezTo>
                    <a:cubicBezTo>
                      <a:pt x="0" y="30"/>
                      <a:pt x="2" y="31"/>
                      <a:pt x="4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7" name="Oval 107"/>
              <p:cNvSpPr>
                <a:spLocks noChangeArrowheads="1"/>
              </p:cNvSpPr>
              <p:nvPr/>
            </p:nvSpPr>
            <p:spPr bwMode="auto">
              <a:xfrm>
                <a:off x="10926762" y="-5567363"/>
                <a:ext cx="161925" cy="1587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6753" name="组合 249"/>
            <p:cNvGrpSpPr/>
            <p:nvPr/>
          </p:nvGrpSpPr>
          <p:grpSpPr bwMode="auto">
            <a:xfrm>
              <a:off x="8255943" y="2368776"/>
              <a:ext cx="348505" cy="346505"/>
              <a:chOff x="7129657" y="-1531645"/>
              <a:chExt cx="564454" cy="561216"/>
            </a:xfrm>
          </p:grpSpPr>
          <p:sp>
            <p:nvSpPr>
              <p:cNvPr id="251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57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58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59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0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1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2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3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9" name="Freeform 128"/>
              <p:cNvSpPr/>
              <p:nvPr/>
            </p:nvSpPr>
            <p:spPr bwMode="auto">
              <a:xfrm>
                <a:off x="7316080" y="-1248601"/>
                <a:ext cx="187607" cy="92634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65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" name="组合 4"/>
          <p:cNvGrpSpPr/>
          <p:nvPr/>
        </p:nvGrpSpPr>
        <p:grpSpPr bwMode="auto">
          <a:xfrm>
            <a:off x="6149975" y="1257300"/>
            <a:ext cx="982663" cy="1454150"/>
            <a:chOff x="6150187" y="1256704"/>
            <a:chExt cx="983191" cy="1454555"/>
          </a:xfrm>
        </p:grpSpPr>
        <p:sp>
          <p:nvSpPr>
            <p:cNvPr id="35" name="Rectangle 17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6150187" y="1256704"/>
              <a:ext cx="983191" cy="145455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730" name="组合 133"/>
            <p:cNvGrpSpPr/>
            <p:nvPr/>
          </p:nvGrpSpPr>
          <p:grpSpPr bwMode="auto">
            <a:xfrm>
              <a:off x="6261211" y="1394268"/>
              <a:ext cx="745864" cy="746325"/>
              <a:chOff x="6254750" y="-2608263"/>
              <a:chExt cx="2574925" cy="2576513"/>
            </a:xfrm>
          </p:grpSpPr>
          <p:sp>
            <p:nvSpPr>
              <p:cNvPr id="9277" name="Freeform 83"/>
              <p:cNvSpPr/>
              <p:nvPr/>
            </p:nvSpPr>
            <p:spPr bwMode="auto">
              <a:xfrm>
                <a:off x="6255306" y="-2606236"/>
                <a:ext cx="2571730" cy="2576541"/>
              </a:xfrm>
              <a:custGeom>
                <a:avLst/>
                <a:gdLst>
                  <a:gd name="T0" fmla="*/ 0 w 687"/>
                  <a:gd name="T1" fmla="*/ 625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45" name="Freeform 84"/>
              <p:cNvSpPr/>
              <p:nvPr/>
            </p:nvSpPr>
            <p:spPr bwMode="auto">
              <a:xfrm>
                <a:off x="6872287" y="-2360613"/>
                <a:ext cx="1957388" cy="2328863"/>
              </a:xfrm>
              <a:custGeom>
                <a:avLst/>
                <a:gdLst>
                  <a:gd name="T0" fmla="*/ 2147483646 w 522"/>
                  <a:gd name="T1" fmla="*/ 0 h 621"/>
                  <a:gd name="T2" fmla="*/ 2147483646 w 522"/>
                  <a:gd name="T3" fmla="*/ 2147483646 h 621"/>
                  <a:gd name="T4" fmla="*/ 2147483646 w 522"/>
                  <a:gd name="T5" fmla="*/ 2147483646 h 621"/>
                  <a:gd name="T6" fmla="*/ 2147483646 w 522"/>
                  <a:gd name="T7" fmla="*/ 2147483646 h 621"/>
                  <a:gd name="T8" fmla="*/ 2147483646 w 522"/>
                  <a:gd name="T9" fmla="*/ 2147483646 h 621"/>
                  <a:gd name="T10" fmla="*/ 2147483646 w 522"/>
                  <a:gd name="T11" fmla="*/ 2147483646 h 621"/>
                  <a:gd name="T12" fmla="*/ 2147483646 w 522"/>
                  <a:gd name="T13" fmla="*/ 2147483646 h 621"/>
                  <a:gd name="T14" fmla="*/ 2147483646 w 522"/>
                  <a:gd name="T15" fmla="*/ 2147483646 h 621"/>
                  <a:gd name="T16" fmla="*/ 2147483646 w 522"/>
                  <a:gd name="T17" fmla="*/ 2147483646 h 621"/>
                  <a:gd name="T18" fmla="*/ 2147483646 w 522"/>
                  <a:gd name="T19" fmla="*/ 2147483646 h 621"/>
                  <a:gd name="T20" fmla="*/ 2147483646 w 522"/>
                  <a:gd name="T21" fmla="*/ 2147483646 h 621"/>
                  <a:gd name="T22" fmla="*/ 2147483646 w 522"/>
                  <a:gd name="T23" fmla="*/ 2147483646 h 621"/>
                  <a:gd name="T24" fmla="*/ 2147483646 w 522"/>
                  <a:gd name="T25" fmla="*/ 2147483646 h 621"/>
                  <a:gd name="T26" fmla="*/ 2147483646 w 522"/>
                  <a:gd name="T27" fmla="*/ 2147483646 h 621"/>
                  <a:gd name="T28" fmla="*/ 2147483646 w 522"/>
                  <a:gd name="T29" fmla="*/ 0 h 62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22" h="621">
                    <a:moveTo>
                      <a:pt x="388" y="0"/>
                    </a:moveTo>
                    <a:cubicBezTo>
                      <a:pt x="226" y="76"/>
                      <a:pt x="226" y="76"/>
                      <a:pt x="226" y="76"/>
                    </a:cubicBezTo>
                    <a:cubicBezTo>
                      <a:pt x="188" y="114"/>
                      <a:pt x="188" y="114"/>
                      <a:pt x="188" y="114"/>
                    </a:cubicBezTo>
                    <a:cubicBezTo>
                      <a:pt x="148" y="75"/>
                      <a:pt x="148" y="75"/>
                      <a:pt x="148" y="75"/>
                    </a:cubicBezTo>
                    <a:cubicBezTo>
                      <a:pt x="146" y="77"/>
                      <a:pt x="146" y="77"/>
                      <a:pt x="146" y="77"/>
                    </a:cubicBezTo>
                    <a:cubicBezTo>
                      <a:pt x="122" y="70"/>
                      <a:pt x="122" y="70"/>
                      <a:pt x="122" y="70"/>
                    </a:cubicBezTo>
                    <a:cubicBezTo>
                      <a:pt x="83" y="135"/>
                      <a:pt x="83" y="135"/>
                      <a:pt x="83" y="135"/>
                    </a:cubicBezTo>
                    <a:cubicBezTo>
                      <a:pt x="125" y="177"/>
                      <a:pt x="125" y="177"/>
                      <a:pt x="125" y="177"/>
                    </a:cubicBezTo>
                    <a:cubicBezTo>
                      <a:pt x="125" y="177"/>
                      <a:pt x="0" y="197"/>
                      <a:pt x="1" y="195"/>
                    </a:cubicBezTo>
                    <a:cubicBezTo>
                      <a:pt x="1" y="194"/>
                      <a:pt x="1" y="532"/>
                      <a:pt x="1" y="532"/>
                    </a:cubicBezTo>
                    <a:cubicBezTo>
                      <a:pt x="90" y="621"/>
                      <a:pt x="90" y="621"/>
                      <a:pt x="90" y="621"/>
                    </a:cubicBezTo>
                    <a:cubicBezTo>
                      <a:pt x="460" y="621"/>
                      <a:pt x="460" y="621"/>
                      <a:pt x="460" y="621"/>
                    </a:cubicBezTo>
                    <a:cubicBezTo>
                      <a:pt x="494" y="621"/>
                      <a:pt x="522" y="593"/>
                      <a:pt x="522" y="559"/>
                    </a:cubicBezTo>
                    <a:cubicBezTo>
                      <a:pt x="522" y="135"/>
                      <a:pt x="522" y="135"/>
                      <a:pt x="522" y="135"/>
                    </a:cubicBezTo>
                    <a:lnTo>
                      <a:pt x="388" y="0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6" name="Freeform 85"/>
              <p:cNvSpPr/>
              <p:nvPr/>
            </p:nvSpPr>
            <p:spPr bwMode="auto">
              <a:xfrm>
                <a:off x="7513637" y="-2379663"/>
                <a:ext cx="836613" cy="779463"/>
              </a:xfrm>
              <a:custGeom>
                <a:avLst/>
                <a:gdLst>
                  <a:gd name="T0" fmla="*/ 2147483646 w 223"/>
                  <a:gd name="T1" fmla="*/ 2147483646 h 208"/>
                  <a:gd name="T2" fmla="*/ 2147483646 w 223"/>
                  <a:gd name="T3" fmla="*/ 2147483646 h 208"/>
                  <a:gd name="T4" fmla="*/ 2147483646 w 223"/>
                  <a:gd name="T5" fmla="*/ 2147483646 h 208"/>
                  <a:gd name="T6" fmla="*/ 2147483646 w 223"/>
                  <a:gd name="T7" fmla="*/ 2147483646 h 208"/>
                  <a:gd name="T8" fmla="*/ 2147483646 w 223"/>
                  <a:gd name="T9" fmla="*/ 2147483646 h 208"/>
                  <a:gd name="T10" fmla="*/ 2147483646 w 223"/>
                  <a:gd name="T11" fmla="*/ 2147483646 h 208"/>
                  <a:gd name="T12" fmla="*/ 2147483646 w 223"/>
                  <a:gd name="T13" fmla="*/ 2147483646 h 208"/>
                  <a:gd name="T14" fmla="*/ 2147483646 w 223"/>
                  <a:gd name="T15" fmla="*/ 2147483646 h 208"/>
                  <a:gd name="T16" fmla="*/ 2147483646 w 223"/>
                  <a:gd name="T17" fmla="*/ 2147483646 h 208"/>
                  <a:gd name="T18" fmla="*/ 2147483646 w 223"/>
                  <a:gd name="T19" fmla="*/ 2147483646 h 208"/>
                  <a:gd name="T20" fmla="*/ 2147483646 w 223"/>
                  <a:gd name="T21" fmla="*/ 2147483646 h 208"/>
                  <a:gd name="T22" fmla="*/ 2147483646 w 223"/>
                  <a:gd name="T23" fmla="*/ 2147483646 h 208"/>
                  <a:gd name="T24" fmla="*/ 2147483646 w 223"/>
                  <a:gd name="T25" fmla="*/ 2147483646 h 208"/>
                  <a:gd name="T26" fmla="*/ 2147483646 w 223"/>
                  <a:gd name="T27" fmla="*/ 2147483646 h 208"/>
                  <a:gd name="T28" fmla="*/ 2147483646 w 223"/>
                  <a:gd name="T29" fmla="*/ 2147483646 h 208"/>
                  <a:gd name="T30" fmla="*/ 2147483646 w 223"/>
                  <a:gd name="T31" fmla="*/ 2147483646 h 208"/>
                  <a:gd name="T32" fmla="*/ 2147483646 w 223"/>
                  <a:gd name="T33" fmla="*/ 2147483646 h 208"/>
                  <a:gd name="T34" fmla="*/ 2147483646 w 223"/>
                  <a:gd name="T35" fmla="*/ 2147483646 h 208"/>
                  <a:gd name="T36" fmla="*/ 2147483646 w 223"/>
                  <a:gd name="T37" fmla="*/ 2147483646 h 20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3" h="208">
                    <a:moveTo>
                      <a:pt x="217" y="192"/>
                    </a:moveTo>
                    <a:cubicBezTo>
                      <a:pt x="59" y="122"/>
                      <a:pt x="59" y="122"/>
                      <a:pt x="59" y="122"/>
                    </a:cubicBezTo>
                    <a:cubicBezTo>
                      <a:pt x="208" y="144"/>
                      <a:pt x="208" y="144"/>
                      <a:pt x="208" y="144"/>
                    </a:cubicBezTo>
                    <a:cubicBezTo>
                      <a:pt x="213" y="145"/>
                      <a:pt x="217" y="142"/>
                      <a:pt x="218" y="137"/>
                    </a:cubicBezTo>
                    <a:cubicBezTo>
                      <a:pt x="218" y="133"/>
                      <a:pt x="215" y="129"/>
                      <a:pt x="211" y="128"/>
                    </a:cubicBezTo>
                    <a:cubicBezTo>
                      <a:pt x="51" y="104"/>
                      <a:pt x="51" y="104"/>
                      <a:pt x="51" y="104"/>
                    </a:cubicBezTo>
                    <a:cubicBezTo>
                      <a:pt x="211" y="81"/>
                      <a:pt x="211" y="81"/>
                      <a:pt x="211" y="81"/>
                    </a:cubicBezTo>
                    <a:cubicBezTo>
                      <a:pt x="215" y="80"/>
                      <a:pt x="218" y="76"/>
                      <a:pt x="218" y="72"/>
                    </a:cubicBezTo>
                    <a:cubicBezTo>
                      <a:pt x="217" y="67"/>
                      <a:pt x="213" y="64"/>
                      <a:pt x="208" y="65"/>
                    </a:cubicBezTo>
                    <a:cubicBezTo>
                      <a:pt x="59" y="87"/>
                      <a:pt x="59" y="87"/>
                      <a:pt x="59" y="87"/>
                    </a:cubicBezTo>
                    <a:cubicBezTo>
                      <a:pt x="217" y="17"/>
                      <a:pt x="217" y="17"/>
                      <a:pt x="217" y="17"/>
                    </a:cubicBezTo>
                    <a:cubicBezTo>
                      <a:pt x="221" y="15"/>
                      <a:pt x="223" y="11"/>
                      <a:pt x="221" y="6"/>
                    </a:cubicBezTo>
                    <a:cubicBezTo>
                      <a:pt x="219" y="2"/>
                      <a:pt x="214" y="0"/>
                      <a:pt x="210" y="2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12" y="89"/>
                      <a:pt x="0" y="93"/>
                      <a:pt x="1" y="106"/>
                    </a:cubicBezTo>
                    <a:cubicBezTo>
                      <a:pt x="3" y="119"/>
                      <a:pt x="12" y="119"/>
                      <a:pt x="15" y="121"/>
                    </a:cubicBezTo>
                    <a:cubicBezTo>
                      <a:pt x="210" y="207"/>
                      <a:pt x="210" y="207"/>
                      <a:pt x="210" y="207"/>
                    </a:cubicBezTo>
                    <a:cubicBezTo>
                      <a:pt x="214" y="208"/>
                      <a:pt x="219" y="207"/>
                      <a:pt x="221" y="202"/>
                    </a:cubicBezTo>
                    <a:cubicBezTo>
                      <a:pt x="223" y="198"/>
                      <a:pt x="221" y="193"/>
                      <a:pt x="217" y="1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7" name="Freeform 86"/>
              <p:cNvSpPr/>
              <p:nvPr/>
            </p:nvSpPr>
            <p:spPr bwMode="auto">
              <a:xfrm>
                <a:off x="7289800" y="-1547813"/>
                <a:ext cx="284163" cy="296863"/>
              </a:xfrm>
              <a:custGeom>
                <a:avLst/>
                <a:gdLst>
                  <a:gd name="T0" fmla="*/ 2147483646 w 76"/>
                  <a:gd name="T1" fmla="*/ 2147483646 h 79"/>
                  <a:gd name="T2" fmla="*/ 2147483646 w 76"/>
                  <a:gd name="T3" fmla="*/ 2147483646 h 79"/>
                  <a:gd name="T4" fmla="*/ 2147483646 w 76"/>
                  <a:gd name="T5" fmla="*/ 0 h 79"/>
                  <a:gd name="T6" fmla="*/ 2147483646 w 76"/>
                  <a:gd name="T7" fmla="*/ 2147483646 h 79"/>
                  <a:gd name="T8" fmla="*/ 2147483646 w 76"/>
                  <a:gd name="T9" fmla="*/ 2147483646 h 79"/>
                  <a:gd name="T10" fmla="*/ 0 w 76"/>
                  <a:gd name="T11" fmla="*/ 2147483646 h 79"/>
                  <a:gd name="T12" fmla="*/ 2147483646 w 76"/>
                  <a:gd name="T13" fmla="*/ 2147483646 h 79"/>
                  <a:gd name="T14" fmla="*/ 2147483646 w 76"/>
                  <a:gd name="T15" fmla="*/ 2147483646 h 79"/>
                  <a:gd name="T16" fmla="*/ 2147483646 w 76"/>
                  <a:gd name="T17" fmla="*/ 2147483646 h 79"/>
                  <a:gd name="T18" fmla="*/ 2147483646 w 76"/>
                  <a:gd name="T19" fmla="*/ 2147483646 h 79"/>
                  <a:gd name="T20" fmla="*/ 2147483646 w 76"/>
                  <a:gd name="T21" fmla="*/ 2147483646 h 79"/>
                  <a:gd name="T22" fmla="*/ 2147483646 w 76"/>
                  <a:gd name="T23" fmla="*/ 2147483646 h 79"/>
                  <a:gd name="T24" fmla="*/ 2147483646 w 76"/>
                  <a:gd name="T25" fmla="*/ 2147483646 h 79"/>
                  <a:gd name="T26" fmla="*/ 2147483646 w 76"/>
                  <a:gd name="T27" fmla="*/ 2147483646 h 79"/>
                  <a:gd name="T28" fmla="*/ 2147483646 w 76"/>
                  <a:gd name="T29" fmla="*/ 2147483646 h 79"/>
                  <a:gd name="T30" fmla="*/ 2147483646 w 76"/>
                  <a:gd name="T31" fmla="*/ 2147483646 h 79"/>
                  <a:gd name="T32" fmla="*/ 2147483646 w 76"/>
                  <a:gd name="T33" fmla="*/ 2147483646 h 7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6" h="79">
                    <a:moveTo>
                      <a:pt x="69" y="16"/>
                    </a:moveTo>
                    <a:cubicBezTo>
                      <a:pt x="58" y="17"/>
                      <a:pt x="43" y="12"/>
                      <a:pt x="36" y="3"/>
                    </a:cubicBezTo>
                    <a:cubicBezTo>
                      <a:pt x="33" y="0"/>
                      <a:pt x="31" y="0"/>
                      <a:pt x="30" y="0"/>
                    </a:cubicBezTo>
                    <a:cubicBezTo>
                      <a:pt x="29" y="0"/>
                      <a:pt x="28" y="2"/>
                      <a:pt x="27" y="5"/>
                    </a:cubicBezTo>
                    <a:cubicBezTo>
                      <a:pt x="25" y="17"/>
                      <a:pt x="15" y="29"/>
                      <a:pt x="5" y="34"/>
                    </a:cubicBezTo>
                    <a:cubicBezTo>
                      <a:pt x="1" y="35"/>
                      <a:pt x="0" y="37"/>
                      <a:pt x="0" y="38"/>
                    </a:cubicBezTo>
                    <a:cubicBezTo>
                      <a:pt x="0" y="39"/>
                      <a:pt x="1" y="41"/>
                      <a:pt x="4" y="43"/>
                    </a:cubicBezTo>
                    <a:cubicBezTo>
                      <a:pt x="14" y="48"/>
                      <a:pt x="23" y="61"/>
                      <a:pt x="24" y="73"/>
                    </a:cubicBezTo>
                    <a:cubicBezTo>
                      <a:pt x="24" y="76"/>
                      <a:pt x="26" y="78"/>
                      <a:pt x="27" y="79"/>
                    </a:cubicBezTo>
                    <a:cubicBezTo>
                      <a:pt x="28" y="79"/>
                      <a:pt x="30" y="78"/>
                      <a:pt x="32" y="76"/>
                    </a:cubicBezTo>
                    <a:cubicBezTo>
                      <a:pt x="41" y="68"/>
                      <a:pt x="56" y="64"/>
                      <a:pt x="67" y="66"/>
                    </a:cubicBezTo>
                    <a:cubicBezTo>
                      <a:pt x="71" y="67"/>
                      <a:pt x="73" y="67"/>
                      <a:pt x="73" y="66"/>
                    </a:cubicBezTo>
                    <a:cubicBezTo>
                      <a:pt x="74" y="65"/>
                      <a:pt x="74" y="63"/>
                      <a:pt x="73" y="59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68" y="49"/>
                      <a:pt x="68" y="33"/>
                      <a:pt x="74" y="23"/>
                    </a:cubicBezTo>
                    <a:cubicBezTo>
                      <a:pt x="76" y="20"/>
                      <a:pt x="76" y="18"/>
                      <a:pt x="76" y="17"/>
                    </a:cubicBezTo>
                    <a:cubicBezTo>
                      <a:pt x="75" y="16"/>
                      <a:pt x="73" y="15"/>
                      <a:pt x="69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8" name="Freeform 87"/>
              <p:cNvSpPr/>
              <p:nvPr/>
            </p:nvSpPr>
            <p:spPr bwMode="auto">
              <a:xfrm>
                <a:off x="7477125" y="-1030288"/>
                <a:ext cx="306388" cy="382588"/>
              </a:xfrm>
              <a:custGeom>
                <a:avLst/>
                <a:gdLst>
                  <a:gd name="T0" fmla="*/ 2147483646 w 82"/>
                  <a:gd name="T1" fmla="*/ 0 h 102"/>
                  <a:gd name="T2" fmla="*/ 2147483646 w 82"/>
                  <a:gd name="T3" fmla="*/ 2147483646 h 102"/>
                  <a:gd name="T4" fmla="*/ 2147483646 w 82"/>
                  <a:gd name="T5" fmla="*/ 2147483646 h 102"/>
                  <a:gd name="T6" fmla="*/ 0 w 82"/>
                  <a:gd name="T7" fmla="*/ 2147483646 h 102"/>
                  <a:gd name="T8" fmla="*/ 2147483646 w 82"/>
                  <a:gd name="T9" fmla="*/ 2147483646 h 102"/>
                  <a:gd name="T10" fmla="*/ 2147483646 w 82"/>
                  <a:gd name="T11" fmla="*/ 2147483646 h 102"/>
                  <a:gd name="T12" fmla="*/ 2147483646 w 82"/>
                  <a:gd name="T13" fmla="*/ 2147483646 h 102"/>
                  <a:gd name="T14" fmla="*/ 2147483646 w 82"/>
                  <a:gd name="T15" fmla="*/ 2147483646 h 102"/>
                  <a:gd name="T16" fmla="*/ 2147483646 w 82"/>
                  <a:gd name="T17" fmla="*/ 2147483646 h 102"/>
                  <a:gd name="T18" fmla="*/ 2147483646 w 82"/>
                  <a:gd name="T19" fmla="*/ 2147483646 h 102"/>
                  <a:gd name="T20" fmla="*/ 2147483646 w 82"/>
                  <a:gd name="T21" fmla="*/ 2147483646 h 102"/>
                  <a:gd name="T22" fmla="*/ 2147483646 w 82"/>
                  <a:gd name="T23" fmla="*/ 0 h 10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82" h="102">
                    <a:moveTo>
                      <a:pt x="39" y="0"/>
                    </a:moveTo>
                    <a:cubicBezTo>
                      <a:pt x="37" y="1"/>
                      <a:pt x="35" y="4"/>
                      <a:pt x="34" y="8"/>
                    </a:cubicBezTo>
                    <a:cubicBezTo>
                      <a:pt x="32" y="22"/>
                      <a:pt x="19" y="37"/>
                      <a:pt x="6" y="43"/>
                    </a:cubicBezTo>
                    <a:cubicBezTo>
                      <a:pt x="2" y="45"/>
                      <a:pt x="0" y="47"/>
                      <a:pt x="0" y="49"/>
                    </a:cubicBezTo>
                    <a:cubicBezTo>
                      <a:pt x="0" y="51"/>
                      <a:pt x="2" y="54"/>
                      <a:pt x="6" y="56"/>
                    </a:cubicBezTo>
                    <a:cubicBezTo>
                      <a:pt x="18" y="63"/>
                      <a:pt x="29" y="79"/>
                      <a:pt x="30" y="93"/>
                    </a:cubicBezTo>
                    <a:cubicBezTo>
                      <a:pt x="31" y="97"/>
                      <a:pt x="32" y="101"/>
                      <a:pt x="34" y="101"/>
                    </a:cubicBezTo>
                    <a:cubicBezTo>
                      <a:pt x="36" y="102"/>
                      <a:pt x="39" y="101"/>
                      <a:pt x="42" y="98"/>
                    </a:cubicBezTo>
                    <a:cubicBezTo>
                      <a:pt x="52" y="89"/>
                      <a:pt x="69" y="84"/>
                      <a:pt x="82" y="85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69" y="20"/>
                      <a:pt x="55" y="14"/>
                      <a:pt x="47" y="5"/>
                    </a:cubicBezTo>
                    <a:cubicBezTo>
                      <a:pt x="44" y="1"/>
                      <a:pt x="41" y="0"/>
                      <a:pt x="3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9" name="Freeform 88"/>
              <p:cNvSpPr>
                <a:spLocks noEditPoints="1"/>
              </p:cNvSpPr>
              <p:nvPr/>
            </p:nvSpPr>
            <p:spPr bwMode="auto">
              <a:xfrm>
                <a:off x="6858000" y="-1801813"/>
                <a:ext cx="925513" cy="1462088"/>
              </a:xfrm>
              <a:custGeom>
                <a:avLst/>
                <a:gdLst>
                  <a:gd name="T0" fmla="*/ 2147483646 w 247"/>
                  <a:gd name="T1" fmla="*/ 2147483646 h 390"/>
                  <a:gd name="T2" fmla="*/ 2147483646 w 247"/>
                  <a:gd name="T3" fmla="*/ 2147483646 h 390"/>
                  <a:gd name="T4" fmla="*/ 2147483646 w 247"/>
                  <a:gd name="T5" fmla="*/ 2147483646 h 390"/>
                  <a:gd name="T6" fmla="*/ 2147483646 w 247"/>
                  <a:gd name="T7" fmla="*/ 0 h 390"/>
                  <a:gd name="T8" fmla="*/ 2147483646 w 247"/>
                  <a:gd name="T9" fmla="*/ 0 h 390"/>
                  <a:gd name="T10" fmla="*/ 2147483646 w 247"/>
                  <a:gd name="T11" fmla="*/ 2147483646 h 390"/>
                  <a:gd name="T12" fmla="*/ 2147483646 w 247"/>
                  <a:gd name="T13" fmla="*/ 2147483646 h 390"/>
                  <a:gd name="T14" fmla="*/ 2147483646 w 247"/>
                  <a:gd name="T15" fmla="*/ 2147483646 h 390"/>
                  <a:gd name="T16" fmla="*/ 0 w 247"/>
                  <a:gd name="T17" fmla="*/ 2147483646 h 390"/>
                  <a:gd name="T18" fmla="*/ 0 w 247"/>
                  <a:gd name="T19" fmla="*/ 2147483646 h 390"/>
                  <a:gd name="T20" fmla="*/ 2147483646 w 247"/>
                  <a:gd name="T21" fmla="*/ 2147483646 h 390"/>
                  <a:gd name="T22" fmla="*/ 2147483646 w 247"/>
                  <a:gd name="T23" fmla="*/ 2147483646 h 390"/>
                  <a:gd name="T24" fmla="*/ 2147483646 w 247"/>
                  <a:gd name="T25" fmla="*/ 2147483646 h 390"/>
                  <a:gd name="T26" fmla="*/ 2147483646 w 247"/>
                  <a:gd name="T27" fmla="*/ 2147483646 h 390"/>
                  <a:gd name="T28" fmla="*/ 2147483646 w 247"/>
                  <a:gd name="T29" fmla="*/ 2147483646 h 390"/>
                  <a:gd name="T30" fmla="*/ 2147483646 w 247"/>
                  <a:gd name="T31" fmla="*/ 2147483646 h 390"/>
                  <a:gd name="T32" fmla="*/ 2147483646 w 247"/>
                  <a:gd name="T33" fmla="*/ 2147483646 h 390"/>
                  <a:gd name="T34" fmla="*/ 2147483646 w 247"/>
                  <a:gd name="T35" fmla="*/ 2147483646 h 390"/>
                  <a:gd name="T36" fmla="*/ 2147483646 w 247"/>
                  <a:gd name="T37" fmla="*/ 2147483646 h 390"/>
                  <a:gd name="T38" fmla="*/ 2147483646 w 247"/>
                  <a:gd name="T39" fmla="*/ 2147483646 h 390"/>
                  <a:gd name="T40" fmla="*/ 2147483646 w 247"/>
                  <a:gd name="T41" fmla="*/ 2147483646 h 390"/>
                  <a:gd name="T42" fmla="*/ 2147483646 w 247"/>
                  <a:gd name="T43" fmla="*/ 2147483646 h 390"/>
                  <a:gd name="T44" fmla="*/ 2147483646 w 247"/>
                  <a:gd name="T45" fmla="*/ 2147483646 h 390"/>
                  <a:gd name="T46" fmla="*/ 2147483646 w 247"/>
                  <a:gd name="T47" fmla="*/ 2147483646 h 390"/>
                  <a:gd name="T48" fmla="*/ 2147483646 w 247"/>
                  <a:gd name="T49" fmla="*/ 2147483646 h 390"/>
                  <a:gd name="T50" fmla="*/ 2147483646 w 247"/>
                  <a:gd name="T51" fmla="*/ 2147483646 h 390"/>
                  <a:gd name="T52" fmla="*/ 2147483646 w 247"/>
                  <a:gd name="T53" fmla="*/ 2147483646 h 390"/>
                  <a:gd name="T54" fmla="*/ 2147483646 w 247"/>
                  <a:gd name="T55" fmla="*/ 2147483646 h 390"/>
                  <a:gd name="T56" fmla="*/ 2147483646 w 247"/>
                  <a:gd name="T57" fmla="*/ 2147483646 h 390"/>
                  <a:gd name="T58" fmla="*/ 2147483646 w 247"/>
                  <a:gd name="T59" fmla="*/ 2147483646 h 390"/>
                  <a:gd name="T60" fmla="*/ 2147483646 w 247"/>
                  <a:gd name="T61" fmla="*/ 2147483646 h 390"/>
                  <a:gd name="T62" fmla="*/ 2147483646 w 247"/>
                  <a:gd name="T63" fmla="*/ 2147483646 h 390"/>
                  <a:gd name="T64" fmla="*/ 2147483646 w 247"/>
                  <a:gd name="T65" fmla="*/ 2147483646 h 390"/>
                  <a:gd name="T66" fmla="*/ 2147483646 w 247"/>
                  <a:gd name="T67" fmla="*/ 2147483646 h 390"/>
                  <a:gd name="T68" fmla="*/ 2147483646 w 247"/>
                  <a:gd name="T69" fmla="*/ 2147483646 h 390"/>
                  <a:gd name="T70" fmla="*/ 2147483646 w 247"/>
                  <a:gd name="T71" fmla="*/ 2147483646 h 390"/>
                  <a:gd name="T72" fmla="*/ 2147483646 w 247"/>
                  <a:gd name="T73" fmla="*/ 2147483646 h 390"/>
                  <a:gd name="T74" fmla="*/ 2147483646 w 247"/>
                  <a:gd name="T75" fmla="*/ 2147483646 h 390"/>
                  <a:gd name="T76" fmla="*/ 2147483646 w 247"/>
                  <a:gd name="T77" fmla="*/ 2147483646 h 390"/>
                  <a:gd name="T78" fmla="*/ 2147483646 w 247"/>
                  <a:gd name="T79" fmla="*/ 2147483646 h 390"/>
                  <a:gd name="T80" fmla="*/ 2147483646 w 247"/>
                  <a:gd name="T81" fmla="*/ 2147483646 h 390"/>
                  <a:gd name="T82" fmla="*/ 2147483646 w 247"/>
                  <a:gd name="T83" fmla="*/ 2147483646 h 390"/>
                  <a:gd name="T84" fmla="*/ 2147483646 w 247"/>
                  <a:gd name="T85" fmla="*/ 2147483646 h 390"/>
                  <a:gd name="T86" fmla="*/ 2147483646 w 247"/>
                  <a:gd name="T87" fmla="*/ 2147483646 h 390"/>
                  <a:gd name="T88" fmla="*/ 2147483646 w 247"/>
                  <a:gd name="T89" fmla="*/ 2147483646 h 390"/>
                  <a:gd name="T90" fmla="*/ 2147483646 w 247"/>
                  <a:gd name="T91" fmla="*/ 2147483646 h 390"/>
                  <a:gd name="T92" fmla="*/ 2147483646 w 247"/>
                  <a:gd name="T93" fmla="*/ 2147483646 h 390"/>
                  <a:gd name="T94" fmla="*/ 2147483646 w 247"/>
                  <a:gd name="T95" fmla="*/ 2147483646 h 390"/>
                  <a:gd name="T96" fmla="*/ 2147483646 w 247"/>
                  <a:gd name="T97" fmla="*/ 2147483646 h 390"/>
                  <a:gd name="T98" fmla="*/ 2147483646 w 247"/>
                  <a:gd name="T99" fmla="*/ 2147483646 h 39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47" h="390">
                    <a:moveTo>
                      <a:pt x="229" y="21"/>
                    </a:moveTo>
                    <a:cubicBezTo>
                      <a:pt x="214" y="21"/>
                      <a:pt x="214" y="21"/>
                      <a:pt x="214" y="21"/>
                    </a:cubicBezTo>
                    <a:cubicBezTo>
                      <a:pt x="214" y="12"/>
                      <a:pt x="214" y="12"/>
                      <a:pt x="214" y="12"/>
                    </a:cubicBezTo>
                    <a:cubicBezTo>
                      <a:pt x="214" y="6"/>
                      <a:pt x="206" y="0"/>
                      <a:pt x="196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41" y="0"/>
                      <a:pt x="33" y="6"/>
                      <a:pt x="33" y="12"/>
                    </a:cubicBezTo>
                    <a:cubicBezTo>
                      <a:pt x="33" y="21"/>
                      <a:pt x="33" y="21"/>
                      <a:pt x="33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8" y="21"/>
                      <a:pt x="0" y="26"/>
                      <a:pt x="0" y="33"/>
                    </a:cubicBezTo>
                    <a:cubicBezTo>
                      <a:pt x="0" y="378"/>
                      <a:pt x="0" y="378"/>
                      <a:pt x="0" y="378"/>
                    </a:cubicBezTo>
                    <a:cubicBezTo>
                      <a:pt x="0" y="384"/>
                      <a:pt x="8" y="390"/>
                      <a:pt x="18" y="390"/>
                    </a:cubicBezTo>
                    <a:cubicBezTo>
                      <a:pt x="229" y="390"/>
                      <a:pt x="229" y="390"/>
                      <a:pt x="229" y="390"/>
                    </a:cubicBezTo>
                    <a:cubicBezTo>
                      <a:pt x="239" y="390"/>
                      <a:pt x="247" y="384"/>
                      <a:pt x="247" y="378"/>
                    </a:cubicBezTo>
                    <a:cubicBezTo>
                      <a:pt x="247" y="300"/>
                      <a:pt x="247" y="300"/>
                      <a:pt x="247" y="300"/>
                    </a:cubicBezTo>
                    <a:cubicBezTo>
                      <a:pt x="236" y="298"/>
                      <a:pt x="221" y="302"/>
                      <a:pt x="213" y="310"/>
                    </a:cubicBezTo>
                    <a:cubicBezTo>
                      <a:pt x="205" y="317"/>
                      <a:pt x="199" y="316"/>
                      <a:pt x="196" y="315"/>
                    </a:cubicBezTo>
                    <a:cubicBezTo>
                      <a:pt x="193" y="314"/>
                      <a:pt x="188" y="310"/>
                      <a:pt x="187" y="300"/>
                    </a:cubicBezTo>
                    <a:cubicBezTo>
                      <a:pt x="186" y="289"/>
                      <a:pt x="177" y="275"/>
                      <a:pt x="167" y="269"/>
                    </a:cubicBezTo>
                    <a:cubicBezTo>
                      <a:pt x="158" y="264"/>
                      <a:pt x="157" y="258"/>
                      <a:pt x="157" y="255"/>
                    </a:cubicBezTo>
                    <a:cubicBezTo>
                      <a:pt x="157" y="252"/>
                      <a:pt x="159" y="246"/>
                      <a:pt x="168" y="241"/>
                    </a:cubicBezTo>
                    <a:cubicBezTo>
                      <a:pt x="179" y="237"/>
                      <a:pt x="189" y="224"/>
                      <a:pt x="191" y="212"/>
                    </a:cubicBezTo>
                    <a:cubicBezTo>
                      <a:pt x="193" y="202"/>
                      <a:pt x="199" y="199"/>
                      <a:pt x="202" y="198"/>
                    </a:cubicBezTo>
                    <a:cubicBezTo>
                      <a:pt x="205" y="198"/>
                      <a:pt x="211" y="197"/>
                      <a:pt x="218" y="205"/>
                    </a:cubicBezTo>
                    <a:cubicBezTo>
                      <a:pt x="224" y="212"/>
                      <a:pt x="236" y="218"/>
                      <a:pt x="247" y="218"/>
                    </a:cubicBezTo>
                    <a:cubicBezTo>
                      <a:pt x="247" y="33"/>
                      <a:pt x="247" y="33"/>
                      <a:pt x="247" y="33"/>
                    </a:cubicBezTo>
                    <a:cubicBezTo>
                      <a:pt x="247" y="26"/>
                      <a:pt x="239" y="21"/>
                      <a:pt x="229" y="21"/>
                    </a:cubicBezTo>
                    <a:close/>
                    <a:moveTo>
                      <a:pt x="55" y="355"/>
                    </a:moveTo>
                    <a:cubicBezTo>
                      <a:pt x="55" y="362"/>
                      <a:pt x="50" y="367"/>
                      <a:pt x="43" y="367"/>
                    </a:cubicBezTo>
                    <a:cubicBezTo>
                      <a:pt x="37" y="367"/>
                      <a:pt x="31" y="362"/>
                      <a:pt x="31" y="355"/>
                    </a:cubicBezTo>
                    <a:cubicBezTo>
                      <a:pt x="31" y="61"/>
                      <a:pt x="31" y="61"/>
                      <a:pt x="31" y="61"/>
                    </a:cubicBezTo>
                    <a:cubicBezTo>
                      <a:pt x="31" y="54"/>
                      <a:pt x="37" y="49"/>
                      <a:pt x="43" y="49"/>
                    </a:cubicBezTo>
                    <a:cubicBezTo>
                      <a:pt x="50" y="49"/>
                      <a:pt x="55" y="54"/>
                      <a:pt x="55" y="61"/>
                    </a:cubicBezTo>
                    <a:lnTo>
                      <a:pt x="55" y="355"/>
                    </a:lnTo>
                    <a:close/>
                    <a:moveTo>
                      <a:pt x="195" y="124"/>
                    </a:moveTo>
                    <a:cubicBezTo>
                      <a:pt x="195" y="124"/>
                      <a:pt x="195" y="124"/>
                      <a:pt x="195" y="124"/>
                    </a:cubicBezTo>
                    <a:cubicBezTo>
                      <a:pt x="199" y="132"/>
                      <a:pt x="196" y="137"/>
                      <a:pt x="195" y="139"/>
                    </a:cubicBezTo>
                    <a:cubicBezTo>
                      <a:pt x="193" y="141"/>
                      <a:pt x="189" y="144"/>
                      <a:pt x="180" y="142"/>
                    </a:cubicBezTo>
                    <a:cubicBezTo>
                      <a:pt x="172" y="140"/>
                      <a:pt x="159" y="144"/>
                      <a:pt x="153" y="150"/>
                    </a:cubicBezTo>
                    <a:cubicBezTo>
                      <a:pt x="146" y="156"/>
                      <a:pt x="141" y="155"/>
                      <a:pt x="139" y="154"/>
                    </a:cubicBezTo>
                    <a:cubicBezTo>
                      <a:pt x="136" y="153"/>
                      <a:pt x="132" y="150"/>
                      <a:pt x="131" y="142"/>
                    </a:cubicBezTo>
                    <a:cubicBezTo>
                      <a:pt x="130" y="133"/>
                      <a:pt x="123" y="122"/>
                      <a:pt x="115" y="118"/>
                    </a:cubicBezTo>
                    <a:cubicBezTo>
                      <a:pt x="108" y="114"/>
                      <a:pt x="107" y="108"/>
                      <a:pt x="107" y="106"/>
                    </a:cubicBezTo>
                    <a:cubicBezTo>
                      <a:pt x="107" y="103"/>
                      <a:pt x="108" y="98"/>
                      <a:pt x="116" y="94"/>
                    </a:cubicBezTo>
                    <a:cubicBezTo>
                      <a:pt x="124" y="91"/>
                      <a:pt x="133" y="81"/>
                      <a:pt x="134" y="72"/>
                    </a:cubicBezTo>
                    <a:cubicBezTo>
                      <a:pt x="136" y="63"/>
                      <a:pt x="140" y="61"/>
                      <a:pt x="143" y="60"/>
                    </a:cubicBezTo>
                    <a:cubicBezTo>
                      <a:pt x="146" y="59"/>
                      <a:pt x="151" y="59"/>
                      <a:pt x="157" y="66"/>
                    </a:cubicBezTo>
                    <a:cubicBezTo>
                      <a:pt x="163" y="72"/>
                      <a:pt x="175" y="77"/>
                      <a:pt x="183" y="76"/>
                    </a:cubicBezTo>
                    <a:cubicBezTo>
                      <a:pt x="192" y="75"/>
                      <a:pt x="196" y="78"/>
                      <a:pt x="197" y="81"/>
                    </a:cubicBezTo>
                    <a:cubicBezTo>
                      <a:pt x="199" y="83"/>
                      <a:pt x="201" y="88"/>
                      <a:pt x="196" y="95"/>
                    </a:cubicBezTo>
                    <a:cubicBezTo>
                      <a:pt x="192" y="103"/>
                      <a:pt x="191" y="116"/>
                      <a:pt x="195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50" name="Freeform 89"/>
              <p:cNvSpPr>
                <a:spLocks noEditPoints="1"/>
              </p:cNvSpPr>
              <p:nvPr/>
            </p:nvSpPr>
            <p:spPr bwMode="auto">
              <a:xfrm>
                <a:off x="7183437" y="-2105025"/>
                <a:ext cx="269875" cy="254000"/>
              </a:xfrm>
              <a:custGeom>
                <a:avLst/>
                <a:gdLst>
                  <a:gd name="T0" fmla="*/ 2147483646 w 72"/>
                  <a:gd name="T1" fmla="*/ 0 h 68"/>
                  <a:gd name="T2" fmla="*/ 2147483646 w 72"/>
                  <a:gd name="T3" fmla="*/ 0 h 68"/>
                  <a:gd name="T4" fmla="*/ 0 w 72"/>
                  <a:gd name="T5" fmla="*/ 2147483646 h 68"/>
                  <a:gd name="T6" fmla="*/ 0 w 72"/>
                  <a:gd name="T7" fmla="*/ 2147483646 h 68"/>
                  <a:gd name="T8" fmla="*/ 2147483646 w 72"/>
                  <a:gd name="T9" fmla="*/ 2147483646 h 68"/>
                  <a:gd name="T10" fmla="*/ 2147483646 w 72"/>
                  <a:gd name="T11" fmla="*/ 2147483646 h 68"/>
                  <a:gd name="T12" fmla="*/ 2147483646 w 72"/>
                  <a:gd name="T13" fmla="*/ 0 h 68"/>
                  <a:gd name="T14" fmla="*/ 2147483646 w 72"/>
                  <a:gd name="T15" fmla="*/ 2147483646 h 68"/>
                  <a:gd name="T16" fmla="*/ 2147483646 w 72"/>
                  <a:gd name="T17" fmla="*/ 2147483646 h 68"/>
                  <a:gd name="T18" fmla="*/ 2147483646 w 72"/>
                  <a:gd name="T19" fmla="*/ 2147483646 h 68"/>
                  <a:gd name="T20" fmla="*/ 2147483646 w 72"/>
                  <a:gd name="T21" fmla="*/ 2147483646 h 68"/>
                  <a:gd name="T22" fmla="*/ 2147483646 w 72"/>
                  <a:gd name="T23" fmla="*/ 2147483646 h 6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72" h="68">
                    <a:moveTo>
                      <a:pt x="52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72" y="68"/>
                      <a:pt x="72" y="68"/>
                      <a:pt x="72" y="68"/>
                    </a:cubicBezTo>
                    <a:cubicBezTo>
                      <a:pt x="72" y="21"/>
                      <a:pt x="72" y="21"/>
                      <a:pt x="72" y="21"/>
                    </a:cubicBezTo>
                    <a:cubicBezTo>
                      <a:pt x="72" y="10"/>
                      <a:pt x="63" y="0"/>
                      <a:pt x="52" y="0"/>
                    </a:cubicBezTo>
                    <a:close/>
                    <a:moveTo>
                      <a:pt x="54" y="52"/>
                    </a:moveTo>
                    <a:cubicBezTo>
                      <a:pt x="47" y="52"/>
                      <a:pt x="41" y="43"/>
                      <a:pt x="41" y="32"/>
                    </a:cubicBezTo>
                    <a:cubicBezTo>
                      <a:pt x="41" y="21"/>
                      <a:pt x="47" y="13"/>
                      <a:pt x="54" y="13"/>
                    </a:cubicBezTo>
                    <a:cubicBezTo>
                      <a:pt x="61" y="13"/>
                      <a:pt x="66" y="21"/>
                      <a:pt x="66" y="32"/>
                    </a:cubicBezTo>
                    <a:cubicBezTo>
                      <a:pt x="66" y="43"/>
                      <a:pt x="61" y="52"/>
                      <a:pt x="54" y="5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731" name="组合 260"/>
            <p:cNvGrpSpPr/>
            <p:nvPr/>
          </p:nvGrpSpPr>
          <p:grpSpPr bwMode="auto">
            <a:xfrm>
              <a:off x="6459891" y="2250143"/>
              <a:ext cx="348505" cy="346505"/>
              <a:chOff x="7129657" y="-1531645"/>
              <a:chExt cx="564454" cy="561216"/>
            </a:xfrm>
          </p:grpSpPr>
          <p:sp>
            <p:nvSpPr>
              <p:cNvPr id="262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35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36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37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38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39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0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1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0" name="Freeform 128"/>
              <p:cNvSpPr/>
              <p:nvPr/>
            </p:nvSpPr>
            <p:spPr bwMode="auto">
              <a:xfrm>
                <a:off x="7314922" y="-1247743"/>
                <a:ext cx="190370" cy="92589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43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" name="组合 3"/>
          <p:cNvGrpSpPr/>
          <p:nvPr/>
        </p:nvGrpSpPr>
        <p:grpSpPr bwMode="auto">
          <a:xfrm>
            <a:off x="4008438" y="1260475"/>
            <a:ext cx="982662" cy="1450975"/>
            <a:chOff x="4008190" y="1260748"/>
            <a:chExt cx="983188" cy="1450512"/>
          </a:xfrm>
        </p:grpSpPr>
        <p:sp>
          <p:nvSpPr>
            <p:cNvPr id="44" name="Rectangle 12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4008190" y="1260748"/>
              <a:ext cx="983188" cy="1450512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707" name="组合 9310"/>
            <p:cNvGrpSpPr/>
            <p:nvPr/>
          </p:nvGrpSpPr>
          <p:grpSpPr bwMode="auto">
            <a:xfrm>
              <a:off x="4127312" y="1394268"/>
              <a:ext cx="744945" cy="746325"/>
              <a:chOff x="-4354513" y="-6069013"/>
              <a:chExt cx="2571751" cy="2576513"/>
            </a:xfrm>
          </p:grpSpPr>
          <p:sp>
            <p:nvSpPr>
              <p:cNvPr id="24" name="Freeform 61"/>
              <p:cNvSpPr/>
              <p:nvPr/>
            </p:nvSpPr>
            <p:spPr bwMode="auto">
              <a:xfrm>
                <a:off x="-4354499" y="-6069748"/>
                <a:ext cx="2571723" cy="2575001"/>
              </a:xfrm>
              <a:custGeom>
                <a:avLst/>
                <a:gdLst>
                  <a:gd name="T0" fmla="*/ 0 w 686"/>
                  <a:gd name="T1" fmla="*/ 624 h 687"/>
                  <a:gd name="T2" fmla="*/ 62 w 686"/>
                  <a:gd name="T3" fmla="*/ 687 h 687"/>
                  <a:gd name="T4" fmla="*/ 624 w 686"/>
                  <a:gd name="T5" fmla="*/ 687 h 687"/>
                  <a:gd name="T6" fmla="*/ 686 w 686"/>
                  <a:gd name="T7" fmla="*/ 624 h 687"/>
                  <a:gd name="T8" fmla="*/ 686 w 686"/>
                  <a:gd name="T9" fmla="*/ 62 h 687"/>
                  <a:gd name="T10" fmla="*/ 624 w 686"/>
                  <a:gd name="T11" fmla="*/ 0 h 687"/>
                  <a:gd name="T12" fmla="*/ 62 w 686"/>
                  <a:gd name="T13" fmla="*/ 0 h 687"/>
                  <a:gd name="T14" fmla="*/ 0 w 686"/>
                  <a:gd name="T15" fmla="*/ 62 h 687"/>
                  <a:gd name="T16" fmla="*/ 0 w 686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6" y="659"/>
                      <a:pt x="686" y="624"/>
                    </a:cubicBezTo>
                    <a:cubicBezTo>
                      <a:pt x="686" y="62"/>
                      <a:pt x="686" y="62"/>
                      <a:pt x="686" y="62"/>
                    </a:cubicBezTo>
                    <a:cubicBezTo>
                      <a:pt x="686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22" name="Freeform 62"/>
              <p:cNvSpPr/>
              <p:nvPr/>
            </p:nvSpPr>
            <p:spPr bwMode="auto">
              <a:xfrm>
                <a:off x="-3825875" y="-5964238"/>
                <a:ext cx="2043113" cy="2471738"/>
              </a:xfrm>
              <a:custGeom>
                <a:avLst/>
                <a:gdLst>
                  <a:gd name="T0" fmla="*/ 2147483646 w 545"/>
                  <a:gd name="T1" fmla="*/ 2147483646 h 659"/>
                  <a:gd name="T2" fmla="*/ 2147483646 w 545"/>
                  <a:gd name="T3" fmla="*/ 2147483646 h 659"/>
                  <a:gd name="T4" fmla="*/ 2147483646 w 545"/>
                  <a:gd name="T5" fmla="*/ 2147483646 h 659"/>
                  <a:gd name="T6" fmla="*/ 2147483646 w 545"/>
                  <a:gd name="T7" fmla="*/ 2147483646 h 659"/>
                  <a:gd name="T8" fmla="*/ 2147483646 w 545"/>
                  <a:gd name="T9" fmla="*/ 2147483646 h 659"/>
                  <a:gd name="T10" fmla="*/ 2147483646 w 545"/>
                  <a:gd name="T11" fmla="*/ 2147483646 h 659"/>
                  <a:gd name="T12" fmla="*/ 2147483646 w 545"/>
                  <a:gd name="T13" fmla="*/ 2147483646 h 659"/>
                  <a:gd name="T14" fmla="*/ 2147483646 w 545"/>
                  <a:gd name="T15" fmla="*/ 2147483646 h 659"/>
                  <a:gd name="T16" fmla="*/ 2147483646 w 545"/>
                  <a:gd name="T17" fmla="*/ 2147483646 h 659"/>
                  <a:gd name="T18" fmla="*/ 2147483646 w 545"/>
                  <a:gd name="T19" fmla="*/ 2147483646 h 659"/>
                  <a:gd name="T20" fmla="*/ 2147483646 w 545"/>
                  <a:gd name="T21" fmla="*/ 2147483646 h 65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45" h="659">
                    <a:moveTo>
                      <a:pt x="315" y="88"/>
                    </a:moveTo>
                    <a:cubicBezTo>
                      <a:pt x="315" y="88"/>
                      <a:pt x="186" y="0"/>
                      <a:pt x="93" y="117"/>
                    </a:cubicBezTo>
                    <a:cubicBezTo>
                      <a:pt x="0" y="233"/>
                      <a:pt x="73" y="330"/>
                      <a:pt x="73" y="330"/>
                    </a:cubicBezTo>
                    <a:cubicBezTo>
                      <a:pt x="147" y="395"/>
                      <a:pt x="147" y="395"/>
                      <a:pt x="147" y="395"/>
                    </a:cubicBezTo>
                    <a:cubicBezTo>
                      <a:pt x="147" y="395"/>
                      <a:pt x="100" y="385"/>
                      <a:pt x="66" y="435"/>
                    </a:cubicBezTo>
                    <a:cubicBezTo>
                      <a:pt x="31" y="484"/>
                      <a:pt x="43" y="517"/>
                      <a:pt x="43" y="517"/>
                    </a:cubicBezTo>
                    <a:cubicBezTo>
                      <a:pt x="185" y="659"/>
                      <a:pt x="185" y="659"/>
                      <a:pt x="185" y="659"/>
                    </a:cubicBezTo>
                    <a:cubicBezTo>
                      <a:pt x="483" y="659"/>
                      <a:pt x="483" y="659"/>
                      <a:pt x="483" y="659"/>
                    </a:cubicBezTo>
                    <a:cubicBezTo>
                      <a:pt x="518" y="659"/>
                      <a:pt x="545" y="631"/>
                      <a:pt x="545" y="596"/>
                    </a:cubicBezTo>
                    <a:cubicBezTo>
                      <a:pt x="545" y="319"/>
                      <a:pt x="545" y="319"/>
                      <a:pt x="545" y="319"/>
                    </a:cubicBezTo>
                    <a:lnTo>
                      <a:pt x="315" y="88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3" name="Freeform 63"/>
              <p:cNvSpPr>
                <a:spLocks noEditPoints="1"/>
              </p:cNvSpPr>
              <p:nvPr/>
            </p:nvSpPr>
            <p:spPr bwMode="auto">
              <a:xfrm>
                <a:off x="-3713163" y="-4629150"/>
                <a:ext cx="1289050" cy="862013"/>
              </a:xfrm>
              <a:custGeom>
                <a:avLst/>
                <a:gdLst>
                  <a:gd name="T0" fmla="*/ 0 w 344"/>
                  <a:gd name="T1" fmla="*/ 2147483646 h 230"/>
                  <a:gd name="T2" fmla="*/ 2147483646 w 344"/>
                  <a:gd name="T3" fmla="*/ 2147483646 h 230"/>
                  <a:gd name="T4" fmla="*/ 2147483646 w 344"/>
                  <a:gd name="T5" fmla="*/ 2147483646 h 230"/>
                  <a:gd name="T6" fmla="*/ 2147483646 w 344"/>
                  <a:gd name="T7" fmla="*/ 0 h 230"/>
                  <a:gd name="T8" fmla="*/ 0 w 344"/>
                  <a:gd name="T9" fmla="*/ 2147483646 h 230"/>
                  <a:gd name="T10" fmla="*/ 2147483646 w 344"/>
                  <a:gd name="T11" fmla="*/ 2147483646 h 230"/>
                  <a:gd name="T12" fmla="*/ 2147483646 w 344"/>
                  <a:gd name="T13" fmla="*/ 2147483646 h 230"/>
                  <a:gd name="T14" fmla="*/ 2147483646 w 344"/>
                  <a:gd name="T15" fmla="*/ 2147483646 h 230"/>
                  <a:gd name="T16" fmla="*/ 2147483646 w 344"/>
                  <a:gd name="T17" fmla="*/ 2147483646 h 230"/>
                  <a:gd name="T18" fmla="*/ 2147483646 w 344"/>
                  <a:gd name="T19" fmla="*/ 2147483646 h 23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44" h="230">
                    <a:moveTo>
                      <a:pt x="0" y="115"/>
                    </a:moveTo>
                    <a:cubicBezTo>
                      <a:pt x="0" y="180"/>
                      <a:pt x="76" y="230"/>
                      <a:pt x="172" y="230"/>
                    </a:cubicBezTo>
                    <a:cubicBezTo>
                      <a:pt x="268" y="230"/>
                      <a:pt x="344" y="180"/>
                      <a:pt x="344" y="115"/>
                    </a:cubicBezTo>
                    <a:cubicBezTo>
                      <a:pt x="344" y="50"/>
                      <a:pt x="268" y="0"/>
                      <a:pt x="172" y="0"/>
                    </a:cubicBezTo>
                    <a:cubicBezTo>
                      <a:pt x="76" y="0"/>
                      <a:pt x="0" y="50"/>
                      <a:pt x="0" y="115"/>
                    </a:cubicBezTo>
                    <a:close/>
                    <a:moveTo>
                      <a:pt x="42" y="115"/>
                    </a:moveTo>
                    <a:cubicBezTo>
                      <a:pt x="42" y="82"/>
                      <a:pt x="96" y="45"/>
                      <a:pt x="172" y="45"/>
                    </a:cubicBezTo>
                    <a:cubicBezTo>
                      <a:pt x="249" y="45"/>
                      <a:pt x="302" y="82"/>
                      <a:pt x="302" y="115"/>
                    </a:cubicBezTo>
                    <a:cubicBezTo>
                      <a:pt x="302" y="148"/>
                      <a:pt x="249" y="185"/>
                      <a:pt x="172" y="185"/>
                    </a:cubicBezTo>
                    <a:cubicBezTo>
                      <a:pt x="96" y="185"/>
                      <a:pt x="42" y="148"/>
                      <a:pt x="42" y="1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4" name="Freeform 64"/>
              <p:cNvSpPr>
                <a:spLocks noEditPoints="1"/>
              </p:cNvSpPr>
              <p:nvPr/>
            </p:nvSpPr>
            <p:spPr bwMode="auto">
              <a:xfrm>
                <a:off x="-3706813" y="-5799138"/>
                <a:ext cx="1274763" cy="1312863"/>
              </a:xfrm>
              <a:custGeom>
                <a:avLst/>
                <a:gdLst>
                  <a:gd name="T0" fmla="*/ 0 w 340"/>
                  <a:gd name="T1" fmla="*/ 2147483646 h 350"/>
                  <a:gd name="T2" fmla="*/ 2147483646 w 340"/>
                  <a:gd name="T3" fmla="*/ 2147483646 h 350"/>
                  <a:gd name="T4" fmla="*/ 2147483646 w 340"/>
                  <a:gd name="T5" fmla="*/ 2147483646 h 350"/>
                  <a:gd name="T6" fmla="*/ 2147483646 w 340"/>
                  <a:gd name="T7" fmla="*/ 0 h 350"/>
                  <a:gd name="T8" fmla="*/ 0 w 340"/>
                  <a:gd name="T9" fmla="*/ 2147483646 h 350"/>
                  <a:gd name="T10" fmla="*/ 2147483646 w 340"/>
                  <a:gd name="T11" fmla="*/ 2147483646 h 350"/>
                  <a:gd name="T12" fmla="*/ 2147483646 w 340"/>
                  <a:gd name="T13" fmla="*/ 2147483646 h 350"/>
                  <a:gd name="T14" fmla="*/ 2147483646 w 340"/>
                  <a:gd name="T15" fmla="*/ 2147483646 h 350"/>
                  <a:gd name="T16" fmla="*/ 2147483646 w 340"/>
                  <a:gd name="T17" fmla="*/ 2147483646 h 350"/>
                  <a:gd name="T18" fmla="*/ 2147483646 w 340"/>
                  <a:gd name="T19" fmla="*/ 2147483646 h 35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40" h="350">
                    <a:moveTo>
                      <a:pt x="0" y="175"/>
                    </a:moveTo>
                    <a:cubicBezTo>
                      <a:pt x="0" y="272"/>
                      <a:pt x="76" y="350"/>
                      <a:pt x="170" y="350"/>
                    </a:cubicBezTo>
                    <a:cubicBezTo>
                      <a:pt x="264" y="350"/>
                      <a:pt x="340" y="272"/>
                      <a:pt x="340" y="175"/>
                    </a:cubicBezTo>
                    <a:cubicBezTo>
                      <a:pt x="340" y="79"/>
                      <a:pt x="264" y="0"/>
                      <a:pt x="170" y="0"/>
                    </a:cubicBezTo>
                    <a:cubicBezTo>
                      <a:pt x="76" y="0"/>
                      <a:pt x="0" y="79"/>
                      <a:pt x="0" y="175"/>
                    </a:cubicBezTo>
                    <a:close/>
                    <a:moveTo>
                      <a:pt x="42" y="175"/>
                    </a:moveTo>
                    <a:cubicBezTo>
                      <a:pt x="42" y="105"/>
                      <a:pt x="100" y="49"/>
                      <a:pt x="170" y="49"/>
                    </a:cubicBezTo>
                    <a:cubicBezTo>
                      <a:pt x="241" y="49"/>
                      <a:pt x="298" y="105"/>
                      <a:pt x="298" y="175"/>
                    </a:cubicBezTo>
                    <a:cubicBezTo>
                      <a:pt x="298" y="245"/>
                      <a:pt x="241" y="302"/>
                      <a:pt x="170" y="302"/>
                    </a:cubicBezTo>
                    <a:cubicBezTo>
                      <a:pt x="100" y="302"/>
                      <a:pt x="42" y="245"/>
                      <a:pt x="42" y="1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5" name="Oval 65"/>
              <p:cNvSpPr>
                <a:spLocks noChangeArrowheads="1"/>
              </p:cNvSpPr>
              <p:nvPr/>
            </p:nvSpPr>
            <p:spPr bwMode="auto">
              <a:xfrm>
                <a:off x="-3459163" y="-4411663"/>
                <a:ext cx="781050" cy="3746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26" name="Freeform 66"/>
              <p:cNvSpPr/>
              <p:nvPr/>
            </p:nvSpPr>
            <p:spPr bwMode="auto">
              <a:xfrm>
                <a:off x="-3332163" y="-5402263"/>
                <a:ext cx="346075" cy="277813"/>
              </a:xfrm>
              <a:custGeom>
                <a:avLst/>
                <a:gdLst>
                  <a:gd name="T0" fmla="*/ 2147483646 w 92"/>
                  <a:gd name="T1" fmla="*/ 2147483646 h 74"/>
                  <a:gd name="T2" fmla="*/ 2147483646 w 92"/>
                  <a:gd name="T3" fmla="*/ 2147483646 h 74"/>
                  <a:gd name="T4" fmla="*/ 2147483646 w 92"/>
                  <a:gd name="T5" fmla="*/ 2147483646 h 74"/>
                  <a:gd name="T6" fmla="*/ 2147483646 w 92"/>
                  <a:gd name="T7" fmla="*/ 2147483646 h 74"/>
                  <a:gd name="T8" fmla="*/ 2147483646 w 92"/>
                  <a:gd name="T9" fmla="*/ 2147483646 h 74"/>
                  <a:gd name="T10" fmla="*/ 2147483646 w 92"/>
                  <a:gd name="T11" fmla="*/ 2147483646 h 74"/>
                  <a:gd name="T12" fmla="*/ 2147483646 w 92"/>
                  <a:gd name="T13" fmla="*/ 2147483646 h 74"/>
                  <a:gd name="T14" fmla="*/ 2147483646 w 92"/>
                  <a:gd name="T15" fmla="*/ 2147483646 h 74"/>
                  <a:gd name="T16" fmla="*/ 2147483646 w 92"/>
                  <a:gd name="T17" fmla="*/ 2147483646 h 7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2" h="74">
                    <a:moveTo>
                      <a:pt x="14" y="71"/>
                    </a:moveTo>
                    <a:cubicBezTo>
                      <a:pt x="10" y="74"/>
                      <a:pt x="5" y="72"/>
                      <a:pt x="2" y="68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0" y="63"/>
                      <a:pt x="0" y="58"/>
                      <a:pt x="4" y="55"/>
                    </a:cubicBezTo>
                    <a:cubicBezTo>
                      <a:pt x="78" y="2"/>
                      <a:pt x="78" y="2"/>
                      <a:pt x="78" y="2"/>
                    </a:cubicBezTo>
                    <a:cubicBezTo>
                      <a:pt x="81" y="0"/>
                      <a:pt x="86" y="1"/>
                      <a:pt x="89" y="6"/>
                    </a:cubicBezTo>
                    <a:cubicBezTo>
                      <a:pt x="89" y="6"/>
                      <a:pt x="89" y="6"/>
                      <a:pt x="89" y="6"/>
                    </a:cubicBezTo>
                    <a:cubicBezTo>
                      <a:pt x="92" y="10"/>
                      <a:pt x="91" y="16"/>
                      <a:pt x="87" y="18"/>
                    </a:cubicBezTo>
                    <a:lnTo>
                      <a:pt x="14" y="7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7" name="Freeform 67"/>
              <p:cNvSpPr/>
              <p:nvPr/>
            </p:nvSpPr>
            <p:spPr bwMode="auto">
              <a:xfrm>
                <a:off x="-3313113" y="-5372100"/>
                <a:ext cx="511175" cy="390525"/>
              </a:xfrm>
              <a:custGeom>
                <a:avLst/>
                <a:gdLst>
                  <a:gd name="T0" fmla="*/ 2147483646 w 136"/>
                  <a:gd name="T1" fmla="*/ 2147483646 h 104"/>
                  <a:gd name="T2" fmla="*/ 2147483646 w 136"/>
                  <a:gd name="T3" fmla="*/ 2147483646 h 104"/>
                  <a:gd name="T4" fmla="*/ 2147483646 w 136"/>
                  <a:gd name="T5" fmla="*/ 2147483646 h 104"/>
                  <a:gd name="T6" fmla="*/ 2147483646 w 136"/>
                  <a:gd name="T7" fmla="*/ 2147483646 h 104"/>
                  <a:gd name="T8" fmla="*/ 2147483646 w 136"/>
                  <a:gd name="T9" fmla="*/ 2147483646 h 104"/>
                  <a:gd name="T10" fmla="*/ 2147483646 w 136"/>
                  <a:gd name="T11" fmla="*/ 2147483646 h 104"/>
                  <a:gd name="T12" fmla="*/ 2147483646 w 136"/>
                  <a:gd name="T13" fmla="*/ 2147483646 h 104"/>
                  <a:gd name="T14" fmla="*/ 2147483646 w 136"/>
                  <a:gd name="T15" fmla="*/ 2147483646 h 104"/>
                  <a:gd name="T16" fmla="*/ 2147483646 w 136"/>
                  <a:gd name="T17" fmla="*/ 2147483646 h 10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6" h="104">
                    <a:moveTo>
                      <a:pt x="18" y="100"/>
                    </a:moveTo>
                    <a:cubicBezTo>
                      <a:pt x="12" y="104"/>
                      <a:pt x="5" y="103"/>
                      <a:pt x="3" y="99"/>
                    </a:cubicBezTo>
                    <a:cubicBezTo>
                      <a:pt x="3" y="99"/>
                      <a:pt x="3" y="99"/>
                      <a:pt x="3" y="99"/>
                    </a:cubicBezTo>
                    <a:cubicBezTo>
                      <a:pt x="0" y="94"/>
                      <a:pt x="2" y="88"/>
                      <a:pt x="8" y="84"/>
                    </a:cubicBezTo>
                    <a:cubicBezTo>
                      <a:pt x="119" y="4"/>
                      <a:pt x="119" y="4"/>
                      <a:pt x="119" y="4"/>
                    </a:cubicBezTo>
                    <a:cubicBezTo>
                      <a:pt x="124" y="0"/>
                      <a:pt x="131" y="0"/>
                      <a:pt x="134" y="5"/>
                    </a:cubicBezTo>
                    <a:cubicBezTo>
                      <a:pt x="134" y="5"/>
                      <a:pt x="134" y="5"/>
                      <a:pt x="134" y="5"/>
                    </a:cubicBezTo>
                    <a:cubicBezTo>
                      <a:pt x="136" y="9"/>
                      <a:pt x="134" y="16"/>
                      <a:pt x="129" y="20"/>
                    </a:cubicBezTo>
                    <a:lnTo>
                      <a:pt x="18" y="10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8" name="Freeform 68"/>
              <p:cNvSpPr/>
              <p:nvPr/>
            </p:nvSpPr>
            <p:spPr bwMode="auto">
              <a:xfrm>
                <a:off x="-3117850" y="-5207000"/>
                <a:ext cx="303213" cy="250825"/>
              </a:xfrm>
              <a:custGeom>
                <a:avLst/>
                <a:gdLst>
                  <a:gd name="T0" fmla="*/ 2147483646 w 81"/>
                  <a:gd name="T1" fmla="*/ 2147483646 h 67"/>
                  <a:gd name="T2" fmla="*/ 2147483646 w 81"/>
                  <a:gd name="T3" fmla="*/ 2147483646 h 67"/>
                  <a:gd name="T4" fmla="*/ 2147483646 w 81"/>
                  <a:gd name="T5" fmla="*/ 2147483646 h 67"/>
                  <a:gd name="T6" fmla="*/ 2147483646 w 81"/>
                  <a:gd name="T7" fmla="*/ 2147483646 h 67"/>
                  <a:gd name="T8" fmla="*/ 2147483646 w 81"/>
                  <a:gd name="T9" fmla="*/ 2147483646 h 67"/>
                  <a:gd name="T10" fmla="*/ 2147483646 w 81"/>
                  <a:gd name="T11" fmla="*/ 2147483646 h 67"/>
                  <a:gd name="T12" fmla="*/ 2147483646 w 81"/>
                  <a:gd name="T13" fmla="*/ 2147483646 h 67"/>
                  <a:gd name="T14" fmla="*/ 2147483646 w 81"/>
                  <a:gd name="T15" fmla="*/ 2147483646 h 67"/>
                  <a:gd name="T16" fmla="*/ 2147483646 w 81"/>
                  <a:gd name="T17" fmla="*/ 2147483646 h 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1" h="67">
                    <a:moveTo>
                      <a:pt x="14" y="64"/>
                    </a:moveTo>
                    <a:cubicBezTo>
                      <a:pt x="10" y="67"/>
                      <a:pt x="6" y="65"/>
                      <a:pt x="3" y="60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0" y="56"/>
                      <a:pt x="0" y="50"/>
                      <a:pt x="4" y="48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70" y="0"/>
                      <a:pt x="75" y="2"/>
                      <a:pt x="78" y="6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81" y="11"/>
                      <a:pt x="80" y="16"/>
                      <a:pt x="77" y="19"/>
                    </a:cubicBezTo>
                    <a:lnTo>
                      <a:pt x="14" y="6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708" name="组合 271"/>
            <p:cNvGrpSpPr/>
            <p:nvPr/>
          </p:nvGrpSpPr>
          <p:grpSpPr bwMode="auto">
            <a:xfrm>
              <a:off x="4325532" y="2250143"/>
              <a:ext cx="348505" cy="346505"/>
              <a:chOff x="7129657" y="-1531645"/>
              <a:chExt cx="564454" cy="561216"/>
            </a:xfrm>
          </p:grpSpPr>
          <p:sp>
            <p:nvSpPr>
              <p:cNvPr id="273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12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3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4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5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6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7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8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81" name="Freeform 128"/>
              <p:cNvSpPr/>
              <p:nvPr/>
            </p:nvSpPr>
            <p:spPr bwMode="auto">
              <a:xfrm>
                <a:off x="7315413" y="-1250035"/>
                <a:ext cx="190369" cy="9253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20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" name="组合 2"/>
          <p:cNvGrpSpPr/>
          <p:nvPr/>
        </p:nvGrpSpPr>
        <p:grpSpPr bwMode="auto">
          <a:xfrm>
            <a:off x="2447925" y="1260475"/>
            <a:ext cx="709613" cy="1450975"/>
            <a:chOff x="2448163" y="1260748"/>
            <a:chExt cx="709628" cy="1450512"/>
          </a:xfrm>
        </p:grpSpPr>
        <p:sp>
          <p:nvSpPr>
            <p:cNvPr id="33" name="Rectangle 12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2448163" y="1260748"/>
              <a:ext cx="709628" cy="145051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26687" name="组合 131"/>
            <p:cNvGrpSpPr/>
            <p:nvPr/>
          </p:nvGrpSpPr>
          <p:grpSpPr bwMode="auto">
            <a:xfrm>
              <a:off x="2522615" y="1394268"/>
              <a:ext cx="560725" cy="560725"/>
              <a:chOff x="-819150" y="-2608263"/>
              <a:chExt cx="2576513" cy="2576513"/>
            </a:xfrm>
          </p:grpSpPr>
          <p:sp>
            <p:nvSpPr>
              <p:cNvPr id="26701" name="Freeform 78"/>
              <p:cNvSpPr/>
              <p:nvPr/>
            </p:nvSpPr>
            <p:spPr bwMode="auto">
              <a:xfrm>
                <a:off x="-819150" y="-2608263"/>
                <a:ext cx="2576513" cy="2576513"/>
              </a:xfrm>
              <a:custGeom>
                <a:avLst/>
                <a:gdLst>
                  <a:gd name="T0" fmla="*/ 0 w 687"/>
                  <a:gd name="T1" fmla="*/ 2147483646 h 687"/>
                  <a:gd name="T2" fmla="*/ 2147483646 w 687"/>
                  <a:gd name="T3" fmla="*/ 2147483646 h 687"/>
                  <a:gd name="T4" fmla="*/ 2147483646 w 687"/>
                  <a:gd name="T5" fmla="*/ 2147483646 h 687"/>
                  <a:gd name="T6" fmla="*/ 2147483646 w 687"/>
                  <a:gd name="T7" fmla="*/ 2147483646 h 687"/>
                  <a:gd name="T8" fmla="*/ 2147483646 w 687"/>
                  <a:gd name="T9" fmla="*/ 2147483646 h 687"/>
                  <a:gd name="T10" fmla="*/ 2147483646 w 687"/>
                  <a:gd name="T11" fmla="*/ 0 h 687"/>
                  <a:gd name="T12" fmla="*/ 2147483646 w 687"/>
                  <a:gd name="T13" fmla="*/ 0 h 687"/>
                  <a:gd name="T14" fmla="*/ 0 w 687"/>
                  <a:gd name="T15" fmla="*/ 2147483646 h 687"/>
                  <a:gd name="T16" fmla="*/ 0 w 687"/>
                  <a:gd name="T17" fmla="*/ 2147483646 h 68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03A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264" name="Freeform 79"/>
              <p:cNvSpPr/>
              <p:nvPr/>
            </p:nvSpPr>
            <p:spPr bwMode="auto">
              <a:xfrm>
                <a:off x="-818401" y="-2609241"/>
                <a:ext cx="2575015" cy="2574143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03" name="Freeform 80"/>
              <p:cNvSpPr/>
              <p:nvPr/>
            </p:nvSpPr>
            <p:spPr bwMode="auto">
              <a:xfrm>
                <a:off x="-249238" y="-2057400"/>
                <a:ext cx="2006600" cy="2025650"/>
              </a:xfrm>
              <a:custGeom>
                <a:avLst/>
                <a:gdLst>
                  <a:gd name="T0" fmla="*/ 2147483646 w 535"/>
                  <a:gd name="T1" fmla="*/ 2147483646 h 540"/>
                  <a:gd name="T2" fmla="*/ 2147483646 w 535"/>
                  <a:gd name="T3" fmla="*/ 2147483646 h 540"/>
                  <a:gd name="T4" fmla="*/ 2147483646 w 535"/>
                  <a:gd name="T5" fmla="*/ 2147483646 h 540"/>
                  <a:gd name="T6" fmla="*/ 2147483646 w 535"/>
                  <a:gd name="T7" fmla="*/ 2147483646 h 540"/>
                  <a:gd name="T8" fmla="*/ 2147483646 w 535"/>
                  <a:gd name="T9" fmla="*/ 2147483646 h 540"/>
                  <a:gd name="T10" fmla="*/ 2147483646 w 535"/>
                  <a:gd name="T11" fmla="*/ 2147483646 h 540"/>
                  <a:gd name="T12" fmla="*/ 2147483646 w 535"/>
                  <a:gd name="T13" fmla="*/ 2147483646 h 540"/>
                  <a:gd name="T14" fmla="*/ 2147483646 w 535"/>
                  <a:gd name="T15" fmla="*/ 2147483646 h 540"/>
                  <a:gd name="T16" fmla="*/ 2147483646 w 535"/>
                  <a:gd name="T17" fmla="*/ 0 h 540"/>
                  <a:gd name="T18" fmla="*/ 2147483646 w 535"/>
                  <a:gd name="T19" fmla="*/ 2147483646 h 540"/>
                  <a:gd name="T20" fmla="*/ 2147483646 w 535"/>
                  <a:gd name="T21" fmla="*/ 2147483646 h 540"/>
                  <a:gd name="T22" fmla="*/ 2147483646 w 535"/>
                  <a:gd name="T23" fmla="*/ 2147483646 h 540"/>
                  <a:gd name="T24" fmla="*/ 2147483646 w 535"/>
                  <a:gd name="T25" fmla="*/ 2147483646 h 540"/>
                  <a:gd name="T26" fmla="*/ 2147483646 w 535"/>
                  <a:gd name="T27" fmla="*/ 2147483646 h 540"/>
                  <a:gd name="T28" fmla="*/ 2147483646 w 535"/>
                  <a:gd name="T29" fmla="*/ 2147483646 h 540"/>
                  <a:gd name="T30" fmla="*/ 2147483646 w 535"/>
                  <a:gd name="T31" fmla="*/ 2147483646 h 540"/>
                  <a:gd name="T32" fmla="*/ 2147483646 w 535"/>
                  <a:gd name="T33" fmla="*/ 2147483646 h 54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5" h="540">
                    <a:moveTo>
                      <a:pt x="535" y="478"/>
                    </a:moveTo>
                    <a:cubicBezTo>
                      <a:pt x="535" y="268"/>
                      <a:pt x="535" y="268"/>
                      <a:pt x="535" y="268"/>
                    </a:cubicBezTo>
                    <a:cubicBezTo>
                      <a:pt x="365" y="98"/>
                      <a:pt x="365" y="98"/>
                      <a:pt x="365" y="98"/>
                    </a:cubicBezTo>
                    <a:cubicBezTo>
                      <a:pt x="310" y="73"/>
                      <a:pt x="310" y="73"/>
                      <a:pt x="310" y="73"/>
                    </a:cubicBezTo>
                    <a:cubicBezTo>
                      <a:pt x="364" y="127"/>
                      <a:pt x="364" y="127"/>
                      <a:pt x="364" y="127"/>
                    </a:cubicBezTo>
                    <a:cubicBezTo>
                      <a:pt x="363" y="132"/>
                      <a:pt x="361" y="137"/>
                      <a:pt x="357" y="143"/>
                    </a:cubicBezTo>
                    <a:cubicBezTo>
                      <a:pt x="311" y="97"/>
                      <a:pt x="311" y="97"/>
                      <a:pt x="311" y="97"/>
                    </a:cubicBezTo>
                    <a:cubicBezTo>
                      <a:pt x="299" y="110"/>
                      <a:pt x="299" y="110"/>
                      <a:pt x="299" y="110"/>
                    </a:cubicBezTo>
                    <a:cubicBezTo>
                      <a:pt x="189" y="0"/>
                      <a:pt x="189" y="0"/>
                      <a:pt x="189" y="0"/>
                    </a:cubicBezTo>
                    <a:cubicBezTo>
                      <a:pt x="189" y="0"/>
                      <a:pt x="218" y="80"/>
                      <a:pt x="126" y="77"/>
                    </a:cubicBezTo>
                    <a:cubicBezTo>
                      <a:pt x="119" y="76"/>
                      <a:pt x="116" y="79"/>
                      <a:pt x="115" y="83"/>
                    </a:cubicBezTo>
                    <a:cubicBezTo>
                      <a:pt x="95" y="63"/>
                      <a:pt x="95" y="63"/>
                      <a:pt x="95" y="63"/>
                    </a:cubicBezTo>
                    <a:cubicBezTo>
                      <a:pt x="95" y="63"/>
                      <a:pt x="19" y="80"/>
                      <a:pt x="10" y="121"/>
                    </a:cubicBezTo>
                    <a:cubicBezTo>
                      <a:pt x="0" y="163"/>
                      <a:pt x="12" y="395"/>
                      <a:pt x="12" y="395"/>
                    </a:cubicBezTo>
                    <a:cubicBezTo>
                      <a:pt x="157" y="540"/>
                      <a:pt x="157" y="540"/>
                      <a:pt x="157" y="540"/>
                    </a:cubicBezTo>
                    <a:cubicBezTo>
                      <a:pt x="472" y="540"/>
                      <a:pt x="472" y="540"/>
                      <a:pt x="472" y="540"/>
                    </a:cubicBezTo>
                    <a:cubicBezTo>
                      <a:pt x="507" y="540"/>
                      <a:pt x="535" y="512"/>
                      <a:pt x="535" y="478"/>
                    </a:cubicBez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04" name="Freeform 81"/>
              <p:cNvSpPr>
                <a:spLocks noEditPoints="1"/>
              </p:cNvSpPr>
              <p:nvPr/>
            </p:nvSpPr>
            <p:spPr bwMode="auto">
              <a:xfrm>
                <a:off x="-238125" y="-1820863"/>
                <a:ext cx="1411288" cy="1436688"/>
              </a:xfrm>
              <a:custGeom>
                <a:avLst/>
                <a:gdLst>
                  <a:gd name="T0" fmla="*/ 2147483646 w 376"/>
                  <a:gd name="T1" fmla="*/ 2147483646 h 383"/>
                  <a:gd name="T2" fmla="*/ 2147483646 w 376"/>
                  <a:gd name="T3" fmla="*/ 2147483646 h 383"/>
                  <a:gd name="T4" fmla="*/ 2147483646 w 376"/>
                  <a:gd name="T5" fmla="*/ 2147483646 h 383"/>
                  <a:gd name="T6" fmla="*/ 2147483646 w 376"/>
                  <a:gd name="T7" fmla="*/ 2147483646 h 383"/>
                  <a:gd name="T8" fmla="*/ 2147483646 w 376"/>
                  <a:gd name="T9" fmla="*/ 2147483646 h 383"/>
                  <a:gd name="T10" fmla="*/ 2147483646 w 376"/>
                  <a:gd name="T11" fmla="*/ 2147483646 h 383"/>
                  <a:gd name="T12" fmla="*/ 2147483646 w 376"/>
                  <a:gd name="T13" fmla="*/ 2147483646 h 383"/>
                  <a:gd name="T14" fmla="*/ 2147483646 w 376"/>
                  <a:gd name="T15" fmla="*/ 2147483646 h 383"/>
                  <a:gd name="T16" fmla="*/ 2147483646 w 376"/>
                  <a:gd name="T17" fmla="*/ 0 h 383"/>
                  <a:gd name="T18" fmla="*/ 0 w 376"/>
                  <a:gd name="T19" fmla="*/ 2147483646 h 383"/>
                  <a:gd name="T20" fmla="*/ 0 w 376"/>
                  <a:gd name="T21" fmla="*/ 2147483646 h 383"/>
                  <a:gd name="T22" fmla="*/ 2147483646 w 376"/>
                  <a:gd name="T23" fmla="*/ 2147483646 h 383"/>
                  <a:gd name="T24" fmla="*/ 2147483646 w 376"/>
                  <a:gd name="T25" fmla="*/ 2147483646 h 383"/>
                  <a:gd name="T26" fmla="*/ 2147483646 w 376"/>
                  <a:gd name="T27" fmla="*/ 2147483646 h 383"/>
                  <a:gd name="T28" fmla="*/ 2147483646 w 376"/>
                  <a:gd name="T29" fmla="*/ 2147483646 h 383"/>
                  <a:gd name="T30" fmla="*/ 2147483646 w 376"/>
                  <a:gd name="T31" fmla="*/ 2147483646 h 383"/>
                  <a:gd name="T32" fmla="*/ 2147483646 w 376"/>
                  <a:gd name="T33" fmla="*/ 2147483646 h 383"/>
                  <a:gd name="T34" fmla="*/ 2147483646 w 376"/>
                  <a:gd name="T35" fmla="*/ 2147483646 h 383"/>
                  <a:gd name="T36" fmla="*/ 2147483646 w 376"/>
                  <a:gd name="T37" fmla="*/ 2147483646 h 383"/>
                  <a:gd name="T38" fmla="*/ 2147483646 w 376"/>
                  <a:gd name="T39" fmla="*/ 2147483646 h 383"/>
                  <a:gd name="T40" fmla="*/ 2147483646 w 376"/>
                  <a:gd name="T41" fmla="*/ 2147483646 h 383"/>
                  <a:gd name="T42" fmla="*/ 2147483646 w 376"/>
                  <a:gd name="T43" fmla="*/ 2147483646 h 3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76" h="383">
                    <a:moveTo>
                      <a:pt x="294" y="3"/>
                    </a:moveTo>
                    <a:cubicBezTo>
                      <a:pt x="312" y="10"/>
                      <a:pt x="323" y="21"/>
                      <a:pt x="330" y="32"/>
                    </a:cubicBezTo>
                    <a:cubicBezTo>
                      <a:pt x="346" y="40"/>
                      <a:pt x="355" y="50"/>
                      <a:pt x="355" y="60"/>
                    </a:cubicBezTo>
                    <a:cubicBezTo>
                      <a:pt x="355" y="78"/>
                      <a:pt x="324" y="95"/>
                      <a:pt x="278" y="104"/>
                    </a:cubicBezTo>
                    <a:cubicBezTo>
                      <a:pt x="249" y="112"/>
                      <a:pt x="214" y="114"/>
                      <a:pt x="187" y="114"/>
                    </a:cubicBezTo>
                    <a:cubicBezTo>
                      <a:pt x="159" y="114"/>
                      <a:pt x="120" y="111"/>
                      <a:pt x="89" y="102"/>
                    </a:cubicBezTo>
                    <a:cubicBezTo>
                      <a:pt x="48" y="93"/>
                      <a:pt x="22" y="77"/>
                      <a:pt x="22" y="60"/>
                    </a:cubicBezTo>
                    <a:cubicBezTo>
                      <a:pt x="22" y="51"/>
                      <a:pt x="29" y="39"/>
                      <a:pt x="42" y="29"/>
                    </a:cubicBezTo>
                    <a:cubicBezTo>
                      <a:pt x="54" y="19"/>
                      <a:pt x="71" y="8"/>
                      <a:pt x="96" y="0"/>
                    </a:cubicBezTo>
                    <a:cubicBezTo>
                      <a:pt x="39" y="12"/>
                      <a:pt x="0" y="35"/>
                      <a:pt x="0" y="62"/>
                    </a:cubicBezTo>
                    <a:cubicBezTo>
                      <a:pt x="0" y="93"/>
                      <a:pt x="0" y="280"/>
                      <a:pt x="0" y="312"/>
                    </a:cubicBezTo>
                    <a:cubicBezTo>
                      <a:pt x="0" y="352"/>
                      <a:pt x="84" y="383"/>
                      <a:pt x="188" y="383"/>
                    </a:cubicBezTo>
                    <a:cubicBezTo>
                      <a:pt x="292" y="383"/>
                      <a:pt x="376" y="352"/>
                      <a:pt x="376" y="312"/>
                    </a:cubicBezTo>
                    <a:cubicBezTo>
                      <a:pt x="376" y="280"/>
                      <a:pt x="376" y="93"/>
                      <a:pt x="376" y="62"/>
                    </a:cubicBezTo>
                    <a:cubicBezTo>
                      <a:pt x="376" y="37"/>
                      <a:pt x="344" y="15"/>
                      <a:pt x="294" y="3"/>
                    </a:cubicBezTo>
                    <a:close/>
                    <a:moveTo>
                      <a:pt x="43" y="304"/>
                    </a:moveTo>
                    <a:cubicBezTo>
                      <a:pt x="43" y="311"/>
                      <a:pt x="39" y="316"/>
                      <a:pt x="33" y="316"/>
                    </a:cubicBezTo>
                    <a:cubicBezTo>
                      <a:pt x="27" y="316"/>
                      <a:pt x="22" y="311"/>
                      <a:pt x="22" y="304"/>
                    </a:cubicBezTo>
                    <a:cubicBezTo>
                      <a:pt x="22" y="119"/>
                      <a:pt x="22" y="119"/>
                      <a:pt x="22" y="119"/>
                    </a:cubicBezTo>
                    <a:cubicBezTo>
                      <a:pt x="22" y="112"/>
                      <a:pt x="27" y="106"/>
                      <a:pt x="33" y="106"/>
                    </a:cubicBezTo>
                    <a:cubicBezTo>
                      <a:pt x="39" y="106"/>
                      <a:pt x="43" y="112"/>
                      <a:pt x="43" y="119"/>
                    </a:cubicBezTo>
                    <a:lnTo>
                      <a:pt x="43" y="30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05" name="Freeform 82"/>
              <p:cNvSpPr>
                <a:spLocks noEditPoints="1"/>
              </p:cNvSpPr>
              <p:nvPr/>
            </p:nvSpPr>
            <p:spPr bwMode="auto">
              <a:xfrm>
                <a:off x="-61913" y="-2146300"/>
                <a:ext cx="1035050" cy="693738"/>
              </a:xfrm>
              <a:custGeom>
                <a:avLst/>
                <a:gdLst>
                  <a:gd name="T0" fmla="*/ 2147483646 w 276"/>
                  <a:gd name="T1" fmla="*/ 2147483646 h 185"/>
                  <a:gd name="T2" fmla="*/ 2147483646 w 276"/>
                  <a:gd name="T3" fmla="*/ 2147483646 h 185"/>
                  <a:gd name="T4" fmla="*/ 2147483646 w 276"/>
                  <a:gd name="T5" fmla="*/ 2147483646 h 185"/>
                  <a:gd name="T6" fmla="*/ 2147483646 w 276"/>
                  <a:gd name="T7" fmla="*/ 2147483646 h 185"/>
                  <a:gd name="T8" fmla="*/ 2147483646 w 276"/>
                  <a:gd name="T9" fmla="*/ 2147483646 h 185"/>
                  <a:gd name="T10" fmla="*/ 2147483646 w 276"/>
                  <a:gd name="T11" fmla="*/ 2147483646 h 185"/>
                  <a:gd name="T12" fmla="*/ 2147483646 w 276"/>
                  <a:gd name="T13" fmla="*/ 2147483646 h 185"/>
                  <a:gd name="T14" fmla="*/ 2147483646 w 276"/>
                  <a:gd name="T15" fmla="*/ 2147483646 h 185"/>
                  <a:gd name="T16" fmla="*/ 2147483646 w 276"/>
                  <a:gd name="T17" fmla="*/ 2147483646 h 185"/>
                  <a:gd name="T18" fmla="*/ 2147483646 w 276"/>
                  <a:gd name="T19" fmla="*/ 2147483646 h 185"/>
                  <a:gd name="T20" fmla="*/ 2147483646 w 276"/>
                  <a:gd name="T21" fmla="*/ 2147483646 h 185"/>
                  <a:gd name="T22" fmla="*/ 2147483646 w 276"/>
                  <a:gd name="T23" fmla="*/ 2147483646 h 185"/>
                  <a:gd name="T24" fmla="*/ 2147483646 w 276"/>
                  <a:gd name="T25" fmla="*/ 2147483646 h 185"/>
                  <a:gd name="T26" fmla="*/ 2147483646 w 276"/>
                  <a:gd name="T27" fmla="*/ 2147483646 h 185"/>
                  <a:gd name="T28" fmla="*/ 2147483646 w 276"/>
                  <a:gd name="T29" fmla="*/ 2147483646 h 185"/>
                  <a:gd name="T30" fmla="*/ 2147483646 w 276"/>
                  <a:gd name="T31" fmla="*/ 2147483646 h 18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76" h="185">
                    <a:moveTo>
                      <a:pt x="225" y="101"/>
                    </a:moveTo>
                    <a:cubicBezTo>
                      <a:pt x="171" y="91"/>
                      <a:pt x="177" y="81"/>
                      <a:pt x="156" y="40"/>
                    </a:cubicBezTo>
                    <a:cubicBezTo>
                      <a:pt x="135" y="0"/>
                      <a:pt x="94" y="21"/>
                      <a:pt x="94" y="21"/>
                    </a:cubicBezTo>
                    <a:cubicBezTo>
                      <a:pt x="148" y="27"/>
                      <a:pt x="149" y="91"/>
                      <a:pt x="102" y="94"/>
                    </a:cubicBezTo>
                    <a:cubicBezTo>
                      <a:pt x="65" y="97"/>
                      <a:pt x="41" y="106"/>
                      <a:pt x="24" y="114"/>
                    </a:cubicBezTo>
                    <a:cubicBezTo>
                      <a:pt x="7" y="123"/>
                      <a:pt x="0" y="124"/>
                      <a:pt x="6" y="147"/>
                    </a:cubicBezTo>
                    <a:cubicBezTo>
                      <a:pt x="12" y="169"/>
                      <a:pt x="66" y="185"/>
                      <a:pt x="140" y="185"/>
                    </a:cubicBezTo>
                    <a:cubicBezTo>
                      <a:pt x="215" y="185"/>
                      <a:pt x="276" y="166"/>
                      <a:pt x="276" y="143"/>
                    </a:cubicBezTo>
                    <a:cubicBezTo>
                      <a:pt x="276" y="141"/>
                      <a:pt x="266" y="108"/>
                      <a:pt x="225" y="101"/>
                    </a:cubicBezTo>
                    <a:close/>
                    <a:moveTo>
                      <a:pt x="108" y="112"/>
                    </a:moveTo>
                    <a:cubicBezTo>
                      <a:pt x="69" y="110"/>
                      <a:pt x="24" y="139"/>
                      <a:pt x="24" y="139"/>
                    </a:cubicBezTo>
                    <a:cubicBezTo>
                      <a:pt x="22" y="140"/>
                      <a:pt x="20" y="139"/>
                      <a:pt x="19" y="138"/>
                    </a:cubicBezTo>
                    <a:cubicBezTo>
                      <a:pt x="18" y="136"/>
                      <a:pt x="18" y="133"/>
                      <a:pt x="20" y="132"/>
                    </a:cubicBezTo>
                    <a:cubicBezTo>
                      <a:pt x="22" y="131"/>
                      <a:pt x="67" y="102"/>
                      <a:pt x="109" y="104"/>
                    </a:cubicBezTo>
                    <a:cubicBezTo>
                      <a:pt x="111" y="104"/>
                      <a:pt x="112" y="106"/>
                      <a:pt x="112" y="108"/>
                    </a:cubicBezTo>
                    <a:cubicBezTo>
                      <a:pt x="112" y="110"/>
                      <a:pt x="110" y="112"/>
                      <a:pt x="108" y="1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688" name="组合 282"/>
            <p:cNvGrpSpPr/>
            <p:nvPr/>
          </p:nvGrpSpPr>
          <p:grpSpPr bwMode="auto">
            <a:xfrm>
              <a:off x="2628725" y="2250143"/>
              <a:ext cx="348505" cy="346505"/>
              <a:chOff x="7129657" y="-1531645"/>
              <a:chExt cx="564454" cy="561216"/>
            </a:xfrm>
          </p:grpSpPr>
          <p:sp>
            <p:nvSpPr>
              <p:cNvPr id="284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92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3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4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5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6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7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8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2" name="Freeform 128"/>
              <p:cNvSpPr/>
              <p:nvPr/>
            </p:nvSpPr>
            <p:spPr bwMode="auto">
              <a:xfrm>
                <a:off x="7315461" y="-1250035"/>
                <a:ext cx="190271" cy="9253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00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" name="组合 1"/>
          <p:cNvGrpSpPr/>
          <p:nvPr/>
        </p:nvGrpSpPr>
        <p:grpSpPr bwMode="auto">
          <a:xfrm>
            <a:off x="481013" y="1266825"/>
            <a:ext cx="1206500" cy="1444625"/>
            <a:chOff x="480601" y="1266035"/>
            <a:chExt cx="1207260" cy="1445225"/>
          </a:xfrm>
        </p:grpSpPr>
        <p:sp>
          <p:nvSpPr>
            <p:cNvPr id="32" name="矩形 31"/>
            <p:cNvSpPr/>
            <p:nvPr/>
          </p:nvSpPr>
          <p:spPr>
            <a:xfrm>
              <a:off x="480601" y="1266035"/>
              <a:ext cx="1207260" cy="1445225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26669" name="组合 130"/>
            <p:cNvGrpSpPr/>
            <p:nvPr/>
          </p:nvGrpSpPr>
          <p:grpSpPr bwMode="auto">
            <a:xfrm>
              <a:off x="685358" y="1396762"/>
              <a:ext cx="820957" cy="820957"/>
              <a:chOff x="9790112" y="-2608263"/>
              <a:chExt cx="2576513" cy="2576513"/>
            </a:xfrm>
          </p:grpSpPr>
          <p:sp>
            <p:nvSpPr>
              <p:cNvPr id="9305" name="Freeform 111"/>
              <p:cNvSpPr/>
              <p:nvPr/>
            </p:nvSpPr>
            <p:spPr bwMode="auto">
              <a:xfrm>
                <a:off x="9790611" y="-2609827"/>
                <a:ext cx="2577449" cy="2576896"/>
              </a:xfrm>
              <a:custGeom>
                <a:avLst/>
                <a:gdLst>
                  <a:gd name="T0" fmla="*/ 0 w 687"/>
                  <a:gd name="T1" fmla="*/ 625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684" name="Freeform 112"/>
              <p:cNvSpPr/>
              <p:nvPr/>
            </p:nvSpPr>
            <p:spPr bwMode="auto">
              <a:xfrm>
                <a:off x="10252075" y="-2184400"/>
                <a:ext cx="2114550" cy="2152650"/>
              </a:xfrm>
              <a:custGeom>
                <a:avLst/>
                <a:gdLst>
                  <a:gd name="T0" fmla="*/ 2147483646 w 564"/>
                  <a:gd name="T1" fmla="*/ 2147483646 h 574"/>
                  <a:gd name="T2" fmla="*/ 2147483646 w 564"/>
                  <a:gd name="T3" fmla="*/ 2147483646 h 574"/>
                  <a:gd name="T4" fmla="*/ 2147483646 w 564"/>
                  <a:gd name="T5" fmla="*/ 2147483646 h 574"/>
                  <a:gd name="T6" fmla="*/ 2147483646 w 564"/>
                  <a:gd name="T7" fmla="*/ 2147483646 h 574"/>
                  <a:gd name="T8" fmla="*/ 2147483646 w 564"/>
                  <a:gd name="T9" fmla="*/ 2147483646 h 574"/>
                  <a:gd name="T10" fmla="*/ 2147483646 w 564"/>
                  <a:gd name="T11" fmla="*/ 2147483646 h 574"/>
                  <a:gd name="T12" fmla="*/ 2147483646 w 564"/>
                  <a:gd name="T13" fmla="*/ 0 h 574"/>
                  <a:gd name="T14" fmla="*/ 2147483646 w 564"/>
                  <a:gd name="T15" fmla="*/ 2147483646 h 574"/>
                  <a:gd name="T16" fmla="*/ 2147483646 w 564"/>
                  <a:gd name="T17" fmla="*/ 2147483646 h 574"/>
                  <a:gd name="T18" fmla="*/ 2147483646 w 564"/>
                  <a:gd name="T19" fmla="*/ 2147483646 h 574"/>
                  <a:gd name="T20" fmla="*/ 2147483646 w 564"/>
                  <a:gd name="T21" fmla="*/ 2147483646 h 574"/>
                  <a:gd name="T22" fmla="*/ 2147483646 w 564"/>
                  <a:gd name="T23" fmla="*/ 2147483646 h 574"/>
                  <a:gd name="T24" fmla="*/ 2147483646 w 564"/>
                  <a:gd name="T25" fmla="*/ 2147483646 h 574"/>
                  <a:gd name="T26" fmla="*/ 2147483646 w 564"/>
                  <a:gd name="T27" fmla="*/ 2147483646 h 574"/>
                  <a:gd name="T28" fmla="*/ 2147483646 w 564"/>
                  <a:gd name="T29" fmla="*/ 2147483646 h 574"/>
                  <a:gd name="T30" fmla="*/ 2147483646 w 564"/>
                  <a:gd name="T31" fmla="*/ 2147483646 h 574"/>
                  <a:gd name="T32" fmla="*/ 2147483646 w 564"/>
                  <a:gd name="T33" fmla="*/ 2147483646 h 574"/>
                  <a:gd name="T34" fmla="*/ 2147483646 w 564"/>
                  <a:gd name="T35" fmla="*/ 2147483646 h 574"/>
                  <a:gd name="T36" fmla="*/ 2147483646 w 564"/>
                  <a:gd name="T37" fmla="*/ 2147483646 h 574"/>
                  <a:gd name="T38" fmla="*/ 2147483646 w 564"/>
                  <a:gd name="T39" fmla="*/ 2147483646 h 574"/>
                  <a:gd name="T40" fmla="*/ 2147483646 w 564"/>
                  <a:gd name="T41" fmla="*/ 2147483646 h 574"/>
                  <a:gd name="T42" fmla="*/ 2147483646 w 564"/>
                  <a:gd name="T43" fmla="*/ 2147483646 h 574"/>
                  <a:gd name="T44" fmla="*/ 2147483646 w 564"/>
                  <a:gd name="T45" fmla="*/ 2147483646 h 574"/>
                  <a:gd name="T46" fmla="*/ 2147483646 w 564"/>
                  <a:gd name="T47" fmla="*/ 2147483646 h 574"/>
                  <a:gd name="T48" fmla="*/ 2147483646 w 564"/>
                  <a:gd name="T49" fmla="*/ 2147483646 h 574"/>
                  <a:gd name="T50" fmla="*/ 0 w 564"/>
                  <a:gd name="T51" fmla="*/ 2147483646 h 574"/>
                  <a:gd name="T52" fmla="*/ 2147483646 w 564"/>
                  <a:gd name="T53" fmla="*/ 2147483646 h 574"/>
                  <a:gd name="T54" fmla="*/ 2147483646 w 564"/>
                  <a:gd name="T55" fmla="*/ 2147483646 h 574"/>
                  <a:gd name="T56" fmla="*/ 2147483646 w 564"/>
                  <a:gd name="T57" fmla="*/ 2147483646 h 57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64" h="574">
                    <a:moveTo>
                      <a:pt x="564" y="512"/>
                    </a:moveTo>
                    <a:cubicBezTo>
                      <a:pt x="564" y="220"/>
                      <a:pt x="564" y="220"/>
                      <a:pt x="564" y="220"/>
                    </a:cubicBezTo>
                    <a:cubicBezTo>
                      <a:pt x="389" y="44"/>
                      <a:pt x="389" y="44"/>
                      <a:pt x="389" y="44"/>
                    </a:cubicBezTo>
                    <a:cubicBezTo>
                      <a:pt x="354" y="79"/>
                      <a:pt x="354" y="79"/>
                      <a:pt x="354" y="79"/>
                    </a:cubicBezTo>
                    <a:cubicBezTo>
                      <a:pt x="313" y="37"/>
                      <a:pt x="313" y="37"/>
                      <a:pt x="313" y="37"/>
                    </a:cubicBezTo>
                    <a:cubicBezTo>
                      <a:pt x="302" y="48"/>
                      <a:pt x="302" y="48"/>
                      <a:pt x="302" y="48"/>
                    </a:cubicBezTo>
                    <a:cubicBezTo>
                      <a:pt x="254" y="0"/>
                      <a:pt x="254" y="0"/>
                      <a:pt x="254" y="0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72" y="78"/>
                      <a:pt x="272" y="78"/>
                      <a:pt x="272" y="78"/>
                    </a:cubicBezTo>
                    <a:cubicBezTo>
                      <a:pt x="251" y="98"/>
                      <a:pt x="251" y="98"/>
                      <a:pt x="251" y="98"/>
                    </a:cubicBezTo>
                    <a:cubicBezTo>
                      <a:pt x="203" y="49"/>
                      <a:pt x="203" y="49"/>
                      <a:pt x="203" y="49"/>
                    </a:cubicBezTo>
                    <a:cubicBezTo>
                      <a:pt x="172" y="80"/>
                      <a:pt x="172" y="80"/>
                      <a:pt x="172" y="80"/>
                    </a:cubicBezTo>
                    <a:cubicBezTo>
                      <a:pt x="221" y="128"/>
                      <a:pt x="221" y="128"/>
                      <a:pt x="221" y="128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152" y="99"/>
                      <a:pt x="152" y="99"/>
                      <a:pt x="152" y="99"/>
                    </a:cubicBezTo>
                    <a:cubicBezTo>
                      <a:pt x="122" y="130"/>
                      <a:pt x="122" y="130"/>
                      <a:pt x="122" y="130"/>
                    </a:cubicBezTo>
                    <a:cubicBezTo>
                      <a:pt x="171" y="179"/>
                      <a:pt x="171" y="179"/>
                      <a:pt x="171" y="179"/>
                    </a:cubicBezTo>
                    <a:cubicBezTo>
                      <a:pt x="151" y="199"/>
                      <a:pt x="151" y="199"/>
                      <a:pt x="151" y="199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121" y="229"/>
                      <a:pt x="121" y="229"/>
                      <a:pt x="121" y="229"/>
                    </a:cubicBezTo>
                    <a:cubicBezTo>
                      <a:pt x="109" y="240"/>
                      <a:pt x="109" y="240"/>
                      <a:pt x="109" y="240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27" y="359"/>
                      <a:pt x="127" y="359"/>
                      <a:pt x="127" y="359"/>
                    </a:cubicBezTo>
                    <a:cubicBezTo>
                      <a:pt x="107" y="340"/>
                      <a:pt x="107" y="340"/>
                      <a:pt x="107" y="340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127" y="574"/>
                      <a:pt x="127" y="574"/>
                      <a:pt x="127" y="574"/>
                    </a:cubicBezTo>
                    <a:cubicBezTo>
                      <a:pt x="502" y="574"/>
                      <a:pt x="502" y="574"/>
                      <a:pt x="502" y="574"/>
                    </a:cubicBezTo>
                    <a:cubicBezTo>
                      <a:pt x="536" y="574"/>
                      <a:pt x="564" y="546"/>
                      <a:pt x="564" y="512"/>
                    </a:cubicBez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85" name="Freeform 113"/>
              <p:cNvSpPr>
                <a:spLocks noEditPoints="1"/>
              </p:cNvSpPr>
              <p:nvPr/>
            </p:nvSpPr>
            <p:spPr bwMode="auto">
              <a:xfrm>
                <a:off x="10172700" y="-2222500"/>
                <a:ext cx="1808163" cy="1808163"/>
              </a:xfrm>
              <a:custGeom>
                <a:avLst/>
                <a:gdLst>
                  <a:gd name="T0" fmla="*/ 2147483646 w 482"/>
                  <a:gd name="T1" fmla="*/ 2147483646 h 482"/>
                  <a:gd name="T2" fmla="*/ 2147483646 w 482"/>
                  <a:gd name="T3" fmla="*/ 2147483646 h 482"/>
                  <a:gd name="T4" fmla="*/ 2147483646 w 482"/>
                  <a:gd name="T5" fmla="*/ 2147483646 h 482"/>
                  <a:gd name="T6" fmla="*/ 2147483646 w 482"/>
                  <a:gd name="T7" fmla="*/ 2147483646 h 482"/>
                  <a:gd name="T8" fmla="*/ 2147483646 w 482"/>
                  <a:gd name="T9" fmla="*/ 2147483646 h 482"/>
                  <a:gd name="T10" fmla="*/ 2147483646 w 482"/>
                  <a:gd name="T11" fmla="*/ 2147483646 h 482"/>
                  <a:gd name="T12" fmla="*/ 2147483646 w 482"/>
                  <a:gd name="T13" fmla="*/ 2147483646 h 482"/>
                  <a:gd name="T14" fmla="*/ 2147483646 w 482"/>
                  <a:gd name="T15" fmla="*/ 2147483646 h 482"/>
                  <a:gd name="T16" fmla="*/ 2147483646 w 482"/>
                  <a:gd name="T17" fmla="*/ 2147483646 h 482"/>
                  <a:gd name="T18" fmla="*/ 2147483646 w 482"/>
                  <a:gd name="T19" fmla="*/ 2147483646 h 482"/>
                  <a:gd name="T20" fmla="*/ 2147483646 w 482"/>
                  <a:gd name="T21" fmla="*/ 2147483646 h 482"/>
                  <a:gd name="T22" fmla="*/ 2147483646 w 482"/>
                  <a:gd name="T23" fmla="*/ 2147483646 h 482"/>
                  <a:gd name="T24" fmla="*/ 2147483646 w 482"/>
                  <a:gd name="T25" fmla="*/ 2147483646 h 482"/>
                  <a:gd name="T26" fmla="*/ 2147483646 w 482"/>
                  <a:gd name="T27" fmla="*/ 2147483646 h 482"/>
                  <a:gd name="T28" fmla="*/ 2147483646 w 482"/>
                  <a:gd name="T29" fmla="*/ 2147483646 h 482"/>
                  <a:gd name="T30" fmla="*/ 2147483646 w 482"/>
                  <a:gd name="T31" fmla="*/ 2147483646 h 482"/>
                  <a:gd name="T32" fmla="*/ 2147483646 w 482"/>
                  <a:gd name="T33" fmla="*/ 2147483646 h 482"/>
                  <a:gd name="T34" fmla="*/ 2147483646 w 482"/>
                  <a:gd name="T35" fmla="*/ 2147483646 h 482"/>
                  <a:gd name="T36" fmla="*/ 2147483646 w 482"/>
                  <a:gd name="T37" fmla="*/ 2147483646 h 482"/>
                  <a:gd name="T38" fmla="*/ 2147483646 w 482"/>
                  <a:gd name="T39" fmla="*/ 2147483646 h 482"/>
                  <a:gd name="T40" fmla="*/ 2147483646 w 482"/>
                  <a:gd name="T41" fmla="*/ 2147483646 h 482"/>
                  <a:gd name="T42" fmla="*/ 2147483646 w 482"/>
                  <a:gd name="T43" fmla="*/ 2147483646 h 482"/>
                  <a:gd name="T44" fmla="*/ 2147483646 w 482"/>
                  <a:gd name="T45" fmla="*/ 2147483646 h 482"/>
                  <a:gd name="T46" fmla="*/ 2147483646 w 482"/>
                  <a:gd name="T47" fmla="*/ 2147483646 h 482"/>
                  <a:gd name="T48" fmla="*/ 2147483646 w 482"/>
                  <a:gd name="T49" fmla="*/ 2147483646 h 482"/>
                  <a:gd name="T50" fmla="*/ 2147483646 w 482"/>
                  <a:gd name="T51" fmla="*/ 2147483646 h 482"/>
                  <a:gd name="T52" fmla="*/ 2147483646 w 482"/>
                  <a:gd name="T53" fmla="*/ 2147483646 h 482"/>
                  <a:gd name="T54" fmla="*/ 2147483646 w 482"/>
                  <a:gd name="T55" fmla="*/ 2147483646 h 482"/>
                  <a:gd name="T56" fmla="*/ 2147483646 w 482"/>
                  <a:gd name="T57" fmla="*/ 2147483646 h 482"/>
                  <a:gd name="T58" fmla="*/ 2147483646 w 482"/>
                  <a:gd name="T59" fmla="*/ 2147483646 h 482"/>
                  <a:gd name="T60" fmla="*/ 2147483646 w 482"/>
                  <a:gd name="T61" fmla="*/ 2147483646 h 482"/>
                  <a:gd name="T62" fmla="*/ 2147483646 w 482"/>
                  <a:gd name="T63" fmla="*/ 2147483646 h 482"/>
                  <a:gd name="T64" fmla="*/ 2147483646 w 482"/>
                  <a:gd name="T65" fmla="*/ 2147483646 h 482"/>
                  <a:gd name="T66" fmla="*/ 2147483646 w 482"/>
                  <a:gd name="T67" fmla="*/ 2147483646 h 482"/>
                  <a:gd name="T68" fmla="*/ 2147483646 w 482"/>
                  <a:gd name="T69" fmla="*/ 2147483646 h 482"/>
                  <a:gd name="T70" fmla="*/ 2147483646 w 482"/>
                  <a:gd name="T71" fmla="*/ 2147483646 h 482"/>
                  <a:gd name="T72" fmla="*/ 2147483646 w 482"/>
                  <a:gd name="T73" fmla="*/ 2147483646 h 482"/>
                  <a:gd name="T74" fmla="*/ 2147483646 w 482"/>
                  <a:gd name="T75" fmla="*/ 2147483646 h 482"/>
                  <a:gd name="T76" fmla="*/ 2147483646 w 482"/>
                  <a:gd name="T77" fmla="*/ 2147483646 h 482"/>
                  <a:gd name="T78" fmla="*/ 2147483646 w 482"/>
                  <a:gd name="T79" fmla="*/ 2147483646 h 482"/>
                  <a:gd name="T80" fmla="*/ 2147483646 w 482"/>
                  <a:gd name="T81" fmla="*/ 2147483646 h 482"/>
                  <a:gd name="T82" fmla="*/ 2147483646 w 482"/>
                  <a:gd name="T83" fmla="*/ 2147483646 h 482"/>
                  <a:gd name="T84" fmla="*/ 2147483646 w 482"/>
                  <a:gd name="T85" fmla="*/ 2147483646 h 482"/>
                  <a:gd name="T86" fmla="*/ 2147483646 w 482"/>
                  <a:gd name="T87" fmla="*/ 2147483646 h 482"/>
                  <a:gd name="T88" fmla="*/ 2147483646 w 482"/>
                  <a:gd name="T89" fmla="*/ 2147483646 h 482"/>
                  <a:gd name="T90" fmla="*/ 2147483646 w 482"/>
                  <a:gd name="T91" fmla="*/ 2147483646 h 482"/>
                  <a:gd name="T92" fmla="*/ 2147483646 w 482"/>
                  <a:gd name="T93" fmla="*/ 2147483646 h 482"/>
                  <a:gd name="T94" fmla="*/ 2147483646 w 482"/>
                  <a:gd name="T95" fmla="*/ 2147483646 h 482"/>
                  <a:gd name="T96" fmla="*/ 2147483646 w 482"/>
                  <a:gd name="T97" fmla="*/ 2147483646 h 482"/>
                  <a:gd name="T98" fmla="*/ 2147483646 w 482"/>
                  <a:gd name="T99" fmla="*/ 2147483646 h 482"/>
                  <a:gd name="T100" fmla="*/ 2147483646 w 482"/>
                  <a:gd name="T101" fmla="*/ 2147483646 h 482"/>
                  <a:gd name="T102" fmla="*/ 2147483646 w 482"/>
                  <a:gd name="T103" fmla="*/ 2147483646 h 482"/>
                  <a:gd name="T104" fmla="*/ 2147483646 w 482"/>
                  <a:gd name="T105" fmla="*/ 2147483646 h 482"/>
                  <a:gd name="T106" fmla="*/ 2147483646 w 482"/>
                  <a:gd name="T107" fmla="*/ 2147483646 h 482"/>
                  <a:gd name="T108" fmla="*/ 2147483646 w 482"/>
                  <a:gd name="T109" fmla="*/ 2147483646 h 482"/>
                  <a:gd name="T110" fmla="*/ 2147483646 w 482"/>
                  <a:gd name="T111" fmla="*/ 2147483646 h 482"/>
                  <a:gd name="T112" fmla="*/ 2147483646 w 482"/>
                  <a:gd name="T113" fmla="*/ 2147483646 h 482"/>
                  <a:gd name="T114" fmla="*/ 2147483646 w 482"/>
                  <a:gd name="T115" fmla="*/ 2147483646 h 48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482" h="482">
                    <a:moveTo>
                      <a:pt x="387" y="267"/>
                    </a:moveTo>
                    <a:cubicBezTo>
                      <a:pt x="384" y="275"/>
                      <a:pt x="386" y="284"/>
                      <a:pt x="393" y="290"/>
                    </a:cubicBezTo>
                    <a:cubicBezTo>
                      <a:pt x="401" y="298"/>
                      <a:pt x="415" y="298"/>
                      <a:pt x="423" y="289"/>
                    </a:cubicBezTo>
                    <a:cubicBezTo>
                      <a:pt x="432" y="280"/>
                      <a:pt x="431" y="266"/>
                      <a:pt x="422" y="257"/>
                    </a:cubicBezTo>
                    <a:cubicBezTo>
                      <a:pt x="416" y="251"/>
                      <a:pt x="407" y="249"/>
                      <a:pt x="399" y="253"/>
                    </a:cubicBezTo>
                    <a:cubicBezTo>
                      <a:pt x="378" y="232"/>
                      <a:pt x="378" y="232"/>
                      <a:pt x="378" y="232"/>
                    </a:cubicBezTo>
                    <a:cubicBezTo>
                      <a:pt x="415" y="196"/>
                      <a:pt x="415" y="196"/>
                      <a:pt x="415" y="196"/>
                    </a:cubicBezTo>
                    <a:cubicBezTo>
                      <a:pt x="437" y="217"/>
                      <a:pt x="437" y="217"/>
                      <a:pt x="437" y="217"/>
                    </a:cubicBezTo>
                    <a:cubicBezTo>
                      <a:pt x="435" y="225"/>
                      <a:pt x="437" y="233"/>
                      <a:pt x="443" y="239"/>
                    </a:cubicBezTo>
                    <a:cubicBezTo>
                      <a:pt x="452" y="248"/>
                      <a:pt x="465" y="247"/>
                      <a:pt x="474" y="238"/>
                    </a:cubicBezTo>
                    <a:cubicBezTo>
                      <a:pt x="482" y="229"/>
                      <a:pt x="482" y="215"/>
                      <a:pt x="473" y="207"/>
                    </a:cubicBezTo>
                    <a:cubicBezTo>
                      <a:pt x="466" y="200"/>
                      <a:pt x="457" y="199"/>
                      <a:pt x="449" y="202"/>
                    </a:cubicBezTo>
                    <a:cubicBezTo>
                      <a:pt x="428" y="182"/>
                      <a:pt x="428" y="182"/>
                      <a:pt x="428" y="182"/>
                    </a:cubicBezTo>
                    <a:cubicBezTo>
                      <a:pt x="437" y="173"/>
                      <a:pt x="437" y="173"/>
                      <a:pt x="437" y="173"/>
                    </a:cubicBezTo>
                    <a:cubicBezTo>
                      <a:pt x="452" y="159"/>
                      <a:pt x="452" y="135"/>
                      <a:pt x="437" y="121"/>
                    </a:cubicBezTo>
                    <a:cubicBezTo>
                      <a:pt x="427" y="110"/>
                      <a:pt x="427" y="110"/>
                      <a:pt x="427" y="110"/>
                    </a:cubicBezTo>
                    <a:cubicBezTo>
                      <a:pt x="429" y="109"/>
                      <a:pt x="432" y="108"/>
                      <a:pt x="434" y="106"/>
                    </a:cubicBezTo>
                    <a:cubicBezTo>
                      <a:pt x="442" y="97"/>
                      <a:pt x="442" y="84"/>
                      <a:pt x="434" y="75"/>
                    </a:cubicBezTo>
                    <a:cubicBezTo>
                      <a:pt x="408" y="49"/>
                      <a:pt x="408" y="49"/>
                      <a:pt x="408" y="49"/>
                    </a:cubicBezTo>
                    <a:cubicBezTo>
                      <a:pt x="399" y="40"/>
                      <a:pt x="385" y="40"/>
                      <a:pt x="377" y="49"/>
                    </a:cubicBezTo>
                    <a:cubicBezTo>
                      <a:pt x="375" y="51"/>
                      <a:pt x="373" y="53"/>
                      <a:pt x="372" y="56"/>
                    </a:cubicBezTo>
                    <a:cubicBezTo>
                      <a:pt x="362" y="45"/>
                      <a:pt x="362" y="45"/>
                      <a:pt x="362" y="45"/>
                    </a:cubicBezTo>
                    <a:cubicBezTo>
                      <a:pt x="347" y="31"/>
                      <a:pt x="324" y="31"/>
                      <a:pt x="310" y="45"/>
                    </a:cubicBezTo>
                    <a:cubicBezTo>
                      <a:pt x="303" y="52"/>
                      <a:pt x="303" y="52"/>
                      <a:pt x="303" y="52"/>
                    </a:cubicBezTo>
                    <a:cubicBezTo>
                      <a:pt x="281" y="31"/>
                      <a:pt x="281" y="31"/>
                      <a:pt x="281" y="31"/>
                    </a:cubicBezTo>
                    <a:cubicBezTo>
                      <a:pt x="283" y="23"/>
                      <a:pt x="281" y="14"/>
                      <a:pt x="275" y="9"/>
                    </a:cubicBezTo>
                    <a:cubicBezTo>
                      <a:pt x="266" y="0"/>
                      <a:pt x="252" y="0"/>
                      <a:pt x="244" y="9"/>
                    </a:cubicBezTo>
                    <a:cubicBezTo>
                      <a:pt x="236" y="18"/>
                      <a:pt x="236" y="33"/>
                      <a:pt x="245" y="41"/>
                    </a:cubicBezTo>
                    <a:cubicBezTo>
                      <a:pt x="251" y="47"/>
                      <a:pt x="261" y="49"/>
                      <a:pt x="268" y="45"/>
                    </a:cubicBezTo>
                    <a:cubicBezTo>
                      <a:pt x="289" y="66"/>
                      <a:pt x="289" y="66"/>
                      <a:pt x="289" y="66"/>
                    </a:cubicBezTo>
                    <a:cubicBezTo>
                      <a:pt x="253" y="103"/>
                      <a:pt x="253" y="103"/>
                      <a:pt x="253" y="103"/>
                    </a:cubicBezTo>
                    <a:cubicBezTo>
                      <a:pt x="230" y="81"/>
                      <a:pt x="230" y="81"/>
                      <a:pt x="230" y="81"/>
                    </a:cubicBezTo>
                    <a:cubicBezTo>
                      <a:pt x="232" y="73"/>
                      <a:pt x="230" y="65"/>
                      <a:pt x="224" y="59"/>
                    </a:cubicBezTo>
                    <a:cubicBezTo>
                      <a:pt x="216" y="50"/>
                      <a:pt x="202" y="51"/>
                      <a:pt x="193" y="60"/>
                    </a:cubicBezTo>
                    <a:cubicBezTo>
                      <a:pt x="185" y="69"/>
                      <a:pt x="186" y="83"/>
                      <a:pt x="194" y="92"/>
                    </a:cubicBezTo>
                    <a:cubicBezTo>
                      <a:pt x="201" y="98"/>
                      <a:pt x="210" y="99"/>
                      <a:pt x="218" y="96"/>
                    </a:cubicBezTo>
                    <a:cubicBezTo>
                      <a:pt x="239" y="116"/>
                      <a:pt x="239" y="116"/>
                      <a:pt x="239" y="116"/>
                    </a:cubicBezTo>
                    <a:cubicBezTo>
                      <a:pt x="202" y="153"/>
                      <a:pt x="202" y="153"/>
                      <a:pt x="202" y="153"/>
                    </a:cubicBezTo>
                    <a:cubicBezTo>
                      <a:pt x="180" y="132"/>
                      <a:pt x="180" y="132"/>
                      <a:pt x="180" y="132"/>
                    </a:cubicBezTo>
                    <a:cubicBezTo>
                      <a:pt x="182" y="124"/>
                      <a:pt x="180" y="115"/>
                      <a:pt x="174" y="109"/>
                    </a:cubicBezTo>
                    <a:cubicBezTo>
                      <a:pt x="165" y="101"/>
                      <a:pt x="151" y="101"/>
                      <a:pt x="143" y="110"/>
                    </a:cubicBezTo>
                    <a:cubicBezTo>
                      <a:pt x="135" y="119"/>
                      <a:pt x="135" y="133"/>
                      <a:pt x="144" y="142"/>
                    </a:cubicBezTo>
                    <a:cubicBezTo>
                      <a:pt x="151" y="148"/>
                      <a:pt x="160" y="150"/>
                      <a:pt x="168" y="146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52" y="203"/>
                      <a:pt x="152" y="203"/>
                      <a:pt x="152" y="203"/>
                    </a:cubicBezTo>
                    <a:cubicBezTo>
                      <a:pt x="130" y="182"/>
                      <a:pt x="130" y="182"/>
                      <a:pt x="130" y="182"/>
                    </a:cubicBezTo>
                    <a:cubicBezTo>
                      <a:pt x="132" y="174"/>
                      <a:pt x="130" y="166"/>
                      <a:pt x="124" y="160"/>
                    </a:cubicBezTo>
                    <a:cubicBezTo>
                      <a:pt x="115" y="151"/>
                      <a:pt x="101" y="152"/>
                      <a:pt x="93" y="161"/>
                    </a:cubicBezTo>
                    <a:cubicBezTo>
                      <a:pt x="85" y="170"/>
                      <a:pt x="85" y="184"/>
                      <a:pt x="94" y="192"/>
                    </a:cubicBezTo>
                    <a:cubicBezTo>
                      <a:pt x="100" y="199"/>
                      <a:pt x="109" y="200"/>
                      <a:pt x="117" y="197"/>
                    </a:cubicBezTo>
                    <a:cubicBezTo>
                      <a:pt x="138" y="217"/>
                      <a:pt x="138" y="217"/>
                      <a:pt x="138" y="217"/>
                    </a:cubicBezTo>
                    <a:cubicBezTo>
                      <a:pt x="126" y="229"/>
                      <a:pt x="126" y="229"/>
                      <a:pt x="126" y="229"/>
                    </a:cubicBezTo>
                    <a:cubicBezTo>
                      <a:pt x="112" y="243"/>
                      <a:pt x="112" y="267"/>
                      <a:pt x="126" y="281"/>
                    </a:cubicBezTo>
                    <a:cubicBezTo>
                      <a:pt x="132" y="286"/>
                      <a:pt x="132" y="286"/>
                      <a:pt x="132" y="286"/>
                    </a:cubicBezTo>
                    <a:cubicBezTo>
                      <a:pt x="15" y="403"/>
                      <a:pt x="15" y="403"/>
                      <a:pt x="15" y="403"/>
                    </a:cubicBezTo>
                    <a:cubicBezTo>
                      <a:pt x="0" y="417"/>
                      <a:pt x="0" y="441"/>
                      <a:pt x="15" y="455"/>
                    </a:cubicBezTo>
                    <a:cubicBezTo>
                      <a:pt x="28" y="468"/>
                      <a:pt x="28" y="468"/>
                      <a:pt x="28" y="468"/>
                    </a:cubicBezTo>
                    <a:cubicBezTo>
                      <a:pt x="42" y="482"/>
                      <a:pt x="65" y="482"/>
                      <a:pt x="80" y="468"/>
                    </a:cubicBezTo>
                    <a:cubicBezTo>
                      <a:pt x="197" y="351"/>
                      <a:pt x="197" y="351"/>
                      <a:pt x="197" y="351"/>
                    </a:cubicBezTo>
                    <a:cubicBezTo>
                      <a:pt x="202" y="356"/>
                      <a:pt x="202" y="356"/>
                      <a:pt x="202" y="356"/>
                    </a:cubicBezTo>
                    <a:cubicBezTo>
                      <a:pt x="216" y="371"/>
                      <a:pt x="239" y="371"/>
                      <a:pt x="254" y="356"/>
                    </a:cubicBezTo>
                    <a:cubicBezTo>
                      <a:pt x="264" y="347"/>
                      <a:pt x="264" y="347"/>
                      <a:pt x="264" y="347"/>
                    </a:cubicBezTo>
                    <a:cubicBezTo>
                      <a:pt x="286" y="368"/>
                      <a:pt x="286" y="368"/>
                      <a:pt x="286" y="368"/>
                    </a:cubicBezTo>
                    <a:cubicBezTo>
                      <a:pt x="284" y="376"/>
                      <a:pt x="286" y="384"/>
                      <a:pt x="292" y="390"/>
                    </a:cubicBezTo>
                    <a:cubicBezTo>
                      <a:pt x="301" y="399"/>
                      <a:pt x="314" y="398"/>
                      <a:pt x="323" y="389"/>
                    </a:cubicBezTo>
                    <a:cubicBezTo>
                      <a:pt x="331" y="380"/>
                      <a:pt x="331" y="366"/>
                      <a:pt x="322" y="358"/>
                    </a:cubicBezTo>
                    <a:cubicBezTo>
                      <a:pt x="315" y="351"/>
                      <a:pt x="306" y="350"/>
                      <a:pt x="298" y="353"/>
                    </a:cubicBezTo>
                    <a:cubicBezTo>
                      <a:pt x="277" y="333"/>
                      <a:pt x="277" y="333"/>
                      <a:pt x="277" y="333"/>
                    </a:cubicBezTo>
                    <a:cubicBezTo>
                      <a:pt x="314" y="296"/>
                      <a:pt x="314" y="296"/>
                      <a:pt x="314" y="296"/>
                    </a:cubicBezTo>
                    <a:cubicBezTo>
                      <a:pt x="336" y="318"/>
                      <a:pt x="336" y="318"/>
                      <a:pt x="336" y="318"/>
                    </a:cubicBezTo>
                    <a:cubicBezTo>
                      <a:pt x="334" y="325"/>
                      <a:pt x="336" y="334"/>
                      <a:pt x="342" y="340"/>
                    </a:cubicBezTo>
                    <a:cubicBezTo>
                      <a:pt x="351" y="348"/>
                      <a:pt x="365" y="348"/>
                      <a:pt x="373" y="339"/>
                    </a:cubicBezTo>
                    <a:cubicBezTo>
                      <a:pt x="381" y="330"/>
                      <a:pt x="381" y="316"/>
                      <a:pt x="372" y="307"/>
                    </a:cubicBezTo>
                    <a:cubicBezTo>
                      <a:pt x="366" y="301"/>
                      <a:pt x="356" y="300"/>
                      <a:pt x="349" y="303"/>
                    </a:cubicBezTo>
                    <a:cubicBezTo>
                      <a:pt x="328" y="283"/>
                      <a:pt x="328" y="283"/>
                      <a:pt x="328" y="283"/>
                    </a:cubicBezTo>
                    <a:cubicBezTo>
                      <a:pt x="364" y="246"/>
                      <a:pt x="364" y="246"/>
                      <a:pt x="364" y="246"/>
                    </a:cubicBezTo>
                    <a:lnTo>
                      <a:pt x="387" y="267"/>
                    </a:lnTo>
                    <a:close/>
                    <a:moveTo>
                      <a:pt x="345" y="78"/>
                    </a:moveTo>
                    <a:cubicBezTo>
                      <a:pt x="354" y="87"/>
                      <a:pt x="354" y="101"/>
                      <a:pt x="345" y="110"/>
                    </a:cubicBezTo>
                    <a:cubicBezTo>
                      <a:pt x="336" y="119"/>
                      <a:pt x="322" y="119"/>
                      <a:pt x="314" y="110"/>
                    </a:cubicBezTo>
                    <a:cubicBezTo>
                      <a:pt x="305" y="101"/>
                      <a:pt x="305" y="87"/>
                      <a:pt x="314" y="78"/>
                    </a:cubicBezTo>
                    <a:cubicBezTo>
                      <a:pt x="322" y="70"/>
                      <a:pt x="336" y="70"/>
                      <a:pt x="345" y="78"/>
                    </a:cubicBezTo>
                    <a:close/>
                    <a:moveTo>
                      <a:pt x="296" y="129"/>
                    </a:moveTo>
                    <a:cubicBezTo>
                      <a:pt x="304" y="138"/>
                      <a:pt x="304" y="152"/>
                      <a:pt x="296" y="161"/>
                    </a:cubicBezTo>
                    <a:cubicBezTo>
                      <a:pt x="287" y="170"/>
                      <a:pt x="273" y="170"/>
                      <a:pt x="264" y="161"/>
                    </a:cubicBezTo>
                    <a:cubicBezTo>
                      <a:pt x="255" y="152"/>
                      <a:pt x="255" y="138"/>
                      <a:pt x="264" y="129"/>
                    </a:cubicBezTo>
                    <a:cubicBezTo>
                      <a:pt x="273" y="121"/>
                      <a:pt x="287" y="121"/>
                      <a:pt x="296" y="129"/>
                    </a:cubicBezTo>
                    <a:close/>
                    <a:moveTo>
                      <a:pt x="246" y="181"/>
                    </a:moveTo>
                    <a:cubicBezTo>
                      <a:pt x="255" y="189"/>
                      <a:pt x="255" y="204"/>
                      <a:pt x="246" y="212"/>
                    </a:cubicBezTo>
                    <a:cubicBezTo>
                      <a:pt x="237" y="221"/>
                      <a:pt x="223" y="221"/>
                      <a:pt x="214" y="212"/>
                    </a:cubicBezTo>
                    <a:cubicBezTo>
                      <a:pt x="206" y="204"/>
                      <a:pt x="206" y="189"/>
                      <a:pt x="214" y="181"/>
                    </a:cubicBezTo>
                    <a:cubicBezTo>
                      <a:pt x="223" y="172"/>
                      <a:pt x="237" y="172"/>
                      <a:pt x="246" y="181"/>
                    </a:cubicBezTo>
                    <a:close/>
                    <a:moveTo>
                      <a:pt x="165" y="263"/>
                    </a:moveTo>
                    <a:cubicBezTo>
                      <a:pt x="156" y="255"/>
                      <a:pt x="156" y="240"/>
                      <a:pt x="165" y="232"/>
                    </a:cubicBezTo>
                    <a:cubicBezTo>
                      <a:pt x="174" y="223"/>
                      <a:pt x="188" y="223"/>
                      <a:pt x="197" y="232"/>
                    </a:cubicBezTo>
                    <a:cubicBezTo>
                      <a:pt x="205" y="240"/>
                      <a:pt x="205" y="255"/>
                      <a:pt x="197" y="263"/>
                    </a:cubicBezTo>
                    <a:cubicBezTo>
                      <a:pt x="188" y="272"/>
                      <a:pt x="174" y="272"/>
                      <a:pt x="165" y="263"/>
                    </a:cubicBezTo>
                    <a:close/>
                    <a:moveTo>
                      <a:pt x="402" y="135"/>
                    </a:moveTo>
                    <a:cubicBezTo>
                      <a:pt x="411" y="144"/>
                      <a:pt x="411" y="158"/>
                      <a:pt x="402" y="167"/>
                    </a:cubicBezTo>
                    <a:cubicBezTo>
                      <a:pt x="393" y="176"/>
                      <a:pt x="379" y="176"/>
                      <a:pt x="370" y="167"/>
                    </a:cubicBezTo>
                    <a:cubicBezTo>
                      <a:pt x="362" y="158"/>
                      <a:pt x="362" y="144"/>
                      <a:pt x="370" y="135"/>
                    </a:cubicBezTo>
                    <a:cubicBezTo>
                      <a:pt x="379" y="126"/>
                      <a:pt x="393" y="126"/>
                      <a:pt x="402" y="135"/>
                    </a:cubicBezTo>
                    <a:close/>
                    <a:moveTo>
                      <a:pt x="352" y="186"/>
                    </a:moveTo>
                    <a:cubicBezTo>
                      <a:pt x="361" y="195"/>
                      <a:pt x="361" y="209"/>
                      <a:pt x="352" y="218"/>
                    </a:cubicBezTo>
                    <a:cubicBezTo>
                      <a:pt x="344" y="227"/>
                      <a:pt x="330" y="227"/>
                      <a:pt x="321" y="218"/>
                    </a:cubicBezTo>
                    <a:cubicBezTo>
                      <a:pt x="312" y="209"/>
                      <a:pt x="312" y="195"/>
                      <a:pt x="321" y="186"/>
                    </a:cubicBezTo>
                    <a:cubicBezTo>
                      <a:pt x="330" y="178"/>
                      <a:pt x="344" y="178"/>
                      <a:pt x="352" y="186"/>
                    </a:cubicBezTo>
                    <a:close/>
                    <a:moveTo>
                      <a:pt x="303" y="237"/>
                    </a:moveTo>
                    <a:cubicBezTo>
                      <a:pt x="312" y="246"/>
                      <a:pt x="312" y="260"/>
                      <a:pt x="303" y="269"/>
                    </a:cubicBezTo>
                    <a:cubicBezTo>
                      <a:pt x="294" y="278"/>
                      <a:pt x="280" y="278"/>
                      <a:pt x="271" y="269"/>
                    </a:cubicBezTo>
                    <a:cubicBezTo>
                      <a:pt x="263" y="260"/>
                      <a:pt x="263" y="246"/>
                      <a:pt x="271" y="237"/>
                    </a:cubicBezTo>
                    <a:cubicBezTo>
                      <a:pt x="280" y="229"/>
                      <a:pt x="294" y="229"/>
                      <a:pt x="303" y="237"/>
                    </a:cubicBezTo>
                    <a:close/>
                    <a:moveTo>
                      <a:pt x="222" y="320"/>
                    </a:moveTo>
                    <a:cubicBezTo>
                      <a:pt x="213" y="312"/>
                      <a:pt x="213" y="297"/>
                      <a:pt x="222" y="289"/>
                    </a:cubicBezTo>
                    <a:cubicBezTo>
                      <a:pt x="230" y="280"/>
                      <a:pt x="245" y="280"/>
                      <a:pt x="253" y="289"/>
                    </a:cubicBezTo>
                    <a:cubicBezTo>
                      <a:pt x="262" y="297"/>
                      <a:pt x="262" y="312"/>
                      <a:pt x="253" y="320"/>
                    </a:cubicBezTo>
                    <a:cubicBezTo>
                      <a:pt x="245" y="329"/>
                      <a:pt x="230" y="329"/>
                      <a:pt x="222" y="3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670" name="组合 293"/>
            <p:cNvGrpSpPr/>
            <p:nvPr/>
          </p:nvGrpSpPr>
          <p:grpSpPr bwMode="auto">
            <a:xfrm>
              <a:off x="878437" y="2259153"/>
              <a:ext cx="348505" cy="346505"/>
              <a:chOff x="7129657" y="-1531645"/>
              <a:chExt cx="564454" cy="561216"/>
            </a:xfrm>
          </p:grpSpPr>
          <p:sp>
            <p:nvSpPr>
              <p:cNvPr id="295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74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5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6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7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8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9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80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3" name="Freeform 128"/>
              <p:cNvSpPr/>
              <p:nvPr/>
            </p:nvSpPr>
            <p:spPr bwMode="auto">
              <a:xfrm>
                <a:off x="7316318" y="-1249536"/>
                <a:ext cx="187815" cy="92601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82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8" name="组合 7"/>
          <p:cNvGrpSpPr/>
          <p:nvPr/>
        </p:nvGrpSpPr>
        <p:grpSpPr bwMode="auto">
          <a:xfrm>
            <a:off x="1693863" y="3070225"/>
            <a:ext cx="1206500" cy="1446213"/>
            <a:chOff x="1693232" y="3070741"/>
            <a:chExt cx="1207260" cy="1445225"/>
          </a:xfrm>
        </p:grpSpPr>
        <p:sp>
          <p:nvSpPr>
            <p:cNvPr id="36" name="矩形 35"/>
            <p:cNvSpPr/>
            <p:nvPr/>
          </p:nvSpPr>
          <p:spPr>
            <a:xfrm>
              <a:off x="1693232" y="3070741"/>
              <a:ext cx="1207260" cy="1445225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26648" name="组合 127"/>
            <p:cNvGrpSpPr/>
            <p:nvPr/>
          </p:nvGrpSpPr>
          <p:grpSpPr bwMode="auto">
            <a:xfrm>
              <a:off x="1845335" y="3175607"/>
              <a:ext cx="903053" cy="903053"/>
              <a:chOff x="-819150" y="-6069013"/>
              <a:chExt cx="2576513" cy="2576513"/>
            </a:xfrm>
          </p:grpSpPr>
          <p:sp>
            <p:nvSpPr>
              <p:cNvPr id="9284" name="Freeform 90"/>
              <p:cNvSpPr/>
              <p:nvPr/>
            </p:nvSpPr>
            <p:spPr bwMode="auto">
              <a:xfrm>
                <a:off x="-818028" y="-6069478"/>
                <a:ext cx="2574272" cy="2575424"/>
              </a:xfrm>
              <a:custGeom>
                <a:avLst/>
                <a:gdLst>
                  <a:gd name="T0" fmla="*/ 0 w 687"/>
                  <a:gd name="T1" fmla="*/ 624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663" name="Freeform 91"/>
              <p:cNvSpPr/>
              <p:nvPr/>
            </p:nvSpPr>
            <p:spPr bwMode="auto">
              <a:xfrm>
                <a:off x="-260350" y="-5694363"/>
                <a:ext cx="2017713" cy="2201863"/>
              </a:xfrm>
              <a:custGeom>
                <a:avLst/>
                <a:gdLst>
                  <a:gd name="T0" fmla="*/ 2147483646 w 538"/>
                  <a:gd name="T1" fmla="*/ 0 h 587"/>
                  <a:gd name="T2" fmla="*/ 2147483646 w 538"/>
                  <a:gd name="T3" fmla="*/ 2147483646 h 587"/>
                  <a:gd name="T4" fmla="*/ 2147483646 w 538"/>
                  <a:gd name="T5" fmla="*/ 2147483646 h 587"/>
                  <a:gd name="T6" fmla="*/ 2147483646 w 538"/>
                  <a:gd name="T7" fmla="*/ 2147483646 h 587"/>
                  <a:gd name="T8" fmla="*/ 2147483646 w 538"/>
                  <a:gd name="T9" fmla="*/ 2147483646 h 587"/>
                  <a:gd name="T10" fmla="*/ 2147483646 w 538"/>
                  <a:gd name="T11" fmla="*/ 2147483646 h 587"/>
                  <a:gd name="T12" fmla="*/ 2147483646 w 538"/>
                  <a:gd name="T13" fmla="*/ 2147483646 h 587"/>
                  <a:gd name="T14" fmla="*/ 0 w 538"/>
                  <a:gd name="T15" fmla="*/ 2147483646 h 587"/>
                  <a:gd name="T16" fmla="*/ 2147483646 w 538"/>
                  <a:gd name="T17" fmla="*/ 2147483646 h 587"/>
                  <a:gd name="T18" fmla="*/ 2147483646 w 538"/>
                  <a:gd name="T19" fmla="*/ 2147483646 h 587"/>
                  <a:gd name="T20" fmla="*/ 2147483646 w 538"/>
                  <a:gd name="T21" fmla="*/ 2147483646 h 587"/>
                  <a:gd name="T22" fmla="*/ 2147483646 w 538"/>
                  <a:gd name="T23" fmla="*/ 2147483646 h 587"/>
                  <a:gd name="T24" fmla="*/ 2147483646 w 538"/>
                  <a:gd name="T25" fmla="*/ 0 h 5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8" h="587">
                    <a:moveTo>
                      <a:pt x="123" y="0"/>
                    </a:moveTo>
                    <a:cubicBezTo>
                      <a:pt x="38" y="85"/>
                      <a:pt x="38" y="85"/>
                      <a:pt x="38" y="85"/>
                    </a:cubicBezTo>
                    <a:cubicBezTo>
                      <a:pt x="35" y="154"/>
                      <a:pt x="35" y="154"/>
                      <a:pt x="35" y="154"/>
                    </a:cubicBezTo>
                    <a:cubicBezTo>
                      <a:pt x="71" y="190"/>
                      <a:pt x="71" y="190"/>
                      <a:pt x="71" y="190"/>
                    </a:cubicBezTo>
                    <a:cubicBezTo>
                      <a:pt x="11" y="195"/>
                      <a:pt x="11" y="195"/>
                      <a:pt x="11" y="195"/>
                    </a:cubicBezTo>
                    <a:cubicBezTo>
                      <a:pt x="42" y="226"/>
                      <a:pt x="42" y="226"/>
                      <a:pt x="42" y="226"/>
                    </a:cubicBezTo>
                    <a:cubicBezTo>
                      <a:pt x="1" y="236"/>
                      <a:pt x="1" y="236"/>
                      <a:pt x="1" y="236"/>
                    </a:cubicBezTo>
                    <a:cubicBezTo>
                      <a:pt x="0" y="481"/>
                      <a:pt x="0" y="481"/>
                      <a:pt x="0" y="481"/>
                    </a:cubicBezTo>
                    <a:cubicBezTo>
                      <a:pt x="105" y="587"/>
                      <a:pt x="105" y="587"/>
                      <a:pt x="105" y="587"/>
                    </a:cubicBezTo>
                    <a:cubicBezTo>
                      <a:pt x="475" y="587"/>
                      <a:pt x="475" y="587"/>
                      <a:pt x="475" y="587"/>
                    </a:cubicBezTo>
                    <a:cubicBezTo>
                      <a:pt x="510" y="587"/>
                      <a:pt x="538" y="559"/>
                      <a:pt x="538" y="524"/>
                    </a:cubicBezTo>
                    <a:cubicBezTo>
                      <a:pt x="538" y="415"/>
                      <a:pt x="538" y="415"/>
                      <a:pt x="538" y="415"/>
                    </a:cubicBez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64" name="Freeform 92"/>
              <p:cNvSpPr>
                <a:spLocks noEditPoints="1"/>
              </p:cNvSpPr>
              <p:nvPr/>
            </p:nvSpPr>
            <p:spPr bwMode="auto">
              <a:xfrm>
                <a:off x="573087" y="-4367213"/>
                <a:ext cx="847725" cy="528638"/>
              </a:xfrm>
              <a:custGeom>
                <a:avLst/>
                <a:gdLst>
                  <a:gd name="T0" fmla="*/ 2147483646 w 226"/>
                  <a:gd name="T1" fmla="*/ 0 h 141"/>
                  <a:gd name="T2" fmla="*/ 2147483646 w 226"/>
                  <a:gd name="T3" fmla="*/ 0 h 141"/>
                  <a:gd name="T4" fmla="*/ 0 w 226"/>
                  <a:gd name="T5" fmla="*/ 2147483646 h 141"/>
                  <a:gd name="T6" fmla="*/ 0 w 226"/>
                  <a:gd name="T7" fmla="*/ 2147483646 h 141"/>
                  <a:gd name="T8" fmla="*/ 2147483646 w 226"/>
                  <a:gd name="T9" fmla="*/ 2147483646 h 141"/>
                  <a:gd name="T10" fmla="*/ 2147483646 w 226"/>
                  <a:gd name="T11" fmla="*/ 2147483646 h 141"/>
                  <a:gd name="T12" fmla="*/ 2147483646 w 226"/>
                  <a:gd name="T13" fmla="*/ 2147483646 h 141"/>
                  <a:gd name="T14" fmla="*/ 2147483646 w 226"/>
                  <a:gd name="T15" fmla="*/ 2147483646 h 141"/>
                  <a:gd name="T16" fmla="*/ 2147483646 w 226"/>
                  <a:gd name="T17" fmla="*/ 0 h 141"/>
                  <a:gd name="T18" fmla="*/ 2147483646 w 226"/>
                  <a:gd name="T19" fmla="*/ 2147483646 h 141"/>
                  <a:gd name="T20" fmla="*/ 2147483646 w 226"/>
                  <a:gd name="T21" fmla="*/ 2147483646 h 141"/>
                  <a:gd name="T22" fmla="*/ 2147483646 w 226"/>
                  <a:gd name="T23" fmla="*/ 2147483646 h 141"/>
                  <a:gd name="T24" fmla="*/ 2147483646 w 226"/>
                  <a:gd name="T25" fmla="*/ 2147483646 h 141"/>
                  <a:gd name="T26" fmla="*/ 2147483646 w 226"/>
                  <a:gd name="T27" fmla="*/ 2147483646 h 141"/>
                  <a:gd name="T28" fmla="*/ 2147483646 w 226"/>
                  <a:gd name="T29" fmla="*/ 2147483646 h 141"/>
                  <a:gd name="T30" fmla="*/ 2147483646 w 226"/>
                  <a:gd name="T31" fmla="*/ 2147483646 h 14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26" h="141">
                    <a:moveTo>
                      <a:pt x="205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3"/>
                      <a:pt x="0" y="29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28"/>
                      <a:pt x="10" y="141"/>
                      <a:pt x="21" y="141"/>
                    </a:cubicBezTo>
                    <a:cubicBezTo>
                      <a:pt x="205" y="141"/>
                      <a:pt x="205" y="141"/>
                      <a:pt x="205" y="141"/>
                    </a:cubicBezTo>
                    <a:cubicBezTo>
                      <a:pt x="217" y="141"/>
                      <a:pt x="226" y="128"/>
                      <a:pt x="226" y="111"/>
                    </a:cubicBezTo>
                    <a:cubicBezTo>
                      <a:pt x="226" y="29"/>
                      <a:pt x="226" y="29"/>
                      <a:pt x="226" y="29"/>
                    </a:cubicBezTo>
                    <a:cubicBezTo>
                      <a:pt x="226" y="13"/>
                      <a:pt x="217" y="0"/>
                      <a:pt x="205" y="0"/>
                    </a:cubicBezTo>
                    <a:close/>
                    <a:moveTo>
                      <a:pt x="193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20" y="34"/>
                      <a:pt x="18" y="31"/>
                      <a:pt x="18" y="28"/>
                    </a:cubicBezTo>
                    <a:cubicBezTo>
                      <a:pt x="18" y="24"/>
                      <a:pt x="20" y="21"/>
                      <a:pt x="23" y="21"/>
                    </a:cubicBezTo>
                    <a:cubicBezTo>
                      <a:pt x="193" y="21"/>
                      <a:pt x="193" y="21"/>
                      <a:pt x="193" y="21"/>
                    </a:cubicBezTo>
                    <a:cubicBezTo>
                      <a:pt x="196" y="21"/>
                      <a:pt x="198" y="24"/>
                      <a:pt x="198" y="28"/>
                    </a:cubicBezTo>
                    <a:cubicBezTo>
                      <a:pt x="198" y="31"/>
                      <a:pt x="196" y="34"/>
                      <a:pt x="193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65" name="Freeform 93"/>
              <p:cNvSpPr/>
              <p:nvPr/>
            </p:nvSpPr>
            <p:spPr bwMode="auto">
              <a:xfrm>
                <a:off x="-227013" y="-5056188"/>
                <a:ext cx="522288" cy="104775"/>
              </a:xfrm>
              <a:custGeom>
                <a:avLst/>
                <a:gdLst>
                  <a:gd name="T0" fmla="*/ 2147483646 w 139"/>
                  <a:gd name="T1" fmla="*/ 2147483646 h 28"/>
                  <a:gd name="T2" fmla="*/ 2147483646 w 139"/>
                  <a:gd name="T3" fmla="*/ 2147483646 h 28"/>
                  <a:gd name="T4" fmla="*/ 2147483646 w 139"/>
                  <a:gd name="T5" fmla="*/ 0 h 28"/>
                  <a:gd name="T6" fmla="*/ 2147483646 w 139"/>
                  <a:gd name="T7" fmla="*/ 0 h 28"/>
                  <a:gd name="T8" fmla="*/ 0 w 139"/>
                  <a:gd name="T9" fmla="*/ 2147483646 h 28"/>
                  <a:gd name="T10" fmla="*/ 0 w 139"/>
                  <a:gd name="T11" fmla="*/ 2147483646 h 28"/>
                  <a:gd name="T12" fmla="*/ 2147483646 w 139"/>
                  <a:gd name="T13" fmla="*/ 2147483646 h 2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9" h="28">
                    <a:moveTo>
                      <a:pt x="139" y="28"/>
                    </a:moveTo>
                    <a:cubicBezTo>
                      <a:pt x="139" y="15"/>
                      <a:pt x="139" y="15"/>
                      <a:pt x="139" y="15"/>
                    </a:cubicBezTo>
                    <a:cubicBezTo>
                      <a:pt x="139" y="7"/>
                      <a:pt x="128" y="0"/>
                      <a:pt x="11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7"/>
                      <a:pt x="0" y="15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139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66" name="Freeform 94"/>
              <p:cNvSpPr>
                <a:spLocks noEditPoints="1"/>
              </p:cNvSpPr>
              <p:nvPr/>
            </p:nvSpPr>
            <p:spPr bwMode="auto">
              <a:xfrm>
                <a:off x="-293688" y="-4899025"/>
                <a:ext cx="655638" cy="1060450"/>
              </a:xfrm>
              <a:custGeom>
                <a:avLst/>
                <a:gdLst>
                  <a:gd name="T0" fmla="*/ 2147483646 w 175"/>
                  <a:gd name="T1" fmla="*/ 0 h 283"/>
                  <a:gd name="T2" fmla="*/ 2147483646 w 175"/>
                  <a:gd name="T3" fmla="*/ 0 h 283"/>
                  <a:gd name="T4" fmla="*/ 0 w 175"/>
                  <a:gd name="T5" fmla="*/ 2147483646 h 283"/>
                  <a:gd name="T6" fmla="*/ 0 w 175"/>
                  <a:gd name="T7" fmla="*/ 2147483646 h 283"/>
                  <a:gd name="T8" fmla="*/ 2147483646 w 175"/>
                  <a:gd name="T9" fmla="*/ 2147483646 h 283"/>
                  <a:gd name="T10" fmla="*/ 2147483646 w 175"/>
                  <a:gd name="T11" fmla="*/ 2147483646 h 283"/>
                  <a:gd name="T12" fmla="*/ 2147483646 w 175"/>
                  <a:gd name="T13" fmla="*/ 2147483646 h 283"/>
                  <a:gd name="T14" fmla="*/ 2147483646 w 175"/>
                  <a:gd name="T15" fmla="*/ 2147483646 h 283"/>
                  <a:gd name="T16" fmla="*/ 2147483646 w 175"/>
                  <a:gd name="T17" fmla="*/ 0 h 283"/>
                  <a:gd name="T18" fmla="*/ 2147483646 w 175"/>
                  <a:gd name="T19" fmla="*/ 2147483646 h 283"/>
                  <a:gd name="T20" fmla="*/ 2147483646 w 175"/>
                  <a:gd name="T21" fmla="*/ 2147483646 h 283"/>
                  <a:gd name="T22" fmla="*/ 2147483646 w 175"/>
                  <a:gd name="T23" fmla="*/ 2147483646 h 283"/>
                  <a:gd name="T24" fmla="*/ 2147483646 w 175"/>
                  <a:gd name="T25" fmla="*/ 2147483646 h 283"/>
                  <a:gd name="T26" fmla="*/ 2147483646 w 175"/>
                  <a:gd name="T27" fmla="*/ 2147483646 h 283"/>
                  <a:gd name="T28" fmla="*/ 2147483646 w 175"/>
                  <a:gd name="T29" fmla="*/ 2147483646 h 283"/>
                  <a:gd name="T30" fmla="*/ 2147483646 w 175"/>
                  <a:gd name="T31" fmla="*/ 2147483646 h 28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75" h="283">
                    <a:moveTo>
                      <a:pt x="138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16" y="0"/>
                      <a:pt x="0" y="13"/>
                      <a:pt x="0" y="29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70"/>
                      <a:pt x="16" y="283"/>
                      <a:pt x="37" y="283"/>
                    </a:cubicBezTo>
                    <a:cubicBezTo>
                      <a:pt x="138" y="283"/>
                      <a:pt x="138" y="283"/>
                      <a:pt x="138" y="283"/>
                    </a:cubicBezTo>
                    <a:cubicBezTo>
                      <a:pt x="158" y="283"/>
                      <a:pt x="175" y="270"/>
                      <a:pt x="175" y="253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5" y="13"/>
                      <a:pt x="158" y="0"/>
                      <a:pt x="138" y="0"/>
                    </a:cubicBezTo>
                    <a:close/>
                    <a:moveTo>
                      <a:pt x="46" y="244"/>
                    </a:moveTo>
                    <a:cubicBezTo>
                      <a:pt x="46" y="247"/>
                      <a:pt x="42" y="250"/>
                      <a:pt x="37" y="250"/>
                    </a:cubicBezTo>
                    <a:cubicBezTo>
                      <a:pt x="33" y="250"/>
                      <a:pt x="29" y="247"/>
                      <a:pt x="29" y="244"/>
                    </a:cubicBezTo>
                    <a:cubicBezTo>
                      <a:pt x="29" y="35"/>
                      <a:pt x="29" y="35"/>
                      <a:pt x="29" y="35"/>
                    </a:cubicBezTo>
                    <a:cubicBezTo>
                      <a:pt x="29" y="32"/>
                      <a:pt x="33" y="29"/>
                      <a:pt x="37" y="29"/>
                    </a:cubicBezTo>
                    <a:cubicBezTo>
                      <a:pt x="42" y="29"/>
                      <a:pt x="46" y="32"/>
                      <a:pt x="46" y="35"/>
                    </a:cubicBezTo>
                    <a:lnTo>
                      <a:pt x="46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67" name="Freeform 95"/>
              <p:cNvSpPr>
                <a:spLocks noEditPoints="1"/>
              </p:cNvSpPr>
              <p:nvPr/>
            </p:nvSpPr>
            <p:spPr bwMode="auto">
              <a:xfrm>
                <a:off x="-128588" y="-5705475"/>
                <a:ext cx="363538" cy="592138"/>
              </a:xfrm>
              <a:custGeom>
                <a:avLst/>
                <a:gdLst>
                  <a:gd name="T0" fmla="*/ 2147483646 w 97"/>
                  <a:gd name="T1" fmla="*/ 0 h 158"/>
                  <a:gd name="T2" fmla="*/ 2147483646 w 97"/>
                  <a:gd name="T3" fmla="*/ 0 h 158"/>
                  <a:gd name="T4" fmla="*/ 0 w 97"/>
                  <a:gd name="T5" fmla="*/ 2147483646 h 158"/>
                  <a:gd name="T6" fmla="*/ 0 w 97"/>
                  <a:gd name="T7" fmla="*/ 2147483646 h 158"/>
                  <a:gd name="T8" fmla="*/ 2147483646 w 97"/>
                  <a:gd name="T9" fmla="*/ 2147483646 h 158"/>
                  <a:gd name="T10" fmla="*/ 2147483646 w 97"/>
                  <a:gd name="T11" fmla="*/ 2147483646 h 158"/>
                  <a:gd name="T12" fmla="*/ 2147483646 w 97"/>
                  <a:gd name="T13" fmla="*/ 0 h 158"/>
                  <a:gd name="T14" fmla="*/ 2147483646 w 97"/>
                  <a:gd name="T15" fmla="*/ 2147483646 h 158"/>
                  <a:gd name="T16" fmla="*/ 2147483646 w 97"/>
                  <a:gd name="T17" fmla="*/ 2147483646 h 158"/>
                  <a:gd name="T18" fmla="*/ 2147483646 w 97"/>
                  <a:gd name="T19" fmla="*/ 2147483646 h 158"/>
                  <a:gd name="T20" fmla="*/ 2147483646 w 97"/>
                  <a:gd name="T21" fmla="*/ 2147483646 h 158"/>
                  <a:gd name="T22" fmla="*/ 2147483646 w 97"/>
                  <a:gd name="T23" fmla="*/ 2147483646 h 158"/>
                  <a:gd name="T24" fmla="*/ 2147483646 w 97"/>
                  <a:gd name="T25" fmla="*/ 2147483646 h 158"/>
                  <a:gd name="T26" fmla="*/ 2147483646 w 97"/>
                  <a:gd name="T27" fmla="*/ 2147483646 h 15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97" h="158">
                    <a:moveTo>
                      <a:pt x="87" y="0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7" y="4"/>
                      <a:pt x="92" y="0"/>
                      <a:pt x="87" y="0"/>
                    </a:cubicBezTo>
                    <a:close/>
                    <a:moveTo>
                      <a:pt x="32" y="139"/>
                    </a:moveTo>
                    <a:cubicBezTo>
                      <a:pt x="32" y="144"/>
                      <a:pt x="28" y="148"/>
                      <a:pt x="23" y="148"/>
                    </a:cubicBezTo>
                    <a:cubicBezTo>
                      <a:pt x="18" y="148"/>
                      <a:pt x="14" y="144"/>
                      <a:pt x="14" y="139"/>
                    </a:cubicBezTo>
                    <a:cubicBezTo>
                      <a:pt x="14" y="92"/>
                      <a:pt x="14" y="92"/>
                      <a:pt x="14" y="92"/>
                    </a:cubicBezTo>
                    <a:cubicBezTo>
                      <a:pt x="14" y="87"/>
                      <a:pt x="18" y="83"/>
                      <a:pt x="23" y="83"/>
                    </a:cubicBezTo>
                    <a:cubicBezTo>
                      <a:pt x="28" y="83"/>
                      <a:pt x="32" y="87"/>
                      <a:pt x="32" y="92"/>
                    </a:cubicBezTo>
                    <a:lnTo>
                      <a:pt x="32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649" name="组合 304"/>
            <p:cNvGrpSpPr/>
            <p:nvPr/>
          </p:nvGrpSpPr>
          <p:grpSpPr bwMode="auto">
            <a:xfrm>
              <a:off x="2122609" y="4119219"/>
              <a:ext cx="348505" cy="346505"/>
              <a:chOff x="7129657" y="-1531645"/>
              <a:chExt cx="564454" cy="561216"/>
            </a:xfrm>
          </p:grpSpPr>
          <p:sp>
            <p:nvSpPr>
              <p:cNvPr id="306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53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4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5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6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7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8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9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4" name="Freeform 128"/>
              <p:cNvSpPr/>
              <p:nvPr/>
            </p:nvSpPr>
            <p:spPr bwMode="auto">
              <a:xfrm>
                <a:off x="7316690" y="-1248776"/>
                <a:ext cx="187815" cy="92500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61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4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4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4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4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4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6" presetClass="entr" presetSubtype="37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6" dur="3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6" presetClass="entr" presetSubtype="37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9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6" presetClass="entr" presetSubtype="37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2" dur="3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6" presetClass="entr" presetSubtype="37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5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6" presetClass="entr" presetSubtype="37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8" dur="3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6" presetClass="entr" presetSubtype="37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1" dur="3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6" presetClass="entr" presetSubtype="37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4" dur="3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39" grpId="0"/>
      <p:bldP spid="40" grpId="0"/>
      <p:bldP spid="41" grpId="0"/>
      <p:bldP spid="42" grpId="0"/>
      <p:bldP spid="4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矩形 205"/>
          <p:cNvSpPr/>
          <p:nvPr/>
        </p:nvSpPr>
        <p:spPr>
          <a:xfrm>
            <a:off x="0" y="0"/>
            <a:ext cx="2700338" cy="5143500"/>
          </a:xfrm>
          <a:prstGeom prst="rect">
            <a:avLst/>
          </a:prstGeom>
          <a:solidFill>
            <a:srgbClr val="266678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228" name="组合 227"/>
          <p:cNvGrpSpPr/>
          <p:nvPr/>
        </p:nvGrpSpPr>
        <p:grpSpPr bwMode="auto">
          <a:xfrm>
            <a:off x="2705100" y="338138"/>
            <a:ext cx="1008063" cy="792162"/>
            <a:chOff x="1835150" y="319657"/>
            <a:chExt cx="1008658" cy="792163"/>
          </a:xfrm>
        </p:grpSpPr>
        <p:sp>
          <p:nvSpPr>
            <p:cNvPr id="1152" name="矩形 1151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55" name="任意多边形 1154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8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4" name="组合 3"/>
          <p:cNvGrpSpPr/>
          <p:nvPr/>
        </p:nvGrpSpPr>
        <p:grpSpPr bwMode="auto">
          <a:xfrm>
            <a:off x="2705100" y="2170113"/>
            <a:ext cx="1149350" cy="792162"/>
            <a:chOff x="2983059" y="2169348"/>
            <a:chExt cx="1148609" cy="792163"/>
          </a:xfrm>
        </p:grpSpPr>
        <p:sp>
          <p:nvSpPr>
            <p:cNvPr id="1165" name="等腰三角形 1164"/>
            <p:cNvSpPr/>
            <p:nvPr/>
          </p:nvSpPr>
          <p:spPr>
            <a:xfrm rot="5400000">
              <a:off x="3163662" y="1993504"/>
              <a:ext cx="792163" cy="1143849"/>
            </a:xfrm>
            <a:custGeom>
              <a:avLst/>
              <a:gdLst>
                <a:gd name="connsiteX0" fmla="*/ 0 w 792163"/>
                <a:gd name="connsiteY0" fmla="*/ 1144391 h 1144391"/>
                <a:gd name="connsiteX1" fmla="*/ 0 w 792163"/>
                <a:gd name="connsiteY1" fmla="*/ 135733 h 1144391"/>
                <a:gd name="connsiteX2" fmla="*/ 267851 w 792163"/>
                <a:gd name="connsiteY2" fmla="*/ 135733 h 1144391"/>
                <a:gd name="connsiteX3" fmla="*/ 410120 w 792163"/>
                <a:gd name="connsiteY3" fmla="*/ 0 h 1144391"/>
                <a:gd name="connsiteX4" fmla="*/ 571439 w 792163"/>
                <a:gd name="connsiteY4" fmla="*/ 135733 h 1144391"/>
                <a:gd name="connsiteX5" fmla="*/ 792163 w 792163"/>
                <a:gd name="connsiteY5" fmla="*/ 135733 h 1144391"/>
                <a:gd name="connsiteX6" fmla="*/ 792163 w 792163"/>
                <a:gd name="connsiteY6" fmla="*/ 1144391 h 1144391"/>
                <a:gd name="connsiteX7" fmla="*/ 0 w 792163"/>
                <a:gd name="connsiteY7" fmla="*/ 1144391 h 1144391"/>
                <a:gd name="connsiteX0-1" fmla="*/ 0 w 792163"/>
                <a:gd name="connsiteY0-2" fmla="*/ 1144391 h 1144391"/>
                <a:gd name="connsiteX1-3" fmla="*/ 0 w 792163"/>
                <a:gd name="connsiteY1-4" fmla="*/ 135733 h 1144391"/>
                <a:gd name="connsiteX2-5" fmla="*/ 260707 w 792163"/>
                <a:gd name="connsiteY2-6" fmla="*/ 135733 h 1144391"/>
                <a:gd name="connsiteX3-7" fmla="*/ 410120 w 792163"/>
                <a:gd name="connsiteY3-8" fmla="*/ 0 h 1144391"/>
                <a:gd name="connsiteX4-9" fmla="*/ 571439 w 792163"/>
                <a:gd name="connsiteY4-10" fmla="*/ 135733 h 1144391"/>
                <a:gd name="connsiteX5-11" fmla="*/ 792163 w 792163"/>
                <a:gd name="connsiteY5-12" fmla="*/ 135733 h 1144391"/>
                <a:gd name="connsiteX6-13" fmla="*/ 792163 w 792163"/>
                <a:gd name="connsiteY6-14" fmla="*/ 1144391 h 1144391"/>
                <a:gd name="connsiteX7-15" fmla="*/ 0 w 792163"/>
                <a:gd name="connsiteY7-16" fmla="*/ 1144391 h 114439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92163" h="1144391">
                  <a:moveTo>
                    <a:pt x="0" y="1144391"/>
                  </a:moveTo>
                  <a:lnTo>
                    <a:pt x="0" y="135733"/>
                  </a:lnTo>
                  <a:lnTo>
                    <a:pt x="260707" y="135733"/>
                  </a:lnTo>
                  <a:lnTo>
                    <a:pt x="410120" y="0"/>
                  </a:lnTo>
                  <a:lnTo>
                    <a:pt x="571439" y="135733"/>
                  </a:lnTo>
                  <a:lnTo>
                    <a:pt x="792163" y="135733"/>
                  </a:lnTo>
                  <a:lnTo>
                    <a:pt x="792163" y="1144391"/>
                  </a:lnTo>
                  <a:lnTo>
                    <a:pt x="0" y="1144391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6" name="任意多边形 215"/>
            <p:cNvSpPr/>
            <p:nvPr/>
          </p:nvSpPr>
          <p:spPr>
            <a:xfrm>
              <a:off x="2983059" y="2277298"/>
              <a:ext cx="923329" cy="608013"/>
            </a:xfrm>
            <a:custGeom>
              <a:avLst/>
              <a:gdLst>
                <a:gd name="connsiteX0" fmla="*/ 276473 w 750342"/>
                <a:gd name="connsiteY0" fmla="*/ 0 h 496951"/>
                <a:gd name="connsiteX1" fmla="*/ 731292 w 750342"/>
                <a:gd name="connsiteY1" fmla="*/ 4762 h 496951"/>
                <a:gd name="connsiteX2" fmla="*/ 750342 w 750342"/>
                <a:gd name="connsiteY2" fmla="*/ 54768 h 496951"/>
                <a:gd name="connsiteX3" fmla="*/ 743198 w 750342"/>
                <a:gd name="connsiteY3" fmla="*/ 321468 h 496951"/>
                <a:gd name="connsiteX4" fmla="*/ 425888 w 750342"/>
                <a:gd name="connsiteY4" fmla="*/ 496951 h 496951"/>
                <a:gd name="connsiteX5" fmla="*/ 0 w 750342"/>
                <a:gd name="connsiteY5" fmla="*/ 496951 h 496951"/>
                <a:gd name="connsiteX6" fmla="*/ 0 w 750342"/>
                <a:gd name="connsiteY6" fmla="*/ 232699 h 496951"/>
                <a:gd name="connsiteX7" fmla="*/ 276473 w 750342"/>
                <a:gd name="connsiteY7" fmla="*/ 0 h 496951"/>
                <a:gd name="connsiteX0-1" fmla="*/ 280365 w 754234"/>
                <a:gd name="connsiteY0-2" fmla="*/ 0 h 496951"/>
                <a:gd name="connsiteX1-3" fmla="*/ 735184 w 754234"/>
                <a:gd name="connsiteY1-4" fmla="*/ 4762 h 496951"/>
                <a:gd name="connsiteX2-5" fmla="*/ 754234 w 754234"/>
                <a:gd name="connsiteY2-6" fmla="*/ 54768 h 496951"/>
                <a:gd name="connsiteX3-7" fmla="*/ 747090 w 754234"/>
                <a:gd name="connsiteY3-8" fmla="*/ 321468 h 496951"/>
                <a:gd name="connsiteX4-9" fmla="*/ 429780 w 754234"/>
                <a:gd name="connsiteY4-10" fmla="*/ 496951 h 496951"/>
                <a:gd name="connsiteX5-11" fmla="*/ 3892 w 754234"/>
                <a:gd name="connsiteY5-12" fmla="*/ 496951 h 496951"/>
                <a:gd name="connsiteX6-13" fmla="*/ 0 w 754234"/>
                <a:gd name="connsiteY6-14" fmla="*/ 261887 h 496951"/>
                <a:gd name="connsiteX7-15" fmla="*/ 280365 w 754234"/>
                <a:gd name="connsiteY7-16" fmla="*/ 0 h 49695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54234" h="496951">
                  <a:moveTo>
                    <a:pt x="280365" y="0"/>
                  </a:moveTo>
                  <a:lnTo>
                    <a:pt x="735184" y="4762"/>
                  </a:lnTo>
                  <a:lnTo>
                    <a:pt x="754234" y="54768"/>
                  </a:lnTo>
                  <a:lnTo>
                    <a:pt x="747090" y="321468"/>
                  </a:lnTo>
                  <a:lnTo>
                    <a:pt x="429780" y="496951"/>
                  </a:lnTo>
                  <a:lnTo>
                    <a:pt x="3892" y="496951"/>
                  </a:lnTo>
                  <a:cubicBezTo>
                    <a:pt x="2595" y="418596"/>
                    <a:pt x="1297" y="340242"/>
                    <a:pt x="0" y="261887"/>
                  </a:cubicBezTo>
                  <a:lnTo>
                    <a:pt x="280365" y="0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254" name="Freeform 6"/>
            <p:cNvSpPr>
              <a:spLocks noEditPoints="1"/>
            </p:cNvSpPr>
            <p:nvPr/>
          </p:nvSpPr>
          <p:spPr bwMode="auto">
            <a:xfrm>
              <a:off x="3282102" y="2275882"/>
              <a:ext cx="644475" cy="403450"/>
            </a:xfrm>
            <a:custGeom>
              <a:avLst/>
              <a:gdLst>
                <a:gd name="T0" fmla="*/ 2147483646 w 208"/>
                <a:gd name="T1" fmla="*/ 0 h 130"/>
                <a:gd name="T2" fmla="*/ 2147483646 w 208"/>
                <a:gd name="T3" fmla="*/ 0 h 130"/>
                <a:gd name="T4" fmla="*/ 0 w 208"/>
                <a:gd name="T5" fmla="*/ 2147483646 h 130"/>
                <a:gd name="T6" fmla="*/ 0 w 208"/>
                <a:gd name="T7" fmla="*/ 2147483646 h 130"/>
                <a:gd name="T8" fmla="*/ 2147483646 w 208"/>
                <a:gd name="T9" fmla="*/ 2147483646 h 130"/>
                <a:gd name="T10" fmla="*/ 2147483646 w 208"/>
                <a:gd name="T11" fmla="*/ 2147483646 h 130"/>
                <a:gd name="T12" fmla="*/ 2147483646 w 208"/>
                <a:gd name="T13" fmla="*/ 2147483646 h 130"/>
                <a:gd name="T14" fmla="*/ 2147483646 w 208"/>
                <a:gd name="T15" fmla="*/ 2147483646 h 130"/>
                <a:gd name="T16" fmla="*/ 2147483646 w 208"/>
                <a:gd name="T17" fmla="*/ 0 h 130"/>
                <a:gd name="T18" fmla="*/ 2147483646 w 208"/>
                <a:gd name="T19" fmla="*/ 2147483646 h 130"/>
                <a:gd name="T20" fmla="*/ 2147483646 w 208"/>
                <a:gd name="T21" fmla="*/ 2147483646 h 130"/>
                <a:gd name="T22" fmla="*/ 2147483646 w 208"/>
                <a:gd name="T23" fmla="*/ 2147483646 h 130"/>
                <a:gd name="T24" fmla="*/ 2147483646 w 208"/>
                <a:gd name="T25" fmla="*/ 2147483646 h 130"/>
                <a:gd name="T26" fmla="*/ 2147483646 w 208"/>
                <a:gd name="T27" fmla="*/ 2147483646 h 130"/>
                <a:gd name="T28" fmla="*/ 2147483646 w 208"/>
                <a:gd name="T29" fmla="*/ 2147483646 h 130"/>
                <a:gd name="T30" fmla="*/ 2147483646 w 208"/>
                <a:gd name="T31" fmla="*/ 2147483646 h 130"/>
                <a:gd name="T32" fmla="*/ 2147483646 w 208"/>
                <a:gd name="T33" fmla="*/ 2147483646 h 130"/>
                <a:gd name="T34" fmla="*/ 2147483646 w 208"/>
                <a:gd name="T35" fmla="*/ 2147483646 h 130"/>
                <a:gd name="T36" fmla="*/ 2147483646 w 208"/>
                <a:gd name="T37" fmla="*/ 2147483646 h 130"/>
                <a:gd name="T38" fmla="*/ 2147483646 w 208"/>
                <a:gd name="T39" fmla="*/ 2147483646 h 130"/>
                <a:gd name="T40" fmla="*/ 2147483646 w 208"/>
                <a:gd name="T41" fmla="*/ 2147483646 h 130"/>
                <a:gd name="T42" fmla="*/ 2147483646 w 208"/>
                <a:gd name="T43" fmla="*/ 2147483646 h 130"/>
                <a:gd name="T44" fmla="*/ 2147483646 w 208"/>
                <a:gd name="T45" fmla="*/ 2147483646 h 130"/>
                <a:gd name="T46" fmla="*/ 2147483646 w 208"/>
                <a:gd name="T47" fmla="*/ 2147483646 h 130"/>
                <a:gd name="T48" fmla="*/ 2147483646 w 208"/>
                <a:gd name="T49" fmla="*/ 2147483646 h 130"/>
                <a:gd name="T50" fmla="*/ 2147483646 w 208"/>
                <a:gd name="T51" fmla="*/ 2147483646 h 130"/>
                <a:gd name="T52" fmla="*/ 2147483646 w 208"/>
                <a:gd name="T53" fmla="*/ 2147483646 h 130"/>
                <a:gd name="T54" fmla="*/ 2147483646 w 208"/>
                <a:gd name="T55" fmla="*/ 2147483646 h 130"/>
                <a:gd name="T56" fmla="*/ 2147483646 w 208"/>
                <a:gd name="T57" fmla="*/ 2147483646 h 130"/>
                <a:gd name="T58" fmla="*/ 2147483646 w 208"/>
                <a:gd name="T59" fmla="*/ 2147483646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64" name="等腰三角形 1163"/>
            <p:cNvSpPr/>
            <p:nvPr/>
          </p:nvSpPr>
          <p:spPr>
            <a:xfrm rot="5400000">
              <a:off x="3194619" y="2045066"/>
              <a:ext cx="730251" cy="1045489"/>
            </a:xfrm>
            <a:custGeom>
              <a:avLst/>
              <a:gdLst/>
              <a:ahLst/>
              <a:cxnLst/>
              <a:rect l="l" t="t" r="r" b="b"/>
              <a:pathLst>
                <a:path w="729928" h="1045374">
                  <a:moveTo>
                    <a:pt x="0" y="1045374"/>
                  </a:moveTo>
                  <a:lnTo>
                    <a:pt x="0" y="126577"/>
                  </a:lnTo>
                  <a:lnTo>
                    <a:pt x="234185" y="126577"/>
                  </a:lnTo>
                  <a:lnTo>
                    <a:pt x="374542" y="0"/>
                  </a:lnTo>
                  <a:lnTo>
                    <a:pt x="527843" y="126577"/>
                  </a:lnTo>
                  <a:lnTo>
                    <a:pt x="729928" y="126577"/>
                  </a:lnTo>
                  <a:lnTo>
                    <a:pt x="729928" y="1045374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92" name="组合 191"/>
          <p:cNvGrpSpPr/>
          <p:nvPr/>
        </p:nvGrpSpPr>
        <p:grpSpPr bwMode="auto">
          <a:xfrm>
            <a:off x="2706688" y="1277938"/>
            <a:ext cx="1008062" cy="792162"/>
            <a:chOff x="1835150" y="319657"/>
            <a:chExt cx="1008658" cy="792163"/>
          </a:xfrm>
        </p:grpSpPr>
        <p:sp>
          <p:nvSpPr>
            <p:cNvPr id="193" name="矩形 192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4" name="任意多边形 193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5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96" name="组合 195"/>
          <p:cNvGrpSpPr/>
          <p:nvPr/>
        </p:nvGrpSpPr>
        <p:grpSpPr bwMode="auto">
          <a:xfrm>
            <a:off x="2705100" y="3121025"/>
            <a:ext cx="1008063" cy="792163"/>
            <a:chOff x="1835150" y="319657"/>
            <a:chExt cx="1008658" cy="792163"/>
          </a:xfrm>
        </p:grpSpPr>
        <p:sp>
          <p:nvSpPr>
            <p:cNvPr id="197" name="矩形 196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8" name="任意多边形 197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9" name="Freeform 6"/>
            <p:cNvSpPr>
              <a:spLocks noEditPoints="1"/>
            </p:cNvSpPr>
            <p:nvPr/>
          </p:nvSpPr>
          <p:spPr bwMode="auto">
            <a:xfrm>
              <a:off x="2086123" y="508570"/>
              <a:ext cx="643317" cy="403225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00" name="组合 199"/>
          <p:cNvGrpSpPr/>
          <p:nvPr/>
        </p:nvGrpSpPr>
        <p:grpSpPr bwMode="auto">
          <a:xfrm>
            <a:off x="2709863" y="4071938"/>
            <a:ext cx="1008062" cy="792162"/>
            <a:chOff x="1835150" y="319657"/>
            <a:chExt cx="1008658" cy="792163"/>
          </a:xfrm>
        </p:grpSpPr>
        <p:sp>
          <p:nvSpPr>
            <p:cNvPr id="201" name="矩形 200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2" name="任意多边形 201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3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160" name="组合 1159"/>
          <p:cNvGrpSpPr/>
          <p:nvPr/>
        </p:nvGrpSpPr>
        <p:grpSpPr bwMode="auto">
          <a:xfrm>
            <a:off x="3854450" y="2165350"/>
            <a:ext cx="4851400" cy="846138"/>
            <a:chOff x="4113929" y="2169343"/>
            <a:chExt cx="4850559" cy="845068"/>
          </a:xfrm>
        </p:grpSpPr>
        <p:sp>
          <p:nvSpPr>
            <p:cNvPr id="187" name="等腰三角形 1164"/>
            <p:cNvSpPr/>
            <p:nvPr/>
          </p:nvSpPr>
          <p:spPr>
            <a:xfrm rot="16200000" flipH="1">
              <a:off x="6117467" y="168976"/>
              <a:ext cx="841897" cy="4848972"/>
            </a:xfrm>
            <a:custGeom>
              <a:avLst/>
              <a:gdLst>
                <a:gd name="connsiteX0" fmla="*/ 1498 w 793663"/>
                <a:gd name="connsiteY0" fmla="*/ 135733 h 4798886"/>
                <a:gd name="connsiteX1" fmla="*/ 0 w 793663"/>
                <a:gd name="connsiteY1" fmla="*/ 187709 h 4798886"/>
                <a:gd name="connsiteX2" fmla="*/ 1498 w 793663"/>
                <a:gd name="connsiteY2" fmla="*/ 1144391 h 4798886"/>
                <a:gd name="connsiteX3" fmla="*/ 1500 w 793663"/>
                <a:gd name="connsiteY3" fmla="*/ 1144391 h 4798886"/>
                <a:gd name="connsiteX4" fmla="*/ 1500 w 793663"/>
                <a:gd name="connsiteY4" fmla="*/ 4798886 h 4798886"/>
                <a:gd name="connsiteX5" fmla="*/ 793663 w 793663"/>
                <a:gd name="connsiteY5" fmla="*/ 4798886 h 4798886"/>
                <a:gd name="connsiteX6" fmla="*/ 793663 w 793663"/>
                <a:gd name="connsiteY6" fmla="*/ 1117780 h 4798886"/>
                <a:gd name="connsiteX7" fmla="*/ 793661 w 793663"/>
                <a:gd name="connsiteY7" fmla="*/ 1117780 h 4798886"/>
                <a:gd name="connsiteX8" fmla="*/ 793661 w 793663"/>
                <a:gd name="connsiteY8" fmla="*/ 135733 h 4798886"/>
                <a:gd name="connsiteX9" fmla="*/ 572937 w 793663"/>
                <a:gd name="connsiteY9" fmla="*/ 135733 h 4798886"/>
                <a:gd name="connsiteX10" fmla="*/ 411618 w 793663"/>
                <a:gd name="connsiteY10" fmla="*/ 0 h 4798886"/>
                <a:gd name="connsiteX11" fmla="*/ 262205 w 793663"/>
                <a:gd name="connsiteY11" fmla="*/ 135733 h 4798886"/>
                <a:gd name="connsiteX12" fmla="*/ 1498 w 793663"/>
                <a:gd name="connsiteY12" fmla="*/ 135733 h 4798886"/>
                <a:gd name="connsiteX0-1" fmla="*/ 1498 w 793663"/>
                <a:gd name="connsiteY0-2" fmla="*/ 135733 h 4798886"/>
                <a:gd name="connsiteX1-3" fmla="*/ 0 w 793663"/>
                <a:gd name="connsiteY1-4" fmla="*/ 187709 h 4798886"/>
                <a:gd name="connsiteX2-5" fmla="*/ 1498 w 793663"/>
                <a:gd name="connsiteY2-6" fmla="*/ 1144391 h 4798886"/>
                <a:gd name="connsiteX3-7" fmla="*/ 1500 w 793663"/>
                <a:gd name="connsiteY3-8" fmla="*/ 1144391 h 4798886"/>
                <a:gd name="connsiteX4-9" fmla="*/ 1500 w 793663"/>
                <a:gd name="connsiteY4-10" fmla="*/ 4798886 h 4798886"/>
                <a:gd name="connsiteX5-11" fmla="*/ 793663 w 793663"/>
                <a:gd name="connsiteY5-12" fmla="*/ 4798886 h 4798886"/>
                <a:gd name="connsiteX6-13" fmla="*/ 793663 w 793663"/>
                <a:gd name="connsiteY6-14" fmla="*/ 1117780 h 4798886"/>
                <a:gd name="connsiteX7-15" fmla="*/ 793661 w 793663"/>
                <a:gd name="connsiteY7-16" fmla="*/ 1117780 h 4798886"/>
                <a:gd name="connsiteX8-17" fmla="*/ 793661 w 793663"/>
                <a:gd name="connsiteY8-18" fmla="*/ 135733 h 4798886"/>
                <a:gd name="connsiteX9-19" fmla="*/ 572937 w 793663"/>
                <a:gd name="connsiteY9-20" fmla="*/ 135733 h 4798886"/>
                <a:gd name="connsiteX10-21" fmla="*/ 411618 w 793663"/>
                <a:gd name="connsiteY10-22" fmla="*/ 0 h 4798886"/>
                <a:gd name="connsiteX11-23" fmla="*/ 262205 w 793663"/>
                <a:gd name="connsiteY11-24" fmla="*/ 135733 h 4798886"/>
                <a:gd name="connsiteX12-25" fmla="*/ 41890 w 793663"/>
                <a:gd name="connsiteY12-26" fmla="*/ 134656 h 4798886"/>
                <a:gd name="connsiteX13" fmla="*/ 1498 w 793663"/>
                <a:gd name="connsiteY13" fmla="*/ 135733 h 4798886"/>
                <a:gd name="connsiteX0-27" fmla="*/ 41890 w 793663"/>
                <a:gd name="connsiteY0-28" fmla="*/ 134656 h 4798886"/>
                <a:gd name="connsiteX1-29" fmla="*/ 0 w 793663"/>
                <a:gd name="connsiteY1-30" fmla="*/ 187709 h 4798886"/>
                <a:gd name="connsiteX2-31" fmla="*/ 1498 w 793663"/>
                <a:gd name="connsiteY2-32" fmla="*/ 1144391 h 4798886"/>
                <a:gd name="connsiteX3-33" fmla="*/ 1500 w 793663"/>
                <a:gd name="connsiteY3-34" fmla="*/ 1144391 h 4798886"/>
                <a:gd name="connsiteX4-35" fmla="*/ 1500 w 793663"/>
                <a:gd name="connsiteY4-36" fmla="*/ 4798886 h 4798886"/>
                <a:gd name="connsiteX5-37" fmla="*/ 793663 w 793663"/>
                <a:gd name="connsiteY5-38" fmla="*/ 4798886 h 4798886"/>
                <a:gd name="connsiteX6-39" fmla="*/ 793663 w 793663"/>
                <a:gd name="connsiteY6-40" fmla="*/ 1117780 h 4798886"/>
                <a:gd name="connsiteX7-41" fmla="*/ 793661 w 793663"/>
                <a:gd name="connsiteY7-42" fmla="*/ 1117780 h 4798886"/>
                <a:gd name="connsiteX8-43" fmla="*/ 793661 w 793663"/>
                <a:gd name="connsiteY8-44" fmla="*/ 135733 h 4798886"/>
                <a:gd name="connsiteX9-45" fmla="*/ 572937 w 793663"/>
                <a:gd name="connsiteY9-46" fmla="*/ 135733 h 4798886"/>
                <a:gd name="connsiteX10-47" fmla="*/ 411618 w 793663"/>
                <a:gd name="connsiteY10-48" fmla="*/ 0 h 4798886"/>
                <a:gd name="connsiteX11-49" fmla="*/ 262205 w 793663"/>
                <a:gd name="connsiteY11-50" fmla="*/ 135733 h 4798886"/>
                <a:gd name="connsiteX12-51" fmla="*/ 41890 w 793663"/>
                <a:gd name="connsiteY12-52" fmla="*/ 134656 h 4798886"/>
                <a:gd name="connsiteX0-53" fmla="*/ 41890 w 793663"/>
                <a:gd name="connsiteY0-54" fmla="*/ 134656 h 4798886"/>
                <a:gd name="connsiteX1-55" fmla="*/ 0 w 793663"/>
                <a:gd name="connsiteY1-56" fmla="*/ 187709 h 4798886"/>
                <a:gd name="connsiteX2-57" fmla="*/ 1498 w 793663"/>
                <a:gd name="connsiteY2-58" fmla="*/ 1144391 h 4798886"/>
                <a:gd name="connsiteX3-59" fmla="*/ 1500 w 793663"/>
                <a:gd name="connsiteY3-60" fmla="*/ 1144391 h 4798886"/>
                <a:gd name="connsiteX4-61" fmla="*/ 1500 w 793663"/>
                <a:gd name="connsiteY4-62" fmla="*/ 4798886 h 4798886"/>
                <a:gd name="connsiteX5-63" fmla="*/ 793663 w 793663"/>
                <a:gd name="connsiteY5-64" fmla="*/ 4767681 h 4798886"/>
                <a:gd name="connsiteX6-65" fmla="*/ 793663 w 793663"/>
                <a:gd name="connsiteY6-66" fmla="*/ 1117780 h 4798886"/>
                <a:gd name="connsiteX7-67" fmla="*/ 793661 w 793663"/>
                <a:gd name="connsiteY7-68" fmla="*/ 1117780 h 4798886"/>
                <a:gd name="connsiteX8-69" fmla="*/ 793661 w 793663"/>
                <a:gd name="connsiteY8-70" fmla="*/ 135733 h 4798886"/>
                <a:gd name="connsiteX9-71" fmla="*/ 572937 w 793663"/>
                <a:gd name="connsiteY9-72" fmla="*/ 135733 h 4798886"/>
                <a:gd name="connsiteX10-73" fmla="*/ 411618 w 793663"/>
                <a:gd name="connsiteY10-74" fmla="*/ 0 h 4798886"/>
                <a:gd name="connsiteX11-75" fmla="*/ 262205 w 793663"/>
                <a:gd name="connsiteY11-76" fmla="*/ 135733 h 4798886"/>
                <a:gd name="connsiteX12-77" fmla="*/ 41890 w 793663"/>
                <a:gd name="connsiteY12-78" fmla="*/ 134656 h 4798886"/>
                <a:gd name="connsiteX0-79" fmla="*/ 41890 w 793663"/>
                <a:gd name="connsiteY0-80" fmla="*/ 134656 h 4770802"/>
                <a:gd name="connsiteX1-81" fmla="*/ 0 w 793663"/>
                <a:gd name="connsiteY1-82" fmla="*/ 187709 h 4770802"/>
                <a:gd name="connsiteX2-83" fmla="*/ 1498 w 793663"/>
                <a:gd name="connsiteY2-84" fmla="*/ 1144391 h 4770802"/>
                <a:gd name="connsiteX3-85" fmla="*/ 1500 w 793663"/>
                <a:gd name="connsiteY3-86" fmla="*/ 1144391 h 4770802"/>
                <a:gd name="connsiteX4-87" fmla="*/ 1500 w 793663"/>
                <a:gd name="connsiteY4-88" fmla="*/ 4770802 h 4770802"/>
                <a:gd name="connsiteX5-89" fmla="*/ 793663 w 793663"/>
                <a:gd name="connsiteY5-90" fmla="*/ 4767681 h 4770802"/>
                <a:gd name="connsiteX6-91" fmla="*/ 793663 w 793663"/>
                <a:gd name="connsiteY6-92" fmla="*/ 1117780 h 4770802"/>
                <a:gd name="connsiteX7-93" fmla="*/ 793661 w 793663"/>
                <a:gd name="connsiteY7-94" fmla="*/ 1117780 h 4770802"/>
                <a:gd name="connsiteX8-95" fmla="*/ 793661 w 793663"/>
                <a:gd name="connsiteY8-96" fmla="*/ 135733 h 4770802"/>
                <a:gd name="connsiteX9-97" fmla="*/ 572937 w 793663"/>
                <a:gd name="connsiteY9-98" fmla="*/ 135733 h 4770802"/>
                <a:gd name="connsiteX10-99" fmla="*/ 411618 w 793663"/>
                <a:gd name="connsiteY10-100" fmla="*/ 0 h 4770802"/>
                <a:gd name="connsiteX11-101" fmla="*/ 262205 w 793663"/>
                <a:gd name="connsiteY11-102" fmla="*/ 135733 h 4770802"/>
                <a:gd name="connsiteX12-103" fmla="*/ 41890 w 793663"/>
                <a:gd name="connsiteY12-104" fmla="*/ 134656 h 4770802"/>
                <a:gd name="connsiteX0-105" fmla="*/ 41890 w 793663"/>
                <a:gd name="connsiteY0-106" fmla="*/ 134656 h 4770802"/>
                <a:gd name="connsiteX1-107" fmla="*/ 0 w 793663"/>
                <a:gd name="connsiteY1-108" fmla="*/ 187709 h 4770802"/>
                <a:gd name="connsiteX2-109" fmla="*/ 1498 w 793663"/>
                <a:gd name="connsiteY2-110" fmla="*/ 1144391 h 4770802"/>
                <a:gd name="connsiteX3-111" fmla="*/ 1500 w 793663"/>
                <a:gd name="connsiteY3-112" fmla="*/ 1144391 h 4770802"/>
                <a:gd name="connsiteX4-113" fmla="*/ 1500 w 793663"/>
                <a:gd name="connsiteY4-114" fmla="*/ 4770802 h 4770802"/>
                <a:gd name="connsiteX5-115" fmla="*/ 793663 w 793663"/>
                <a:gd name="connsiteY5-116" fmla="*/ 4767681 h 4770802"/>
                <a:gd name="connsiteX6-117" fmla="*/ 792912 w 793663"/>
                <a:gd name="connsiteY6-118" fmla="*/ 4737762 h 4770802"/>
                <a:gd name="connsiteX7-119" fmla="*/ 793663 w 793663"/>
                <a:gd name="connsiteY7-120" fmla="*/ 1117780 h 4770802"/>
                <a:gd name="connsiteX8-121" fmla="*/ 793661 w 793663"/>
                <a:gd name="connsiteY8-122" fmla="*/ 1117780 h 4770802"/>
                <a:gd name="connsiteX9-123" fmla="*/ 793661 w 793663"/>
                <a:gd name="connsiteY9-124" fmla="*/ 135733 h 4770802"/>
                <a:gd name="connsiteX10-125" fmla="*/ 572937 w 793663"/>
                <a:gd name="connsiteY10-126" fmla="*/ 135733 h 4770802"/>
                <a:gd name="connsiteX11-127" fmla="*/ 411618 w 793663"/>
                <a:gd name="connsiteY11-128" fmla="*/ 0 h 4770802"/>
                <a:gd name="connsiteX12-129" fmla="*/ 262205 w 793663"/>
                <a:gd name="connsiteY12-130" fmla="*/ 135733 h 4770802"/>
                <a:gd name="connsiteX13-131" fmla="*/ 41890 w 793663"/>
                <a:gd name="connsiteY13-132" fmla="*/ 134656 h 4770802"/>
                <a:gd name="connsiteX0-133" fmla="*/ 41890 w 793663"/>
                <a:gd name="connsiteY0-134" fmla="*/ 134656 h 4770802"/>
                <a:gd name="connsiteX1-135" fmla="*/ 0 w 793663"/>
                <a:gd name="connsiteY1-136" fmla="*/ 187709 h 4770802"/>
                <a:gd name="connsiteX2-137" fmla="*/ 1498 w 793663"/>
                <a:gd name="connsiteY2-138" fmla="*/ 1144391 h 4770802"/>
                <a:gd name="connsiteX3-139" fmla="*/ 1500 w 793663"/>
                <a:gd name="connsiteY3-140" fmla="*/ 1144391 h 4770802"/>
                <a:gd name="connsiteX4-141" fmla="*/ 1500 w 793663"/>
                <a:gd name="connsiteY4-142" fmla="*/ 4770802 h 4770802"/>
                <a:gd name="connsiteX5-143" fmla="*/ 742046 w 793663"/>
                <a:gd name="connsiteY5-144" fmla="*/ 4765849 h 4770802"/>
                <a:gd name="connsiteX6-145" fmla="*/ 793663 w 793663"/>
                <a:gd name="connsiteY6-146" fmla="*/ 4767681 h 4770802"/>
                <a:gd name="connsiteX7-147" fmla="*/ 792912 w 793663"/>
                <a:gd name="connsiteY7-148" fmla="*/ 4737762 h 4770802"/>
                <a:gd name="connsiteX8-149" fmla="*/ 793663 w 793663"/>
                <a:gd name="connsiteY8-150" fmla="*/ 1117780 h 4770802"/>
                <a:gd name="connsiteX9-151" fmla="*/ 793661 w 793663"/>
                <a:gd name="connsiteY9-152" fmla="*/ 1117780 h 4770802"/>
                <a:gd name="connsiteX10-153" fmla="*/ 793661 w 793663"/>
                <a:gd name="connsiteY10-154" fmla="*/ 135733 h 4770802"/>
                <a:gd name="connsiteX11-155" fmla="*/ 572937 w 793663"/>
                <a:gd name="connsiteY11-156" fmla="*/ 135733 h 4770802"/>
                <a:gd name="connsiteX12-157" fmla="*/ 411618 w 793663"/>
                <a:gd name="connsiteY12-158" fmla="*/ 0 h 4770802"/>
                <a:gd name="connsiteX13-159" fmla="*/ 262205 w 793663"/>
                <a:gd name="connsiteY13-160" fmla="*/ 135733 h 4770802"/>
                <a:gd name="connsiteX14" fmla="*/ 41890 w 793663"/>
                <a:gd name="connsiteY14" fmla="*/ 134656 h 4770802"/>
                <a:gd name="connsiteX0-161" fmla="*/ 41890 w 793663"/>
                <a:gd name="connsiteY0-162" fmla="*/ 134656 h 4770802"/>
                <a:gd name="connsiteX1-163" fmla="*/ 0 w 793663"/>
                <a:gd name="connsiteY1-164" fmla="*/ 187709 h 4770802"/>
                <a:gd name="connsiteX2-165" fmla="*/ 1498 w 793663"/>
                <a:gd name="connsiteY2-166" fmla="*/ 1144391 h 4770802"/>
                <a:gd name="connsiteX3-167" fmla="*/ 1500 w 793663"/>
                <a:gd name="connsiteY3-168" fmla="*/ 1144391 h 4770802"/>
                <a:gd name="connsiteX4-169" fmla="*/ 1500 w 793663"/>
                <a:gd name="connsiteY4-170" fmla="*/ 4770802 h 4770802"/>
                <a:gd name="connsiteX5-171" fmla="*/ 742046 w 793663"/>
                <a:gd name="connsiteY5-172" fmla="*/ 4765849 h 4770802"/>
                <a:gd name="connsiteX6-173" fmla="*/ 792912 w 793663"/>
                <a:gd name="connsiteY6-174" fmla="*/ 4737762 h 4770802"/>
                <a:gd name="connsiteX7-175" fmla="*/ 793663 w 793663"/>
                <a:gd name="connsiteY7-176" fmla="*/ 1117780 h 4770802"/>
                <a:gd name="connsiteX8-177" fmla="*/ 793661 w 793663"/>
                <a:gd name="connsiteY8-178" fmla="*/ 1117780 h 4770802"/>
                <a:gd name="connsiteX9-179" fmla="*/ 793661 w 793663"/>
                <a:gd name="connsiteY9-180" fmla="*/ 135733 h 4770802"/>
                <a:gd name="connsiteX10-181" fmla="*/ 572937 w 793663"/>
                <a:gd name="connsiteY10-182" fmla="*/ 135733 h 4770802"/>
                <a:gd name="connsiteX11-183" fmla="*/ 411618 w 793663"/>
                <a:gd name="connsiteY11-184" fmla="*/ 0 h 4770802"/>
                <a:gd name="connsiteX12-185" fmla="*/ 262205 w 793663"/>
                <a:gd name="connsiteY12-186" fmla="*/ 135733 h 4770802"/>
                <a:gd name="connsiteX13-187" fmla="*/ 41890 w 793663"/>
                <a:gd name="connsiteY13-188" fmla="*/ 134656 h 4770802"/>
                <a:gd name="connsiteX0-189" fmla="*/ 41890 w 793663"/>
                <a:gd name="connsiteY0-190" fmla="*/ 134656 h 4765849"/>
                <a:gd name="connsiteX1-191" fmla="*/ 0 w 793663"/>
                <a:gd name="connsiteY1-192" fmla="*/ 187709 h 4765849"/>
                <a:gd name="connsiteX2-193" fmla="*/ 1498 w 793663"/>
                <a:gd name="connsiteY2-194" fmla="*/ 1144391 h 4765849"/>
                <a:gd name="connsiteX3-195" fmla="*/ 1500 w 793663"/>
                <a:gd name="connsiteY3-196" fmla="*/ 1144391 h 4765849"/>
                <a:gd name="connsiteX4-197" fmla="*/ 1500 w 793663"/>
                <a:gd name="connsiteY4-198" fmla="*/ 4761442 h 4765849"/>
                <a:gd name="connsiteX5-199" fmla="*/ 742046 w 793663"/>
                <a:gd name="connsiteY5-200" fmla="*/ 4765849 h 4765849"/>
                <a:gd name="connsiteX6-201" fmla="*/ 792912 w 793663"/>
                <a:gd name="connsiteY6-202" fmla="*/ 4737762 h 4765849"/>
                <a:gd name="connsiteX7-203" fmla="*/ 793663 w 793663"/>
                <a:gd name="connsiteY7-204" fmla="*/ 1117780 h 4765849"/>
                <a:gd name="connsiteX8-205" fmla="*/ 793661 w 793663"/>
                <a:gd name="connsiteY8-206" fmla="*/ 1117780 h 4765849"/>
                <a:gd name="connsiteX9-207" fmla="*/ 793661 w 793663"/>
                <a:gd name="connsiteY9-208" fmla="*/ 135733 h 4765849"/>
                <a:gd name="connsiteX10-209" fmla="*/ 572937 w 793663"/>
                <a:gd name="connsiteY10-210" fmla="*/ 135733 h 4765849"/>
                <a:gd name="connsiteX11-211" fmla="*/ 411618 w 793663"/>
                <a:gd name="connsiteY11-212" fmla="*/ 0 h 4765849"/>
                <a:gd name="connsiteX12-213" fmla="*/ 262205 w 793663"/>
                <a:gd name="connsiteY12-214" fmla="*/ 135733 h 4765849"/>
                <a:gd name="connsiteX13-215" fmla="*/ 41890 w 793663"/>
                <a:gd name="connsiteY13-216" fmla="*/ 134656 h 476584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131" y="connsiteY13-132"/>
                </a:cxn>
              </a:cxnLst>
              <a:rect l="l" t="t" r="r" b="b"/>
              <a:pathLst>
                <a:path w="793663" h="4765849">
                  <a:moveTo>
                    <a:pt x="41890" y="134656"/>
                  </a:moveTo>
                  <a:lnTo>
                    <a:pt x="0" y="187709"/>
                  </a:lnTo>
                  <a:cubicBezTo>
                    <a:pt x="499" y="506603"/>
                    <a:pt x="999" y="825497"/>
                    <a:pt x="1498" y="1144391"/>
                  </a:cubicBezTo>
                  <a:lnTo>
                    <a:pt x="1500" y="1144391"/>
                  </a:lnTo>
                  <a:lnTo>
                    <a:pt x="1500" y="4761442"/>
                  </a:lnTo>
                  <a:lnTo>
                    <a:pt x="742046" y="4765849"/>
                  </a:lnTo>
                  <a:lnTo>
                    <a:pt x="792912" y="4737762"/>
                  </a:lnTo>
                  <a:cubicBezTo>
                    <a:pt x="793162" y="3531101"/>
                    <a:pt x="793413" y="2324441"/>
                    <a:pt x="793663" y="1117780"/>
                  </a:cubicBezTo>
                  <a:lnTo>
                    <a:pt x="793661" y="1117780"/>
                  </a:lnTo>
                  <a:lnTo>
                    <a:pt x="793661" y="135733"/>
                  </a:lnTo>
                  <a:lnTo>
                    <a:pt x="572937" y="135733"/>
                  </a:lnTo>
                  <a:lnTo>
                    <a:pt x="411618" y="0"/>
                  </a:lnTo>
                  <a:lnTo>
                    <a:pt x="262205" y="135733"/>
                  </a:lnTo>
                  <a:lnTo>
                    <a:pt x="41890" y="134656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32" name="等腰三角形 1164"/>
            <p:cNvSpPr/>
            <p:nvPr/>
          </p:nvSpPr>
          <p:spPr>
            <a:xfrm rot="16200000" flipH="1">
              <a:off x="6169025" y="166626"/>
              <a:ext cx="792746" cy="4798180"/>
            </a:xfrm>
            <a:custGeom>
              <a:avLst/>
              <a:gdLst/>
              <a:ahLst/>
              <a:cxnLst/>
              <a:rect l="l" t="t" r="r" b="b"/>
              <a:pathLst>
                <a:path w="792165" h="4798886">
                  <a:moveTo>
                    <a:pt x="0" y="135733"/>
                  </a:moveTo>
                  <a:lnTo>
                    <a:pt x="0" y="1144391"/>
                  </a:lnTo>
                  <a:lnTo>
                    <a:pt x="2" y="1144391"/>
                  </a:lnTo>
                  <a:lnTo>
                    <a:pt x="2" y="4798886"/>
                  </a:lnTo>
                  <a:lnTo>
                    <a:pt x="792165" y="4798886"/>
                  </a:lnTo>
                  <a:lnTo>
                    <a:pt x="792165" y="1117780"/>
                  </a:lnTo>
                  <a:lnTo>
                    <a:pt x="792163" y="1117780"/>
                  </a:lnTo>
                  <a:lnTo>
                    <a:pt x="792163" y="135733"/>
                  </a:lnTo>
                  <a:lnTo>
                    <a:pt x="571439" y="135733"/>
                  </a:lnTo>
                  <a:lnTo>
                    <a:pt x="410120" y="0"/>
                  </a:lnTo>
                  <a:lnTo>
                    <a:pt x="260707" y="135733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86" name="等腰三角形 1163"/>
            <p:cNvSpPr/>
            <p:nvPr/>
          </p:nvSpPr>
          <p:spPr>
            <a:xfrm rot="16200000" flipH="1">
              <a:off x="6188839" y="228690"/>
              <a:ext cx="729928" cy="4677350"/>
            </a:xfrm>
            <a:custGeom>
              <a:avLst/>
              <a:gdLst/>
              <a:ahLst/>
              <a:cxnLst/>
              <a:rect l="l" t="t" r="r" b="b"/>
              <a:pathLst>
                <a:path w="729928" h="4677350">
                  <a:moveTo>
                    <a:pt x="0" y="126577"/>
                  </a:moveTo>
                  <a:lnTo>
                    <a:pt x="0" y="1006585"/>
                  </a:lnTo>
                  <a:lnTo>
                    <a:pt x="0" y="1045374"/>
                  </a:lnTo>
                  <a:lnTo>
                    <a:pt x="0" y="4677350"/>
                  </a:lnTo>
                  <a:lnTo>
                    <a:pt x="729928" y="4677350"/>
                  </a:lnTo>
                  <a:lnTo>
                    <a:pt x="729928" y="1045374"/>
                  </a:lnTo>
                  <a:lnTo>
                    <a:pt x="729928" y="1006585"/>
                  </a:lnTo>
                  <a:lnTo>
                    <a:pt x="729928" y="126577"/>
                  </a:lnTo>
                  <a:lnTo>
                    <a:pt x="527843" y="126577"/>
                  </a:lnTo>
                  <a:lnTo>
                    <a:pt x="374542" y="0"/>
                  </a:lnTo>
                  <a:lnTo>
                    <a:pt x="234185" y="126577"/>
                  </a:lnTo>
                  <a:close/>
                </a:path>
              </a:pathLst>
            </a:custGeom>
            <a:solidFill>
              <a:srgbClr val="3DA5C1"/>
            </a:solidFill>
            <a:ln w="9525">
              <a:solidFill>
                <a:schemeClr val="bg1"/>
              </a:solidFill>
            </a:ln>
            <a:effectLst>
              <a:innerShdw blurRad="12700">
                <a:prstClr val="black">
                  <a:alpha val="8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8" name="TextBox 3"/>
            <p:cNvSpPr txBox="1">
              <a:spLocks noChangeArrowheads="1"/>
            </p:cNvSpPr>
            <p:nvPr/>
          </p:nvSpPr>
          <p:spPr bwMode="auto">
            <a:xfrm>
              <a:off x="5236097" y="2351675"/>
              <a:ext cx="1677696" cy="339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sp>
          <p:nvSpPr>
            <p:cNvPr id="209" name="矩形 51"/>
            <p:cNvSpPr>
              <a:spLocks noChangeArrowheads="1"/>
            </p:cNvSpPr>
            <p:nvPr/>
          </p:nvSpPr>
          <p:spPr bwMode="auto">
            <a:xfrm>
              <a:off x="5261493" y="2640235"/>
              <a:ext cx="1339618" cy="229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9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1" name="矩形 230"/>
            <p:cNvSpPr/>
            <p:nvPr/>
          </p:nvSpPr>
          <p:spPr>
            <a:xfrm>
              <a:off x="8177224" y="2204224"/>
              <a:ext cx="715839" cy="310757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9238" name="组合 234"/>
            <p:cNvGrpSpPr/>
            <p:nvPr/>
          </p:nvGrpSpPr>
          <p:grpSpPr bwMode="auto">
            <a:xfrm>
              <a:off x="4764451" y="2407584"/>
              <a:ext cx="391102" cy="391102"/>
              <a:chOff x="4262368" y="2395649"/>
              <a:chExt cx="430212" cy="430212"/>
            </a:xfrm>
          </p:grpSpPr>
          <p:sp>
            <p:nvSpPr>
              <p:cNvPr id="9241" name="Freeform 79"/>
              <p:cNvSpPr>
                <a:spLocks noEditPoints="1"/>
              </p:cNvSpPr>
              <p:nvPr/>
            </p:nvSpPr>
            <p:spPr bwMode="auto">
              <a:xfrm>
                <a:off x="4317914" y="2478475"/>
                <a:ext cx="323291" cy="273861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4" name="矩形 233"/>
              <p:cNvSpPr/>
              <p:nvPr/>
            </p:nvSpPr>
            <p:spPr>
              <a:xfrm>
                <a:off x="4262632" y="2395190"/>
                <a:ext cx="429503" cy="430779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36" name="TextBox 235"/>
            <p:cNvSpPr txBox="1"/>
            <p:nvPr/>
          </p:nvSpPr>
          <p:spPr>
            <a:xfrm>
              <a:off x="8186748" y="2218494"/>
              <a:ext cx="777740" cy="33770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NO.1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grpSp>
          <p:nvGrpSpPr>
            <p:cNvPr id="248" name="组合 247"/>
            <p:cNvGrpSpPr/>
            <p:nvPr/>
          </p:nvGrpSpPr>
          <p:grpSpPr>
            <a:xfrm>
              <a:off x="8177160" y="2586373"/>
              <a:ext cx="574464" cy="36952"/>
              <a:chOff x="4157480" y="1795527"/>
              <a:chExt cx="574464" cy="36952"/>
            </a:xfrm>
            <a:solidFill>
              <a:srgbClr val="266678">
                <a:alpha val="43000"/>
              </a:srgbClr>
            </a:solidFill>
          </p:grpSpPr>
          <p:sp>
            <p:nvSpPr>
              <p:cNvPr id="237" name="椭圆 236"/>
              <p:cNvSpPr/>
              <p:nvPr/>
            </p:nvSpPr>
            <p:spPr>
              <a:xfrm>
                <a:off x="415748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15" name="椭圆 214"/>
              <p:cNvSpPr/>
              <p:nvPr/>
            </p:nvSpPr>
            <p:spPr>
              <a:xfrm>
                <a:off x="425521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8" name="椭圆 237"/>
              <p:cNvSpPr/>
              <p:nvPr/>
            </p:nvSpPr>
            <p:spPr>
              <a:xfrm>
                <a:off x="430407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9" name="椭圆 238"/>
              <p:cNvSpPr/>
              <p:nvPr/>
            </p:nvSpPr>
            <p:spPr>
              <a:xfrm>
                <a:off x="420634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0" name="椭圆 239"/>
              <p:cNvSpPr/>
              <p:nvPr/>
            </p:nvSpPr>
            <p:spPr>
              <a:xfrm>
                <a:off x="440180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1" name="椭圆 240"/>
              <p:cNvSpPr/>
              <p:nvPr/>
            </p:nvSpPr>
            <p:spPr>
              <a:xfrm>
                <a:off x="435294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2" name="椭圆 241"/>
              <p:cNvSpPr/>
              <p:nvPr/>
            </p:nvSpPr>
            <p:spPr>
              <a:xfrm>
                <a:off x="449953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3" name="椭圆 242"/>
              <p:cNvSpPr/>
              <p:nvPr/>
            </p:nvSpPr>
            <p:spPr>
              <a:xfrm>
                <a:off x="445067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4" name="椭圆 243"/>
              <p:cNvSpPr/>
              <p:nvPr/>
            </p:nvSpPr>
            <p:spPr>
              <a:xfrm>
                <a:off x="459726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5" name="椭圆 244"/>
              <p:cNvSpPr/>
              <p:nvPr/>
            </p:nvSpPr>
            <p:spPr>
              <a:xfrm>
                <a:off x="454840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6" name="椭圆 245"/>
              <p:cNvSpPr/>
              <p:nvPr/>
            </p:nvSpPr>
            <p:spPr>
              <a:xfrm>
                <a:off x="4694992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7" name="椭圆 246"/>
              <p:cNvSpPr/>
              <p:nvPr/>
            </p:nvSpPr>
            <p:spPr>
              <a:xfrm>
                <a:off x="464613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3" name="组合 2"/>
          <p:cNvGrpSpPr/>
          <p:nvPr/>
        </p:nvGrpSpPr>
        <p:grpSpPr bwMode="auto">
          <a:xfrm>
            <a:off x="179388" y="1930400"/>
            <a:ext cx="1870075" cy="1562100"/>
            <a:chOff x="325535" y="1930204"/>
            <a:chExt cx="1870201" cy="1562295"/>
          </a:xfrm>
        </p:grpSpPr>
        <p:sp>
          <p:nvSpPr>
            <p:cNvPr id="258" name="矩形 257"/>
            <p:cNvSpPr/>
            <p:nvPr/>
          </p:nvSpPr>
          <p:spPr>
            <a:xfrm>
              <a:off x="638293" y="1931792"/>
              <a:ext cx="1557443" cy="1560707"/>
            </a:xfrm>
            <a:custGeom>
              <a:avLst/>
              <a:gdLst>
                <a:gd name="connsiteX0" fmla="*/ 129431 w 1564892"/>
                <a:gd name="connsiteY0" fmla="*/ 0 h 1563674"/>
                <a:gd name="connsiteX1" fmla="*/ 1562510 w 1564892"/>
                <a:gd name="connsiteY1" fmla="*/ 3034 h 1563674"/>
                <a:gd name="connsiteX2" fmla="*/ 1564892 w 1564892"/>
                <a:gd name="connsiteY2" fmla="*/ 1432510 h 1563674"/>
                <a:gd name="connsiteX3" fmla="*/ 1482392 w 1564892"/>
                <a:gd name="connsiteY3" fmla="*/ 1563674 h 1563674"/>
                <a:gd name="connsiteX4" fmla="*/ 1870 w 1564892"/>
                <a:gd name="connsiteY4" fmla="*/ 1563674 h 1563674"/>
                <a:gd name="connsiteX5" fmla="*/ 0 w 1564892"/>
                <a:gd name="connsiteY5" fmla="*/ 93158 h 1563674"/>
                <a:gd name="connsiteX6" fmla="*/ 129431 w 1564892"/>
                <a:gd name="connsiteY6" fmla="*/ 0 h 1563674"/>
                <a:gd name="connsiteX0-1" fmla="*/ 129431 w 1562510"/>
                <a:gd name="connsiteY0-2" fmla="*/ 0 h 1563674"/>
                <a:gd name="connsiteX1-3" fmla="*/ 1562510 w 1562510"/>
                <a:gd name="connsiteY1-4" fmla="*/ 3034 h 1563674"/>
                <a:gd name="connsiteX2-5" fmla="*/ 1557748 w 1562510"/>
                <a:gd name="connsiteY2-6" fmla="*/ 1434891 h 1563674"/>
                <a:gd name="connsiteX3-7" fmla="*/ 1482392 w 1562510"/>
                <a:gd name="connsiteY3-8" fmla="*/ 1563674 h 1563674"/>
                <a:gd name="connsiteX4-9" fmla="*/ 1870 w 1562510"/>
                <a:gd name="connsiteY4-10" fmla="*/ 1563674 h 1563674"/>
                <a:gd name="connsiteX5-11" fmla="*/ 0 w 1562510"/>
                <a:gd name="connsiteY5-12" fmla="*/ 93158 h 1563674"/>
                <a:gd name="connsiteX6-13" fmla="*/ 129431 w 1562510"/>
                <a:gd name="connsiteY6-14" fmla="*/ 0 h 1563674"/>
                <a:gd name="connsiteX0-15" fmla="*/ 129431 w 1558206"/>
                <a:gd name="connsiteY0-16" fmla="*/ 0 h 1563674"/>
                <a:gd name="connsiteX1-17" fmla="*/ 1557747 w 1558206"/>
                <a:gd name="connsiteY1-18" fmla="*/ 5415 h 1563674"/>
                <a:gd name="connsiteX2-19" fmla="*/ 1557748 w 1558206"/>
                <a:gd name="connsiteY2-20" fmla="*/ 1434891 h 1563674"/>
                <a:gd name="connsiteX3-21" fmla="*/ 1482392 w 1558206"/>
                <a:gd name="connsiteY3-22" fmla="*/ 1563674 h 1563674"/>
                <a:gd name="connsiteX4-23" fmla="*/ 1870 w 1558206"/>
                <a:gd name="connsiteY4-24" fmla="*/ 1563674 h 1563674"/>
                <a:gd name="connsiteX5-25" fmla="*/ 0 w 1558206"/>
                <a:gd name="connsiteY5-26" fmla="*/ 93158 h 1563674"/>
                <a:gd name="connsiteX6-27" fmla="*/ 129431 w 1558206"/>
                <a:gd name="connsiteY6-28" fmla="*/ 0 h 1563674"/>
                <a:gd name="connsiteX0-29" fmla="*/ 129431 w 1558206"/>
                <a:gd name="connsiteY0-30" fmla="*/ 0 h 1561293"/>
                <a:gd name="connsiteX1-31" fmla="*/ 1557747 w 1558206"/>
                <a:gd name="connsiteY1-32" fmla="*/ 3034 h 1561293"/>
                <a:gd name="connsiteX2-33" fmla="*/ 1557748 w 1558206"/>
                <a:gd name="connsiteY2-34" fmla="*/ 1432510 h 1561293"/>
                <a:gd name="connsiteX3-35" fmla="*/ 1482392 w 1558206"/>
                <a:gd name="connsiteY3-36" fmla="*/ 1561293 h 1561293"/>
                <a:gd name="connsiteX4-37" fmla="*/ 1870 w 1558206"/>
                <a:gd name="connsiteY4-38" fmla="*/ 1561293 h 1561293"/>
                <a:gd name="connsiteX5-39" fmla="*/ 0 w 1558206"/>
                <a:gd name="connsiteY5-40" fmla="*/ 90777 h 1561293"/>
                <a:gd name="connsiteX6-41" fmla="*/ 129431 w 1558206"/>
                <a:gd name="connsiteY6-42" fmla="*/ 0 h 156129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1558206" h="1561293">
                  <a:moveTo>
                    <a:pt x="129431" y="0"/>
                  </a:moveTo>
                  <a:lnTo>
                    <a:pt x="1557747" y="3034"/>
                  </a:lnTo>
                  <a:cubicBezTo>
                    <a:pt x="1556160" y="480320"/>
                    <a:pt x="1559335" y="955224"/>
                    <a:pt x="1557748" y="1432510"/>
                  </a:cubicBezTo>
                  <a:lnTo>
                    <a:pt x="1482392" y="1561293"/>
                  </a:lnTo>
                  <a:lnTo>
                    <a:pt x="1870" y="1561293"/>
                  </a:lnTo>
                  <a:cubicBezTo>
                    <a:pt x="1247" y="1071121"/>
                    <a:pt x="623" y="580949"/>
                    <a:pt x="0" y="90777"/>
                  </a:cubicBezTo>
                  <a:lnTo>
                    <a:pt x="129431" y="0"/>
                  </a:lnTo>
                  <a:close/>
                </a:path>
              </a:pathLst>
            </a:custGeom>
            <a:solidFill>
              <a:srgbClr val="26667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250" name="矩形 249"/>
            <p:cNvSpPr/>
            <p:nvPr/>
          </p:nvSpPr>
          <p:spPr>
            <a:xfrm>
              <a:off x="762126" y="1930204"/>
              <a:ext cx="1433610" cy="143369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51" name="TextBox 250"/>
            <p:cNvSpPr txBox="1"/>
            <p:nvPr/>
          </p:nvSpPr>
          <p:spPr bwMode="auto">
            <a:xfrm>
              <a:off x="749426" y="2120728"/>
              <a:ext cx="1408208" cy="6461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600" b="1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经典繁超宋" pitchFamily="49" charset="-122"/>
                </a:rPr>
                <a:t>目录</a:t>
              </a:r>
              <a:endParaRPr lang="zh-CN" altLang="en-US" sz="3600" b="1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繁超宋" pitchFamily="49" charset="-122"/>
              </a:endParaRPr>
            </a:p>
          </p:txBody>
        </p:sp>
        <p:sp>
          <p:nvSpPr>
            <p:cNvPr id="252" name="TextBox 179"/>
            <p:cNvSpPr txBox="1">
              <a:spLocks noChangeArrowheads="1"/>
            </p:cNvSpPr>
            <p:nvPr/>
          </p:nvSpPr>
          <p:spPr bwMode="auto">
            <a:xfrm>
              <a:off x="325535" y="2736755"/>
              <a:ext cx="1779707" cy="339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   CONTENTS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4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4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4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5"/>
          <p:cNvSpPr/>
          <p:nvPr/>
        </p:nvSpPr>
        <p:spPr bwMode="auto">
          <a:xfrm>
            <a:off x="684213" y="3048000"/>
            <a:ext cx="7935912" cy="1382713"/>
          </a:xfrm>
          <a:prstGeom prst="homePlate">
            <a:avLst/>
          </a:prstGeom>
          <a:solidFill>
            <a:srgbClr val="32879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" name="Straight Arrow Connector 7"/>
          <p:cNvCxnSpPr/>
          <p:nvPr/>
        </p:nvCxnSpPr>
        <p:spPr>
          <a:xfrm>
            <a:off x="2417763" y="2041525"/>
            <a:ext cx="900112" cy="0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0"/>
          <p:cNvCxnSpPr/>
          <p:nvPr/>
        </p:nvCxnSpPr>
        <p:spPr>
          <a:xfrm flipH="1">
            <a:off x="1633538" y="2706688"/>
            <a:ext cx="11112" cy="633412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2"/>
          <p:cNvCxnSpPr/>
          <p:nvPr/>
        </p:nvCxnSpPr>
        <p:spPr>
          <a:xfrm flipH="1">
            <a:off x="4121150" y="2706688"/>
            <a:ext cx="11113" cy="633412"/>
          </a:xfrm>
          <a:prstGeom prst="straightConnector1">
            <a:avLst/>
          </a:prstGeom>
          <a:ln w="28575">
            <a:solidFill>
              <a:srgbClr val="266678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3"/>
          <p:cNvCxnSpPr/>
          <p:nvPr/>
        </p:nvCxnSpPr>
        <p:spPr>
          <a:xfrm flipH="1">
            <a:off x="6551613" y="2700338"/>
            <a:ext cx="11112" cy="631825"/>
          </a:xfrm>
          <a:prstGeom prst="straightConnector1">
            <a:avLst/>
          </a:prstGeom>
          <a:ln w="28575">
            <a:solidFill>
              <a:srgbClr val="266678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/>
          <p:cNvSpPr/>
          <p:nvPr/>
        </p:nvSpPr>
        <p:spPr>
          <a:xfrm>
            <a:off x="3589338" y="3308350"/>
            <a:ext cx="1108075" cy="3698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6002338" y="3308350"/>
            <a:ext cx="1108075" cy="3698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3548063" y="3689350"/>
            <a:ext cx="1679575" cy="711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5989638" y="3689350"/>
            <a:ext cx="1677987" cy="711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7659" name="组合 3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41" name="矩形 40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7736" name="组合 42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44" name="矩形 43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738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739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88" name="组合 87"/>
          <p:cNvGrpSpPr/>
          <p:nvPr/>
        </p:nvGrpSpPr>
        <p:grpSpPr bwMode="auto">
          <a:xfrm>
            <a:off x="5741988" y="3348038"/>
            <a:ext cx="288925" cy="287337"/>
            <a:chOff x="7129657" y="-1531645"/>
            <a:chExt cx="564454" cy="561216"/>
          </a:xfrm>
        </p:grpSpPr>
        <p:sp>
          <p:nvSpPr>
            <p:cNvPr id="89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25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6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7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8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9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0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1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7" name="Freeform 128"/>
            <p:cNvSpPr/>
            <p:nvPr/>
          </p:nvSpPr>
          <p:spPr bwMode="auto">
            <a:xfrm>
              <a:off x="7315741" y="-1249487"/>
              <a:ext cx="189184" cy="930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33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99" name="组合 98"/>
          <p:cNvGrpSpPr/>
          <p:nvPr/>
        </p:nvGrpSpPr>
        <p:grpSpPr bwMode="auto">
          <a:xfrm>
            <a:off x="3336925" y="3348038"/>
            <a:ext cx="288925" cy="287337"/>
            <a:chOff x="7129657" y="-1531645"/>
            <a:chExt cx="564454" cy="561216"/>
          </a:xfrm>
        </p:grpSpPr>
        <p:sp>
          <p:nvSpPr>
            <p:cNvPr id="100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13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4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5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6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7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8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9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8" name="Freeform 128"/>
            <p:cNvSpPr/>
            <p:nvPr/>
          </p:nvSpPr>
          <p:spPr bwMode="auto">
            <a:xfrm>
              <a:off x="7315741" y="-1249487"/>
              <a:ext cx="189186" cy="930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21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3" name="矩形 32"/>
          <p:cNvSpPr/>
          <p:nvPr/>
        </p:nvSpPr>
        <p:spPr>
          <a:xfrm>
            <a:off x="1123950" y="3308350"/>
            <a:ext cx="1108075" cy="3698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1144588" y="3689350"/>
            <a:ext cx="1679575" cy="711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0" name="组合 109"/>
          <p:cNvGrpSpPr/>
          <p:nvPr/>
        </p:nvGrpSpPr>
        <p:grpSpPr bwMode="auto">
          <a:xfrm>
            <a:off x="892175" y="3348038"/>
            <a:ext cx="288925" cy="287337"/>
            <a:chOff x="7129657" y="-1531645"/>
            <a:chExt cx="564454" cy="561216"/>
          </a:xfrm>
        </p:grpSpPr>
        <p:sp>
          <p:nvSpPr>
            <p:cNvPr id="111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01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2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3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4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5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6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7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9" name="Freeform 128"/>
            <p:cNvSpPr/>
            <p:nvPr/>
          </p:nvSpPr>
          <p:spPr bwMode="auto">
            <a:xfrm>
              <a:off x="7315741" y="-1249487"/>
              <a:ext cx="189186" cy="930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09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" name="组合 1"/>
          <p:cNvGrpSpPr/>
          <p:nvPr/>
        </p:nvGrpSpPr>
        <p:grpSpPr bwMode="auto">
          <a:xfrm>
            <a:off x="1049338" y="1189038"/>
            <a:ext cx="1263650" cy="1511300"/>
            <a:chOff x="1049307" y="1189646"/>
            <a:chExt cx="1264397" cy="1509923"/>
          </a:xfrm>
        </p:grpSpPr>
        <p:sp>
          <p:nvSpPr>
            <p:cNvPr id="24" name="矩形 23"/>
            <p:cNvSpPr/>
            <p:nvPr/>
          </p:nvSpPr>
          <p:spPr>
            <a:xfrm>
              <a:off x="1049307" y="1189646"/>
              <a:ext cx="1264397" cy="150992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0" name="矩形 29"/>
            <p:cNvSpPr/>
            <p:nvPr/>
          </p:nvSpPr>
          <p:spPr>
            <a:xfrm>
              <a:off x="1123963" y="1261018"/>
              <a:ext cx="1107142" cy="36955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7692" name="组合 138"/>
            <p:cNvGrpSpPr/>
            <p:nvPr/>
          </p:nvGrpSpPr>
          <p:grpSpPr bwMode="auto">
            <a:xfrm>
              <a:off x="1230258" y="1691560"/>
              <a:ext cx="902495" cy="903053"/>
              <a:chOff x="5300663" y="-2973388"/>
              <a:chExt cx="2574925" cy="2576513"/>
            </a:xfrm>
          </p:grpSpPr>
          <p:sp>
            <p:nvSpPr>
              <p:cNvPr id="4" name="Freeform 6"/>
              <p:cNvSpPr/>
              <p:nvPr/>
            </p:nvSpPr>
            <p:spPr bwMode="auto">
              <a:xfrm>
                <a:off x="5301037" y="-2975446"/>
                <a:ext cx="2574177" cy="2579358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694" name="Freeform 7"/>
              <p:cNvSpPr/>
              <p:nvPr/>
            </p:nvSpPr>
            <p:spPr bwMode="auto">
              <a:xfrm>
                <a:off x="5741988" y="-2387600"/>
                <a:ext cx="2133600" cy="1990725"/>
              </a:xfrm>
              <a:custGeom>
                <a:avLst/>
                <a:gdLst>
                  <a:gd name="T0" fmla="*/ 2147483646 w 569"/>
                  <a:gd name="T1" fmla="*/ 2147483646 h 531"/>
                  <a:gd name="T2" fmla="*/ 2147483646 w 569"/>
                  <a:gd name="T3" fmla="*/ 2147483646 h 531"/>
                  <a:gd name="T4" fmla="*/ 2147483646 w 569"/>
                  <a:gd name="T5" fmla="*/ 2147483646 h 531"/>
                  <a:gd name="T6" fmla="*/ 2147483646 w 569"/>
                  <a:gd name="T7" fmla="*/ 2147483646 h 531"/>
                  <a:gd name="T8" fmla="*/ 2147483646 w 569"/>
                  <a:gd name="T9" fmla="*/ 2147483646 h 531"/>
                  <a:gd name="T10" fmla="*/ 2147483646 w 569"/>
                  <a:gd name="T11" fmla="*/ 2147483646 h 531"/>
                  <a:gd name="T12" fmla="*/ 2147483646 w 569"/>
                  <a:gd name="T13" fmla="*/ 2147483646 h 531"/>
                  <a:gd name="T14" fmla="*/ 2147483646 w 569"/>
                  <a:gd name="T15" fmla="*/ 2147483646 h 531"/>
                  <a:gd name="T16" fmla="*/ 2147483646 w 569"/>
                  <a:gd name="T17" fmla="*/ 2147483646 h 531"/>
                  <a:gd name="T18" fmla="*/ 2147483646 w 569"/>
                  <a:gd name="T19" fmla="*/ 2147483646 h 531"/>
                  <a:gd name="T20" fmla="*/ 2147483646 w 569"/>
                  <a:gd name="T21" fmla="*/ 2147483646 h 531"/>
                  <a:gd name="T22" fmla="*/ 2147483646 w 569"/>
                  <a:gd name="T23" fmla="*/ 2147483646 h 531"/>
                  <a:gd name="T24" fmla="*/ 2147483646 w 569"/>
                  <a:gd name="T25" fmla="*/ 2147483646 h 531"/>
                  <a:gd name="T26" fmla="*/ 2147483646 w 569"/>
                  <a:gd name="T27" fmla="*/ 2147483646 h 531"/>
                  <a:gd name="T28" fmla="*/ 2147483646 w 569"/>
                  <a:gd name="T29" fmla="*/ 2147483646 h 531"/>
                  <a:gd name="T30" fmla="*/ 2147483646 w 569"/>
                  <a:gd name="T31" fmla="*/ 2147483646 h 53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69" h="531">
                    <a:moveTo>
                      <a:pt x="569" y="469"/>
                    </a:moveTo>
                    <a:cubicBezTo>
                      <a:pt x="569" y="220"/>
                      <a:pt x="569" y="220"/>
                      <a:pt x="569" y="220"/>
                    </a:cubicBezTo>
                    <a:cubicBezTo>
                      <a:pt x="352" y="3"/>
                      <a:pt x="352" y="3"/>
                      <a:pt x="352" y="3"/>
                    </a:cubicBezTo>
                    <a:cubicBezTo>
                      <a:pt x="335" y="20"/>
                      <a:pt x="335" y="20"/>
                      <a:pt x="335" y="20"/>
                    </a:cubicBezTo>
                    <a:cubicBezTo>
                      <a:pt x="321" y="9"/>
                      <a:pt x="299" y="0"/>
                      <a:pt x="261" y="2"/>
                    </a:cubicBezTo>
                    <a:cubicBezTo>
                      <a:pt x="170" y="6"/>
                      <a:pt x="116" y="7"/>
                      <a:pt x="116" y="7"/>
                    </a:cubicBezTo>
                    <a:cubicBezTo>
                      <a:pt x="102" y="55"/>
                      <a:pt x="102" y="55"/>
                      <a:pt x="102" y="55"/>
                    </a:cubicBezTo>
                    <a:cubicBezTo>
                      <a:pt x="88" y="52"/>
                      <a:pt x="88" y="52"/>
                      <a:pt x="88" y="52"/>
                    </a:cubicBezTo>
                    <a:cubicBezTo>
                      <a:pt x="88" y="52"/>
                      <a:pt x="57" y="93"/>
                      <a:pt x="51" y="122"/>
                    </a:cubicBezTo>
                    <a:cubicBezTo>
                      <a:pt x="45" y="151"/>
                      <a:pt x="57" y="226"/>
                      <a:pt x="57" y="226"/>
                    </a:cubicBezTo>
                    <a:cubicBezTo>
                      <a:pt x="57" y="226"/>
                      <a:pt x="36" y="255"/>
                      <a:pt x="27" y="273"/>
                    </a:cubicBezTo>
                    <a:cubicBezTo>
                      <a:pt x="21" y="286"/>
                      <a:pt x="0" y="341"/>
                      <a:pt x="14" y="380"/>
                    </a:cubicBezTo>
                    <a:cubicBezTo>
                      <a:pt x="9" y="385"/>
                      <a:pt x="9" y="385"/>
                      <a:pt x="9" y="385"/>
                    </a:cubicBezTo>
                    <a:cubicBezTo>
                      <a:pt x="155" y="531"/>
                      <a:pt x="155" y="531"/>
                      <a:pt x="155" y="531"/>
                    </a:cubicBezTo>
                    <a:cubicBezTo>
                      <a:pt x="507" y="531"/>
                      <a:pt x="507" y="531"/>
                      <a:pt x="507" y="531"/>
                    </a:cubicBezTo>
                    <a:cubicBezTo>
                      <a:pt x="541" y="531"/>
                      <a:pt x="569" y="503"/>
                      <a:pt x="569" y="469"/>
                    </a:cubicBez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95" name="Freeform 8"/>
              <p:cNvSpPr>
                <a:spLocks noEditPoints="1"/>
              </p:cNvSpPr>
              <p:nvPr/>
            </p:nvSpPr>
            <p:spPr bwMode="auto">
              <a:xfrm>
                <a:off x="6094413" y="-2411413"/>
                <a:ext cx="1023938" cy="1628775"/>
              </a:xfrm>
              <a:custGeom>
                <a:avLst/>
                <a:gdLst>
                  <a:gd name="T0" fmla="*/ 2147483646 w 273"/>
                  <a:gd name="T1" fmla="*/ 0 h 434"/>
                  <a:gd name="T2" fmla="*/ 2147483646 w 273"/>
                  <a:gd name="T3" fmla="*/ 0 h 434"/>
                  <a:gd name="T4" fmla="*/ 0 w 273"/>
                  <a:gd name="T5" fmla="*/ 2147483646 h 434"/>
                  <a:gd name="T6" fmla="*/ 0 w 273"/>
                  <a:gd name="T7" fmla="*/ 2147483646 h 434"/>
                  <a:gd name="T8" fmla="*/ 2147483646 w 273"/>
                  <a:gd name="T9" fmla="*/ 2147483646 h 434"/>
                  <a:gd name="T10" fmla="*/ 2147483646 w 273"/>
                  <a:gd name="T11" fmla="*/ 2147483646 h 434"/>
                  <a:gd name="T12" fmla="*/ 2147483646 w 273"/>
                  <a:gd name="T13" fmla="*/ 2147483646 h 434"/>
                  <a:gd name="T14" fmla="*/ 2147483646 w 273"/>
                  <a:gd name="T15" fmla="*/ 2147483646 h 434"/>
                  <a:gd name="T16" fmla="*/ 2147483646 w 273"/>
                  <a:gd name="T17" fmla="*/ 0 h 434"/>
                  <a:gd name="T18" fmla="*/ 2147483646 w 273"/>
                  <a:gd name="T19" fmla="*/ 2147483646 h 434"/>
                  <a:gd name="T20" fmla="*/ 2147483646 w 273"/>
                  <a:gd name="T21" fmla="*/ 2147483646 h 434"/>
                  <a:gd name="T22" fmla="*/ 2147483646 w 273"/>
                  <a:gd name="T23" fmla="*/ 2147483646 h 434"/>
                  <a:gd name="T24" fmla="*/ 2147483646 w 273"/>
                  <a:gd name="T25" fmla="*/ 2147483646 h 434"/>
                  <a:gd name="T26" fmla="*/ 2147483646 w 273"/>
                  <a:gd name="T27" fmla="*/ 2147483646 h 434"/>
                  <a:gd name="T28" fmla="*/ 2147483646 w 273"/>
                  <a:gd name="T29" fmla="*/ 2147483646 h 434"/>
                  <a:gd name="T30" fmla="*/ 2147483646 w 273"/>
                  <a:gd name="T31" fmla="*/ 2147483646 h 434"/>
                  <a:gd name="T32" fmla="*/ 2147483646 w 273"/>
                  <a:gd name="T33" fmla="*/ 2147483646 h 434"/>
                  <a:gd name="T34" fmla="*/ 2147483646 w 273"/>
                  <a:gd name="T35" fmla="*/ 2147483646 h 4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73" h="434">
                    <a:moveTo>
                      <a:pt x="240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01"/>
                      <a:pt x="0" y="401"/>
                      <a:pt x="0" y="401"/>
                    </a:cubicBezTo>
                    <a:cubicBezTo>
                      <a:pt x="0" y="419"/>
                      <a:pt x="15" y="434"/>
                      <a:pt x="33" y="434"/>
                    </a:cubicBezTo>
                    <a:cubicBezTo>
                      <a:pt x="240" y="434"/>
                      <a:pt x="240" y="434"/>
                      <a:pt x="240" y="434"/>
                    </a:cubicBezTo>
                    <a:cubicBezTo>
                      <a:pt x="258" y="434"/>
                      <a:pt x="273" y="419"/>
                      <a:pt x="273" y="401"/>
                    </a:cubicBezTo>
                    <a:cubicBezTo>
                      <a:pt x="273" y="32"/>
                      <a:pt x="273" y="32"/>
                      <a:pt x="273" y="32"/>
                    </a:cubicBezTo>
                    <a:cubicBezTo>
                      <a:pt x="273" y="14"/>
                      <a:pt x="258" y="0"/>
                      <a:pt x="240" y="0"/>
                    </a:cubicBezTo>
                    <a:close/>
                    <a:moveTo>
                      <a:pt x="242" y="189"/>
                    </a:moveTo>
                    <a:cubicBezTo>
                      <a:pt x="242" y="207"/>
                      <a:pt x="227" y="222"/>
                      <a:pt x="210" y="222"/>
                    </a:cubicBezTo>
                    <a:cubicBezTo>
                      <a:pt x="68" y="222"/>
                      <a:pt x="68" y="222"/>
                      <a:pt x="68" y="222"/>
                    </a:cubicBezTo>
                    <a:cubicBezTo>
                      <a:pt x="51" y="222"/>
                      <a:pt x="36" y="207"/>
                      <a:pt x="36" y="189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36" y="35"/>
                      <a:pt x="51" y="20"/>
                      <a:pt x="68" y="20"/>
                    </a:cubicBezTo>
                    <a:cubicBezTo>
                      <a:pt x="210" y="20"/>
                      <a:pt x="210" y="20"/>
                      <a:pt x="210" y="20"/>
                    </a:cubicBezTo>
                    <a:cubicBezTo>
                      <a:pt x="227" y="20"/>
                      <a:pt x="242" y="35"/>
                      <a:pt x="242" y="53"/>
                    </a:cubicBezTo>
                    <a:lnTo>
                      <a:pt x="242" y="1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96" name="Freeform 9"/>
              <p:cNvSpPr>
                <a:spLocks noEditPoints="1"/>
              </p:cNvSpPr>
              <p:nvPr/>
            </p:nvSpPr>
            <p:spPr bwMode="auto">
              <a:xfrm>
                <a:off x="5754688" y="-2224088"/>
                <a:ext cx="358775" cy="1370013"/>
              </a:xfrm>
              <a:custGeom>
                <a:avLst/>
                <a:gdLst>
                  <a:gd name="T0" fmla="*/ 2147483646 w 96"/>
                  <a:gd name="T1" fmla="*/ 2147483646 h 365"/>
                  <a:gd name="T2" fmla="*/ 2147483646 w 96"/>
                  <a:gd name="T3" fmla="*/ 2147483646 h 365"/>
                  <a:gd name="T4" fmla="*/ 2147483646 w 96"/>
                  <a:gd name="T5" fmla="*/ 2147483646 h 365"/>
                  <a:gd name="T6" fmla="*/ 2147483646 w 96"/>
                  <a:gd name="T7" fmla="*/ 2147483646 h 365"/>
                  <a:gd name="T8" fmla="*/ 2147483646 w 96"/>
                  <a:gd name="T9" fmla="*/ 2147483646 h 365"/>
                  <a:gd name="T10" fmla="*/ 2147483646 w 96"/>
                  <a:gd name="T11" fmla="*/ 2147483646 h 365"/>
                  <a:gd name="T12" fmla="*/ 2147483646 w 96"/>
                  <a:gd name="T13" fmla="*/ 2147483646 h 365"/>
                  <a:gd name="T14" fmla="*/ 0 w 96"/>
                  <a:gd name="T15" fmla="*/ 2147483646 h 365"/>
                  <a:gd name="T16" fmla="*/ 2147483646 w 96"/>
                  <a:gd name="T17" fmla="*/ 2147483646 h 365"/>
                  <a:gd name="T18" fmla="*/ 2147483646 w 96"/>
                  <a:gd name="T19" fmla="*/ 2147483646 h 365"/>
                  <a:gd name="T20" fmla="*/ 2147483646 w 96"/>
                  <a:gd name="T21" fmla="*/ 2147483646 h 365"/>
                  <a:gd name="T22" fmla="*/ 2147483646 w 96"/>
                  <a:gd name="T23" fmla="*/ 2147483646 h 365"/>
                  <a:gd name="T24" fmla="*/ 2147483646 w 96"/>
                  <a:gd name="T25" fmla="*/ 2147483646 h 365"/>
                  <a:gd name="T26" fmla="*/ 2147483646 w 96"/>
                  <a:gd name="T27" fmla="*/ 2147483646 h 365"/>
                  <a:gd name="T28" fmla="*/ 2147483646 w 96"/>
                  <a:gd name="T29" fmla="*/ 2147483646 h 365"/>
                  <a:gd name="T30" fmla="*/ 2147483646 w 96"/>
                  <a:gd name="T31" fmla="*/ 2147483646 h 365"/>
                  <a:gd name="T32" fmla="*/ 2147483646 w 96"/>
                  <a:gd name="T33" fmla="*/ 2147483646 h 365"/>
                  <a:gd name="T34" fmla="*/ 2147483646 w 96"/>
                  <a:gd name="T35" fmla="*/ 2147483646 h 365"/>
                  <a:gd name="T36" fmla="*/ 2147483646 w 96"/>
                  <a:gd name="T37" fmla="*/ 2147483646 h 365"/>
                  <a:gd name="T38" fmla="*/ 2147483646 w 96"/>
                  <a:gd name="T39" fmla="*/ 2147483646 h 365"/>
                  <a:gd name="T40" fmla="*/ 2147483646 w 96"/>
                  <a:gd name="T41" fmla="*/ 2147483646 h 365"/>
                  <a:gd name="T42" fmla="*/ 2147483646 w 96"/>
                  <a:gd name="T43" fmla="*/ 2147483646 h 365"/>
                  <a:gd name="T44" fmla="*/ 2147483646 w 96"/>
                  <a:gd name="T45" fmla="*/ 2147483646 h 365"/>
                  <a:gd name="T46" fmla="*/ 2147483646 w 96"/>
                  <a:gd name="T47" fmla="*/ 2147483646 h 365"/>
                  <a:gd name="T48" fmla="*/ 2147483646 w 96"/>
                  <a:gd name="T49" fmla="*/ 2147483646 h 365"/>
                  <a:gd name="T50" fmla="*/ 2147483646 w 96"/>
                  <a:gd name="T51" fmla="*/ 2147483646 h 365"/>
                  <a:gd name="T52" fmla="*/ 2147483646 w 96"/>
                  <a:gd name="T53" fmla="*/ 2147483646 h 365"/>
                  <a:gd name="T54" fmla="*/ 2147483646 w 96"/>
                  <a:gd name="T55" fmla="*/ 2147483646 h 365"/>
                  <a:gd name="T56" fmla="*/ 2147483646 w 96"/>
                  <a:gd name="T57" fmla="*/ 2147483646 h 365"/>
                  <a:gd name="T58" fmla="*/ 2147483646 w 96"/>
                  <a:gd name="T59" fmla="*/ 2147483646 h 365"/>
                  <a:gd name="T60" fmla="*/ 2147483646 w 96"/>
                  <a:gd name="T61" fmla="*/ 2147483646 h 365"/>
                  <a:gd name="T62" fmla="*/ 2147483646 w 96"/>
                  <a:gd name="T63" fmla="*/ 0 h 365"/>
                  <a:gd name="T64" fmla="*/ 2147483646 w 96"/>
                  <a:gd name="T65" fmla="*/ 2147483646 h 365"/>
                  <a:gd name="T66" fmla="*/ 2147483646 w 96"/>
                  <a:gd name="T67" fmla="*/ 2147483646 h 365"/>
                  <a:gd name="T68" fmla="*/ 2147483646 w 96"/>
                  <a:gd name="T69" fmla="*/ 2147483646 h 365"/>
                  <a:gd name="T70" fmla="*/ 2147483646 w 96"/>
                  <a:gd name="T71" fmla="*/ 2147483646 h 365"/>
                  <a:gd name="T72" fmla="*/ 2147483646 w 96"/>
                  <a:gd name="T73" fmla="*/ 2147483646 h 365"/>
                  <a:gd name="T74" fmla="*/ 2147483646 w 96"/>
                  <a:gd name="T75" fmla="*/ 2147483646 h 365"/>
                  <a:gd name="T76" fmla="*/ 2147483646 w 96"/>
                  <a:gd name="T77" fmla="*/ 2147483646 h 365"/>
                  <a:gd name="T78" fmla="*/ 2147483646 w 96"/>
                  <a:gd name="T79" fmla="*/ 2147483646 h 365"/>
                  <a:gd name="T80" fmla="*/ 2147483646 w 96"/>
                  <a:gd name="T81" fmla="*/ 2147483646 h 365"/>
                  <a:gd name="T82" fmla="*/ 2147483646 w 96"/>
                  <a:gd name="T83" fmla="*/ 2147483646 h 365"/>
                  <a:gd name="T84" fmla="*/ 2147483646 w 96"/>
                  <a:gd name="T85" fmla="*/ 2147483646 h 365"/>
                  <a:gd name="T86" fmla="*/ 2147483646 w 96"/>
                  <a:gd name="T87" fmla="*/ 2147483646 h 365"/>
                  <a:gd name="T88" fmla="*/ 2147483646 w 96"/>
                  <a:gd name="T89" fmla="*/ 2147483646 h 365"/>
                  <a:gd name="T90" fmla="*/ 2147483646 w 96"/>
                  <a:gd name="T91" fmla="*/ 2147483646 h 365"/>
                  <a:gd name="T92" fmla="*/ 2147483646 w 96"/>
                  <a:gd name="T93" fmla="*/ 2147483646 h 365"/>
                  <a:gd name="T94" fmla="*/ 2147483646 w 96"/>
                  <a:gd name="T95" fmla="*/ 2147483646 h 365"/>
                  <a:gd name="T96" fmla="*/ 2147483646 w 96"/>
                  <a:gd name="T97" fmla="*/ 2147483646 h 365"/>
                  <a:gd name="T98" fmla="*/ 2147483646 w 96"/>
                  <a:gd name="T99" fmla="*/ 2147483646 h 365"/>
                  <a:gd name="T100" fmla="*/ 2147483646 w 96"/>
                  <a:gd name="T101" fmla="*/ 2147483646 h 365"/>
                  <a:gd name="T102" fmla="*/ 2147483646 w 96"/>
                  <a:gd name="T103" fmla="*/ 2147483646 h 365"/>
                  <a:gd name="T104" fmla="*/ 2147483646 w 96"/>
                  <a:gd name="T105" fmla="*/ 2147483646 h 36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96" h="365">
                    <a:moveTo>
                      <a:pt x="40" y="110"/>
                    </a:moveTo>
                    <a:cubicBezTo>
                      <a:pt x="40" y="117"/>
                      <a:pt x="40" y="117"/>
                      <a:pt x="40" y="117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0" y="123"/>
                      <a:pt x="40" y="123"/>
                      <a:pt x="40" y="123"/>
                    </a:cubicBezTo>
                    <a:cubicBezTo>
                      <a:pt x="40" y="136"/>
                      <a:pt x="44" y="158"/>
                      <a:pt x="48" y="181"/>
                    </a:cubicBezTo>
                    <a:cubicBezTo>
                      <a:pt x="49" y="182"/>
                      <a:pt x="49" y="182"/>
                      <a:pt x="49" y="182"/>
                    </a:cubicBezTo>
                    <a:cubicBezTo>
                      <a:pt x="48" y="183"/>
                      <a:pt x="48" y="183"/>
                      <a:pt x="48" y="183"/>
                    </a:cubicBezTo>
                    <a:cubicBezTo>
                      <a:pt x="19" y="223"/>
                      <a:pt x="0" y="274"/>
                      <a:pt x="0" y="311"/>
                    </a:cubicBezTo>
                    <a:cubicBezTo>
                      <a:pt x="1" y="323"/>
                      <a:pt x="1" y="323"/>
                      <a:pt x="1" y="323"/>
                    </a:cubicBezTo>
                    <a:cubicBezTo>
                      <a:pt x="4" y="346"/>
                      <a:pt x="15" y="359"/>
                      <a:pt x="35" y="363"/>
                    </a:cubicBezTo>
                    <a:cubicBezTo>
                      <a:pt x="46" y="365"/>
                      <a:pt x="55" y="363"/>
                      <a:pt x="61" y="356"/>
                    </a:cubicBezTo>
                    <a:cubicBezTo>
                      <a:pt x="70" y="347"/>
                      <a:pt x="75" y="331"/>
                      <a:pt x="75" y="306"/>
                    </a:cubicBezTo>
                    <a:cubicBezTo>
                      <a:pt x="75" y="272"/>
                      <a:pt x="67" y="229"/>
                      <a:pt x="60" y="191"/>
                    </a:cubicBezTo>
                    <a:cubicBezTo>
                      <a:pt x="60" y="191"/>
                      <a:pt x="60" y="191"/>
                      <a:pt x="60" y="191"/>
                    </a:cubicBezTo>
                    <a:cubicBezTo>
                      <a:pt x="60" y="190"/>
                      <a:pt x="59" y="188"/>
                      <a:pt x="59" y="186"/>
                    </a:cubicBezTo>
                    <a:cubicBezTo>
                      <a:pt x="58" y="184"/>
                      <a:pt x="58" y="184"/>
                      <a:pt x="58" y="184"/>
                    </a:cubicBezTo>
                    <a:cubicBezTo>
                      <a:pt x="60" y="183"/>
                      <a:pt x="60" y="183"/>
                      <a:pt x="60" y="183"/>
                    </a:cubicBezTo>
                    <a:cubicBezTo>
                      <a:pt x="72" y="167"/>
                      <a:pt x="85" y="155"/>
                      <a:pt x="96" y="150"/>
                    </a:cubicBezTo>
                    <a:cubicBezTo>
                      <a:pt x="95" y="147"/>
                      <a:pt x="94" y="144"/>
                      <a:pt x="92" y="141"/>
                    </a:cubicBezTo>
                    <a:cubicBezTo>
                      <a:pt x="83" y="146"/>
                      <a:pt x="72" y="154"/>
                      <a:pt x="62" y="166"/>
                    </a:cubicBezTo>
                    <a:cubicBezTo>
                      <a:pt x="56" y="172"/>
                      <a:pt x="56" y="172"/>
                      <a:pt x="56" y="172"/>
                    </a:cubicBezTo>
                    <a:cubicBezTo>
                      <a:pt x="55" y="164"/>
                      <a:pt x="55" y="164"/>
                      <a:pt x="55" y="164"/>
                    </a:cubicBezTo>
                    <a:cubicBezTo>
                      <a:pt x="53" y="154"/>
                      <a:pt x="51" y="140"/>
                      <a:pt x="50" y="129"/>
                    </a:cubicBezTo>
                    <a:cubicBezTo>
                      <a:pt x="50" y="124"/>
                      <a:pt x="50" y="124"/>
                      <a:pt x="50" y="124"/>
                    </a:cubicBezTo>
                    <a:cubicBezTo>
                      <a:pt x="55" y="125"/>
                      <a:pt x="55" y="125"/>
                      <a:pt x="55" y="125"/>
                    </a:cubicBezTo>
                    <a:cubicBezTo>
                      <a:pt x="64" y="127"/>
                      <a:pt x="71" y="126"/>
                      <a:pt x="75" y="121"/>
                    </a:cubicBezTo>
                    <a:cubicBezTo>
                      <a:pt x="78" y="117"/>
                      <a:pt x="79" y="113"/>
                      <a:pt x="79" y="107"/>
                    </a:cubicBezTo>
                    <a:cubicBezTo>
                      <a:pt x="79" y="92"/>
                      <a:pt x="69" y="70"/>
                      <a:pt x="62" y="59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2" y="56"/>
                      <a:pt x="62" y="56"/>
                      <a:pt x="62" y="56"/>
                    </a:cubicBezTo>
                    <a:cubicBezTo>
                      <a:pt x="69" y="38"/>
                      <a:pt x="78" y="22"/>
                      <a:pt x="90" y="7"/>
                    </a:cubicBezTo>
                    <a:cubicBezTo>
                      <a:pt x="87" y="5"/>
                      <a:pt x="83" y="2"/>
                      <a:pt x="81" y="0"/>
                    </a:cubicBezTo>
                    <a:cubicBezTo>
                      <a:pt x="44" y="44"/>
                      <a:pt x="40" y="92"/>
                      <a:pt x="40" y="110"/>
                    </a:cubicBezTo>
                    <a:close/>
                    <a:moveTo>
                      <a:pt x="55" y="113"/>
                    </a:moveTo>
                    <a:cubicBezTo>
                      <a:pt x="52" y="112"/>
                      <a:pt x="52" y="112"/>
                      <a:pt x="52" y="112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2" y="106"/>
                      <a:pt x="52" y="98"/>
                      <a:pt x="54" y="8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62" y="86"/>
                      <a:pt x="62" y="86"/>
                      <a:pt x="62" y="86"/>
                    </a:cubicBezTo>
                    <a:cubicBezTo>
                      <a:pt x="65" y="95"/>
                      <a:pt x="68" y="103"/>
                      <a:pt x="68" y="108"/>
                    </a:cubicBezTo>
                    <a:cubicBezTo>
                      <a:pt x="67" y="114"/>
                      <a:pt x="67" y="114"/>
                      <a:pt x="67" y="114"/>
                    </a:cubicBezTo>
                    <a:cubicBezTo>
                      <a:pt x="64" y="114"/>
                      <a:pt x="64" y="114"/>
                      <a:pt x="64" y="114"/>
                    </a:cubicBezTo>
                    <a:cubicBezTo>
                      <a:pt x="63" y="114"/>
                      <a:pt x="60" y="114"/>
                      <a:pt x="55" y="113"/>
                    </a:cubicBezTo>
                    <a:close/>
                    <a:moveTo>
                      <a:pt x="36" y="354"/>
                    </a:moveTo>
                    <a:cubicBezTo>
                      <a:pt x="36" y="354"/>
                      <a:pt x="36" y="354"/>
                      <a:pt x="36" y="354"/>
                    </a:cubicBezTo>
                    <a:cubicBezTo>
                      <a:pt x="26" y="352"/>
                      <a:pt x="13" y="345"/>
                      <a:pt x="11" y="322"/>
                    </a:cubicBezTo>
                    <a:cubicBezTo>
                      <a:pt x="11" y="322"/>
                      <a:pt x="10" y="311"/>
                      <a:pt x="10" y="311"/>
                    </a:cubicBezTo>
                    <a:cubicBezTo>
                      <a:pt x="10" y="281"/>
                      <a:pt x="24" y="239"/>
                      <a:pt x="46" y="204"/>
                    </a:cubicBezTo>
                    <a:cubicBezTo>
                      <a:pt x="51" y="195"/>
                      <a:pt x="51" y="195"/>
                      <a:pt x="51" y="195"/>
                    </a:cubicBezTo>
                    <a:cubicBezTo>
                      <a:pt x="53" y="205"/>
                      <a:pt x="53" y="205"/>
                      <a:pt x="53" y="205"/>
                    </a:cubicBezTo>
                    <a:cubicBezTo>
                      <a:pt x="59" y="241"/>
                      <a:pt x="65" y="278"/>
                      <a:pt x="65" y="306"/>
                    </a:cubicBezTo>
                    <a:cubicBezTo>
                      <a:pt x="65" y="328"/>
                      <a:pt x="62" y="342"/>
                      <a:pt x="55" y="349"/>
                    </a:cubicBezTo>
                    <a:cubicBezTo>
                      <a:pt x="50" y="354"/>
                      <a:pt x="44" y="355"/>
                      <a:pt x="36" y="35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97" name="Freeform 10"/>
              <p:cNvSpPr/>
              <p:nvPr/>
            </p:nvSpPr>
            <p:spPr bwMode="auto">
              <a:xfrm>
                <a:off x="6308726" y="-2268538"/>
                <a:ext cx="319088" cy="274638"/>
              </a:xfrm>
              <a:custGeom>
                <a:avLst/>
                <a:gdLst>
                  <a:gd name="T0" fmla="*/ 2147483646 w 85"/>
                  <a:gd name="T1" fmla="*/ 2147483646 h 73"/>
                  <a:gd name="T2" fmla="*/ 0 w 85"/>
                  <a:gd name="T3" fmla="*/ 2147483646 h 73"/>
                  <a:gd name="T4" fmla="*/ 0 w 85"/>
                  <a:gd name="T5" fmla="*/ 2147483646 h 73"/>
                  <a:gd name="T6" fmla="*/ 2147483646 w 85"/>
                  <a:gd name="T7" fmla="*/ 0 h 73"/>
                  <a:gd name="T8" fmla="*/ 2147483646 w 85"/>
                  <a:gd name="T9" fmla="*/ 0 h 73"/>
                  <a:gd name="T10" fmla="*/ 2147483646 w 85"/>
                  <a:gd name="T11" fmla="*/ 2147483646 h 73"/>
                  <a:gd name="T12" fmla="*/ 2147483646 w 85"/>
                  <a:gd name="T13" fmla="*/ 2147483646 h 73"/>
                  <a:gd name="T14" fmla="*/ 2147483646 w 85"/>
                  <a:gd name="T15" fmla="*/ 2147483646 h 73"/>
                  <a:gd name="T16" fmla="*/ 2147483646 w 85"/>
                  <a:gd name="T17" fmla="*/ 2147483646 h 73"/>
                  <a:gd name="T18" fmla="*/ 2147483646 w 85"/>
                  <a:gd name="T19" fmla="*/ 2147483646 h 73"/>
                  <a:gd name="T20" fmla="*/ 2147483646 w 85"/>
                  <a:gd name="T21" fmla="*/ 2147483646 h 7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85" h="73">
                    <a:moveTo>
                      <a:pt x="7" y="73"/>
                    </a:moveTo>
                    <a:cubicBezTo>
                      <a:pt x="3" y="73"/>
                      <a:pt x="0" y="70"/>
                      <a:pt x="0" y="6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0"/>
                      <a:pt x="85" y="3"/>
                      <a:pt x="85" y="7"/>
                    </a:cubicBezTo>
                    <a:cubicBezTo>
                      <a:pt x="85" y="10"/>
                      <a:pt x="82" y="13"/>
                      <a:pt x="79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19" y="13"/>
                      <a:pt x="13" y="18"/>
                      <a:pt x="13" y="25"/>
                    </a:cubicBezTo>
                    <a:cubicBezTo>
                      <a:pt x="13" y="67"/>
                      <a:pt x="13" y="67"/>
                      <a:pt x="13" y="67"/>
                    </a:cubicBezTo>
                    <a:cubicBezTo>
                      <a:pt x="13" y="70"/>
                      <a:pt x="10" y="73"/>
                      <a:pt x="7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9" name="组合 8"/>
          <p:cNvGrpSpPr/>
          <p:nvPr/>
        </p:nvGrpSpPr>
        <p:grpSpPr bwMode="auto">
          <a:xfrm>
            <a:off x="5886450" y="1189038"/>
            <a:ext cx="1265238" cy="1511300"/>
            <a:chOff x="5886767" y="1189646"/>
            <a:chExt cx="1264397" cy="1509923"/>
          </a:xfrm>
        </p:grpSpPr>
        <p:sp>
          <p:nvSpPr>
            <p:cNvPr id="143" name="矩形 142"/>
            <p:cNvSpPr/>
            <p:nvPr/>
          </p:nvSpPr>
          <p:spPr>
            <a:xfrm>
              <a:off x="5886767" y="1189646"/>
              <a:ext cx="1264397" cy="150992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矩形 31"/>
            <p:cNvSpPr/>
            <p:nvPr/>
          </p:nvSpPr>
          <p:spPr>
            <a:xfrm>
              <a:off x="5964503" y="1261018"/>
              <a:ext cx="1108924" cy="36955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7681" name="组合 137"/>
            <p:cNvGrpSpPr/>
            <p:nvPr/>
          </p:nvGrpSpPr>
          <p:grpSpPr bwMode="auto">
            <a:xfrm>
              <a:off x="6067439" y="1691560"/>
              <a:ext cx="903053" cy="903053"/>
              <a:chOff x="8836026" y="-2973388"/>
              <a:chExt cx="2576513" cy="2576513"/>
            </a:xfrm>
          </p:grpSpPr>
          <p:sp>
            <p:nvSpPr>
              <p:cNvPr id="18" name="Freeform 11"/>
              <p:cNvSpPr/>
              <p:nvPr/>
            </p:nvSpPr>
            <p:spPr bwMode="auto">
              <a:xfrm>
                <a:off x="8836548" y="-2975446"/>
                <a:ext cx="2575469" cy="2579358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683" name="Freeform 12"/>
              <p:cNvSpPr/>
              <p:nvPr/>
            </p:nvSpPr>
            <p:spPr bwMode="auto">
              <a:xfrm>
                <a:off x="9102726" y="-2447925"/>
                <a:ext cx="2309813" cy="2051050"/>
              </a:xfrm>
              <a:custGeom>
                <a:avLst/>
                <a:gdLst>
                  <a:gd name="T0" fmla="*/ 2147483646 w 616"/>
                  <a:gd name="T1" fmla="*/ 2147483646 h 547"/>
                  <a:gd name="T2" fmla="*/ 2147483646 w 616"/>
                  <a:gd name="T3" fmla="*/ 2147483646 h 547"/>
                  <a:gd name="T4" fmla="*/ 2147483646 w 616"/>
                  <a:gd name="T5" fmla="*/ 2147483646 h 547"/>
                  <a:gd name="T6" fmla="*/ 2147483646 w 616"/>
                  <a:gd name="T7" fmla="*/ 2147483646 h 547"/>
                  <a:gd name="T8" fmla="*/ 2147483646 w 616"/>
                  <a:gd name="T9" fmla="*/ 2147483646 h 547"/>
                  <a:gd name="T10" fmla="*/ 2147483646 w 616"/>
                  <a:gd name="T11" fmla="*/ 0 h 547"/>
                  <a:gd name="T12" fmla="*/ 2147483646 w 616"/>
                  <a:gd name="T13" fmla="*/ 2147483646 h 547"/>
                  <a:gd name="T14" fmla="*/ 2147483646 w 616"/>
                  <a:gd name="T15" fmla="*/ 2147483646 h 547"/>
                  <a:gd name="T16" fmla="*/ 2147483646 w 616"/>
                  <a:gd name="T17" fmla="*/ 2147483646 h 547"/>
                  <a:gd name="T18" fmla="*/ 2147483646 w 616"/>
                  <a:gd name="T19" fmla="*/ 2147483646 h 547"/>
                  <a:gd name="T20" fmla="*/ 2147483646 w 616"/>
                  <a:gd name="T21" fmla="*/ 2147483646 h 547"/>
                  <a:gd name="T22" fmla="*/ 2147483646 w 616"/>
                  <a:gd name="T23" fmla="*/ 2147483646 h 547"/>
                  <a:gd name="T24" fmla="*/ 2147483646 w 616"/>
                  <a:gd name="T25" fmla="*/ 2147483646 h 547"/>
                  <a:gd name="T26" fmla="*/ 2147483646 w 616"/>
                  <a:gd name="T27" fmla="*/ 2147483646 h 547"/>
                  <a:gd name="T28" fmla="*/ 2147483646 w 616"/>
                  <a:gd name="T29" fmla="*/ 2147483646 h 547"/>
                  <a:gd name="T30" fmla="*/ 2147483646 w 616"/>
                  <a:gd name="T31" fmla="*/ 2147483646 h 547"/>
                  <a:gd name="T32" fmla="*/ 2147483646 w 616"/>
                  <a:gd name="T33" fmla="*/ 2147483646 h 547"/>
                  <a:gd name="T34" fmla="*/ 2147483646 w 616"/>
                  <a:gd name="T35" fmla="*/ 2147483646 h 547"/>
                  <a:gd name="T36" fmla="*/ 2147483646 w 616"/>
                  <a:gd name="T37" fmla="*/ 2147483646 h 547"/>
                  <a:gd name="T38" fmla="*/ 2147483646 w 616"/>
                  <a:gd name="T39" fmla="*/ 2147483646 h 547"/>
                  <a:gd name="T40" fmla="*/ 2147483646 w 616"/>
                  <a:gd name="T41" fmla="*/ 2147483646 h 547"/>
                  <a:gd name="T42" fmla="*/ 2147483646 w 616"/>
                  <a:gd name="T43" fmla="*/ 2147483646 h 547"/>
                  <a:gd name="T44" fmla="*/ 2147483646 w 616"/>
                  <a:gd name="T45" fmla="*/ 2147483646 h 547"/>
                  <a:gd name="T46" fmla="*/ 2147483646 w 616"/>
                  <a:gd name="T47" fmla="*/ 2147483646 h 547"/>
                  <a:gd name="T48" fmla="*/ 2147483646 w 616"/>
                  <a:gd name="T49" fmla="*/ 2147483646 h 547"/>
                  <a:gd name="T50" fmla="*/ 2147483646 w 616"/>
                  <a:gd name="T51" fmla="*/ 2147483646 h 547"/>
                  <a:gd name="T52" fmla="*/ 2147483646 w 616"/>
                  <a:gd name="T53" fmla="*/ 2147483646 h 547"/>
                  <a:gd name="T54" fmla="*/ 2147483646 w 616"/>
                  <a:gd name="T55" fmla="*/ 2147483646 h 547"/>
                  <a:gd name="T56" fmla="*/ 2147483646 w 616"/>
                  <a:gd name="T57" fmla="*/ 2147483646 h 547"/>
                  <a:gd name="T58" fmla="*/ 2147483646 w 616"/>
                  <a:gd name="T59" fmla="*/ 2147483646 h 547"/>
                  <a:gd name="T60" fmla="*/ 0 w 616"/>
                  <a:gd name="T61" fmla="*/ 2147483646 h 547"/>
                  <a:gd name="T62" fmla="*/ 2147483646 w 616"/>
                  <a:gd name="T63" fmla="*/ 2147483646 h 547"/>
                  <a:gd name="T64" fmla="*/ 2147483646 w 616"/>
                  <a:gd name="T65" fmla="*/ 2147483646 h 547"/>
                  <a:gd name="T66" fmla="*/ 2147483646 w 616"/>
                  <a:gd name="T67" fmla="*/ 2147483646 h 54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616" h="547">
                    <a:moveTo>
                      <a:pt x="616" y="485"/>
                    </a:moveTo>
                    <a:cubicBezTo>
                      <a:pt x="616" y="317"/>
                      <a:pt x="616" y="317"/>
                      <a:pt x="616" y="317"/>
                    </a:cubicBezTo>
                    <a:cubicBezTo>
                      <a:pt x="318" y="18"/>
                      <a:pt x="318" y="18"/>
                      <a:pt x="318" y="18"/>
                    </a:cubicBezTo>
                    <a:cubicBezTo>
                      <a:pt x="296" y="40"/>
                      <a:pt x="296" y="40"/>
                      <a:pt x="296" y="40"/>
                    </a:cubicBezTo>
                    <a:cubicBezTo>
                      <a:pt x="291" y="39"/>
                      <a:pt x="285" y="38"/>
                      <a:pt x="278" y="37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29" y="11"/>
                      <a:pt x="229" y="11"/>
                      <a:pt x="229" y="11"/>
                    </a:cubicBezTo>
                    <a:cubicBezTo>
                      <a:pt x="218" y="9"/>
                      <a:pt x="218" y="9"/>
                      <a:pt x="218" y="9"/>
                    </a:cubicBezTo>
                    <a:cubicBezTo>
                      <a:pt x="207" y="20"/>
                      <a:pt x="207" y="20"/>
                      <a:pt x="207" y="20"/>
                    </a:cubicBezTo>
                    <a:cubicBezTo>
                      <a:pt x="216" y="30"/>
                      <a:pt x="216" y="30"/>
                      <a:pt x="216" y="30"/>
                    </a:cubicBezTo>
                    <a:cubicBezTo>
                      <a:pt x="211" y="29"/>
                      <a:pt x="206" y="29"/>
                      <a:pt x="202" y="29"/>
                    </a:cubicBezTo>
                    <a:cubicBezTo>
                      <a:pt x="198" y="29"/>
                      <a:pt x="194" y="30"/>
                      <a:pt x="190" y="31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34" y="72"/>
                      <a:pt x="134" y="72"/>
                      <a:pt x="134" y="72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56" y="115"/>
                      <a:pt x="156" y="115"/>
                      <a:pt x="156" y="115"/>
                    </a:cubicBezTo>
                    <a:cubicBezTo>
                      <a:pt x="157" y="153"/>
                      <a:pt x="157" y="153"/>
                      <a:pt x="157" y="153"/>
                    </a:cubicBezTo>
                    <a:cubicBezTo>
                      <a:pt x="158" y="179"/>
                      <a:pt x="158" y="179"/>
                      <a:pt x="158" y="179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58" y="224"/>
                      <a:pt x="158" y="224"/>
                      <a:pt x="158" y="224"/>
                    </a:cubicBezTo>
                    <a:cubicBezTo>
                      <a:pt x="160" y="304"/>
                      <a:pt x="160" y="304"/>
                      <a:pt x="160" y="304"/>
                    </a:cubicBezTo>
                    <a:cubicBezTo>
                      <a:pt x="147" y="323"/>
                      <a:pt x="147" y="323"/>
                      <a:pt x="147" y="323"/>
                    </a:cubicBezTo>
                    <a:cubicBezTo>
                      <a:pt x="97" y="274"/>
                      <a:pt x="97" y="274"/>
                      <a:pt x="97" y="274"/>
                    </a:cubicBezTo>
                    <a:cubicBezTo>
                      <a:pt x="97" y="274"/>
                      <a:pt x="68" y="260"/>
                      <a:pt x="43" y="282"/>
                    </a:cubicBezTo>
                    <a:cubicBezTo>
                      <a:pt x="19" y="305"/>
                      <a:pt x="33" y="338"/>
                      <a:pt x="33" y="338"/>
                    </a:cubicBezTo>
                    <a:cubicBezTo>
                      <a:pt x="67" y="373"/>
                      <a:pt x="67" y="373"/>
                      <a:pt x="67" y="373"/>
                    </a:cubicBezTo>
                    <a:cubicBezTo>
                      <a:pt x="53" y="374"/>
                      <a:pt x="39" y="374"/>
                      <a:pt x="32" y="371"/>
                    </a:cubicBezTo>
                    <a:cubicBezTo>
                      <a:pt x="31" y="371"/>
                      <a:pt x="30" y="370"/>
                      <a:pt x="30" y="370"/>
                    </a:cubicBezTo>
                    <a:cubicBezTo>
                      <a:pt x="24" y="367"/>
                      <a:pt x="20" y="365"/>
                      <a:pt x="20" y="365"/>
                    </a:cubicBezTo>
                    <a:cubicBezTo>
                      <a:pt x="17" y="364"/>
                      <a:pt x="0" y="395"/>
                      <a:pt x="0" y="395"/>
                    </a:cubicBezTo>
                    <a:cubicBezTo>
                      <a:pt x="153" y="547"/>
                      <a:pt x="153" y="547"/>
                      <a:pt x="153" y="547"/>
                    </a:cubicBezTo>
                    <a:cubicBezTo>
                      <a:pt x="554" y="547"/>
                      <a:pt x="554" y="547"/>
                      <a:pt x="554" y="547"/>
                    </a:cubicBezTo>
                    <a:cubicBezTo>
                      <a:pt x="588" y="547"/>
                      <a:pt x="616" y="519"/>
                      <a:pt x="616" y="485"/>
                    </a:cubicBez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4" name="Freeform 13"/>
              <p:cNvSpPr>
                <a:spLocks noEditPoints="1"/>
              </p:cNvSpPr>
              <p:nvPr/>
            </p:nvSpPr>
            <p:spPr bwMode="auto">
              <a:xfrm>
                <a:off x="9818688" y="-2032000"/>
                <a:ext cx="1042988" cy="1249363"/>
              </a:xfrm>
              <a:custGeom>
                <a:avLst/>
                <a:gdLst>
                  <a:gd name="T0" fmla="*/ 2147483646 w 278"/>
                  <a:gd name="T1" fmla="*/ 2147483646 h 333"/>
                  <a:gd name="T2" fmla="*/ 2147483646 w 278"/>
                  <a:gd name="T3" fmla="*/ 2147483646 h 333"/>
                  <a:gd name="T4" fmla="*/ 2147483646 w 278"/>
                  <a:gd name="T5" fmla="*/ 2147483646 h 333"/>
                  <a:gd name="T6" fmla="*/ 2147483646 w 278"/>
                  <a:gd name="T7" fmla="*/ 2147483646 h 333"/>
                  <a:gd name="T8" fmla="*/ 2147483646 w 278"/>
                  <a:gd name="T9" fmla="*/ 2147483646 h 333"/>
                  <a:gd name="T10" fmla="*/ 2147483646 w 278"/>
                  <a:gd name="T11" fmla="*/ 2147483646 h 333"/>
                  <a:gd name="T12" fmla="*/ 2147483646 w 278"/>
                  <a:gd name="T13" fmla="*/ 2147483646 h 333"/>
                  <a:gd name="T14" fmla="*/ 2147483646 w 278"/>
                  <a:gd name="T15" fmla="*/ 2147483646 h 333"/>
                  <a:gd name="T16" fmla="*/ 2147483646 w 278"/>
                  <a:gd name="T17" fmla="*/ 2147483646 h 333"/>
                  <a:gd name="T18" fmla="*/ 2147483646 w 278"/>
                  <a:gd name="T19" fmla="*/ 2147483646 h 333"/>
                  <a:gd name="T20" fmla="*/ 2147483646 w 278"/>
                  <a:gd name="T21" fmla="*/ 2147483646 h 333"/>
                  <a:gd name="T22" fmla="*/ 2147483646 w 278"/>
                  <a:gd name="T23" fmla="*/ 2147483646 h 333"/>
                  <a:gd name="T24" fmla="*/ 2147483646 w 278"/>
                  <a:gd name="T25" fmla="*/ 2147483646 h 333"/>
                  <a:gd name="T26" fmla="*/ 2147483646 w 278"/>
                  <a:gd name="T27" fmla="*/ 2147483646 h 333"/>
                  <a:gd name="T28" fmla="*/ 2147483646 w 278"/>
                  <a:gd name="T29" fmla="*/ 2147483646 h 333"/>
                  <a:gd name="T30" fmla="*/ 2147483646 w 278"/>
                  <a:gd name="T31" fmla="*/ 2147483646 h 333"/>
                  <a:gd name="T32" fmla="*/ 2147483646 w 278"/>
                  <a:gd name="T33" fmla="*/ 0 h 333"/>
                  <a:gd name="T34" fmla="*/ 2147483646 w 278"/>
                  <a:gd name="T35" fmla="*/ 2147483646 h 333"/>
                  <a:gd name="T36" fmla="*/ 2147483646 w 278"/>
                  <a:gd name="T37" fmla="*/ 2147483646 h 333"/>
                  <a:gd name="T38" fmla="*/ 2147483646 w 278"/>
                  <a:gd name="T39" fmla="*/ 0 h 333"/>
                  <a:gd name="T40" fmla="*/ 2147483646 w 278"/>
                  <a:gd name="T41" fmla="*/ 2147483646 h 333"/>
                  <a:gd name="T42" fmla="*/ 2147483646 w 278"/>
                  <a:gd name="T43" fmla="*/ 2147483646 h 333"/>
                  <a:gd name="T44" fmla="*/ 2147483646 w 278"/>
                  <a:gd name="T45" fmla="*/ 2147483646 h 333"/>
                  <a:gd name="T46" fmla="*/ 0 w 278"/>
                  <a:gd name="T47" fmla="*/ 2147483646 h 333"/>
                  <a:gd name="T48" fmla="*/ 2147483646 w 278"/>
                  <a:gd name="T49" fmla="*/ 2147483646 h 333"/>
                  <a:gd name="T50" fmla="*/ 2147483646 w 278"/>
                  <a:gd name="T51" fmla="*/ 2147483646 h 333"/>
                  <a:gd name="T52" fmla="*/ 2147483646 w 278"/>
                  <a:gd name="T53" fmla="*/ 2147483646 h 333"/>
                  <a:gd name="T54" fmla="*/ 2147483646 w 278"/>
                  <a:gd name="T55" fmla="*/ 2147483646 h 333"/>
                  <a:gd name="T56" fmla="*/ 2147483646 w 278"/>
                  <a:gd name="T57" fmla="*/ 2147483646 h 333"/>
                  <a:gd name="T58" fmla="*/ 2147483646 w 278"/>
                  <a:gd name="T59" fmla="*/ 2147483646 h 333"/>
                  <a:gd name="T60" fmla="*/ 2147483646 w 278"/>
                  <a:gd name="T61" fmla="*/ 2147483646 h 333"/>
                  <a:gd name="T62" fmla="*/ 2147483646 w 278"/>
                  <a:gd name="T63" fmla="*/ 2147483646 h 333"/>
                  <a:gd name="T64" fmla="*/ 2147483646 w 278"/>
                  <a:gd name="T65" fmla="*/ 2147483646 h 333"/>
                  <a:gd name="T66" fmla="*/ 2147483646 w 278"/>
                  <a:gd name="T67" fmla="*/ 2147483646 h 333"/>
                  <a:gd name="T68" fmla="*/ 2147483646 w 278"/>
                  <a:gd name="T69" fmla="*/ 2147483646 h 333"/>
                  <a:gd name="T70" fmla="*/ 2147483646 w 278"/>
                  <a:gd name="T71" fmla="*/ 2147483646 h 333"/>
                  <a:gd name="T72" fmla="*/ 2147483646 w 278"/>
                  <a:gd name="T73" fmla="*/ 2147483646 h 333"/>
                  <a:gd name="T74" fmla="*/ 2147483646 w 278"/>
                  <a:gd name="T75" fmla="*/ 2147483646 h 333"/>
                  <a:gd name="T76" fmla="*/ 2147483646 w 278"/>
                  <a:gd name="T77" fmla="*/ 2147483646 h 333"/>
                  <a:gd name="T78" fmla="*/ 2147483646 w 278"/>
                  <a:gd name="T79" fmla="*/ 2147483646 h 333"/>
                  <a:gd name="T80" fmla="*/ 2147483646 w 278"/>
                  <a:gd name="T81" fmla="*/ 2147483646 h 333"/>
                  <a:gd name="T82" fmla="*/ 2147483646 w 278"/>
                  <a:gd name="T83" fmla="*/ 2147483646 h 333"/>
                  <a:gd name="T84" fmla="*/ 2147483646 w 278"/>
                  <a:gd name="T85" fmla="*/ 2147483646 h 333"/>
                  <a:gd name="T86" fmla="*/ 2147483646 w 278"/>
                  <a:gd name="T87" fmla="*/ 2147483646 h 333"/>
                  <a:gd name="T88" fmla="*/ 2147483646 w 278"/>
                  <a:gd name="T89" fmla="*/ 2147483646 h 333"/>
                  <a:gd name="T90" fmla="*/ 2147483646 w 278"/>
                  <a:gd name="T91" fmla="*/ 2147483646 h 333"/>
                  <a:gd name="T92" fmla="*/ 2147483646 w 278"/>
                  <a:gd name="T93" fmla="*/ 2147483646 h 333"/>
                  <a:gd name="T94" fmla="*/ 2147483646 w 278"/>
                  <a:gd name="T95" fmla="*/ 2147483646 h 33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278" h="333">
                    <a:moveTo>
                      <a:pt x="13" y="302"/>
                    </a:moveTo>
                    <a:cubicBezTo>
                      <a:pt x="36" y="302"/>
                      <a:pt x="36" y="302"/>
                      <a:pt x="36" y="302"/>
                    </a:cubicBezTo>
                    <a:cubicBezTo>
                      <a:pt x="36" y="224"/>
                      <a:pt x="36" y="224"/>
                      <a:pt x="36" y="224"/>
                    </a:cubicBezTo>
                    <a:cubicBezTo>
                      <a:pt x="13" y="172"/>
                      <a:pt x="13" y="172"/>
                      <a:pt x="13" y="172"/>
                    </a:cubicBezTo>
                    <a:lnTo>
                      <a:pt x="13" y="302"/>
                    </a:lnTo>
                    <a:close/>
                    <a:moveTo>
                      <a:pt x="127" y="243"/>
                    </a:moveTo>
                    <a:cubicBezTo>
                      <a:pt x="127" y="333"/>
                      <a:pt x="127" y="333"/>
                      <a:pt x="127" y="333"/>
                    </a:cubicBezTo>
                    <a:cubicBezTo>
                      <a:pt x="155" y="333"/>
                      <a:pt x="155" y="333"/>
                      <a:pt x="155" y="333"/>
                    </a:cubicBezTo>
                    <a:cubicBezTo>
                      <a:pt x="155" y="243"/>
                      <a:pt x="155" y="243"/>
                      <a:pt x="155" y="243"/>
                    </a:cubicBezTo>
                    <a:cubicBezTo>
                      <a:pt x="141" y="192"/>
                      <a:pt x="141" y="192"/>
                      <a:pt x="141" y="192"/>
                    </a:cubicBezTo>
                    <a:lnTo>
                      <a:pt x="127" y="243"/>
                    </a:lnTo>
                    <a:close/>
                    <a:moveTo>
                      <a:pt x="240" y="300"/>
                    </a:moveTo>
                    <a:cubicBezTo>
                      <a:pt x="263" y="300"/>
                      <a:pt x="263" y="300"/>
                      <a:pt x="263" y="300"/>
                    </a:cubicBezTo>
                    <a:cubicBezTo>
                      <a:pt x="263" y="170"/>
                      <a:pt x="263" y="170"/>
                      <a:pt x="263" y="170"/>
                    </a:cubicBezTo>
                    <a:cubicBezTo>
                      <a:pt x="240" y="222"/>
                      <a:pt x="240" y="222"/>
                      <a:pt x="240" y="222"/>
                    </a:cubicBezTo>
                    <a:lnTo>
                      <a:pt x="240" y="300"/>
                    </a:lnTo>
                    <a:close/>
                    <a:moveTo>
                      <a:pt x="139" y="0"/>
                    </a:moveTo>
                    <a:cubicBezTo>
                      <a:pt x="121" y="0"/>
                      <a:pt x="105" y="3"/>
                      <a:pt x="89" y="9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73" y="3"/>
                      <a:pt x="156" y="0"/>
                      <a:pt x="139" y="0"/>
                    </a:cubicBezTo>
                    <a:close/>
                    <a:moveTo>
                      <a:pt x="278" y="139"/>
                    </a:moveTo>
                    <a:cubicBezTo>
                      <a:pt x="278" y="87"/>
                      <a:pt x="250" y="43"/>
                      <a:pt x="208" y="19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28" y="43"/>
                      <a:pt x="0" y="87"/>
                      <a:pt x="0" y="139"/>
                    </a:cubicBezTo>
                    <a:cubicBezTo>
                      <a:pt x="0" y="153"/>
                      <a:pt x="2" y="167"/>
                      <a:pt x="6" y="181"/>
                    </a:cubicBezTo>
                    <a:cubicBezTo>
                      <a:pt x="6" y="172"/>
                      <a:pt x="6" y="172"/>
                      <a:pt x="6" y="172"/>
                    </a:cubicBezTo>
                    <a:cubicBezTo>
                      <a:pt x="6" y="169"/>
                      <a:pt x="8" y="166"/>
                      <a:pt x="11" y="166"/>
                    </a:cubicBezTo>
                    <a:cubicBezTo>
                      <a:pt x="15" y="165"/>
                      <a:pt x="18" y="167"/>
                      <a:pt x="19" y="170"/>
                    </a:cubicBezTo>
                    <a:cubicBezTo>
                      <a:pt x="42" y="222"/>
                      <a:pt x="42" y="222"/>
                      <a:pt x="42" y="222"/>
                    </a:cubicBezTo>
                    <a:cubicBezTo>
                      <a:pt x="42" y="222"/>
                      <a:pt x="43" y="223"/>
                      <a:pt x="43" y="224"/>
                    </a:cubicBezTo>
                    <a:cubicBezTo>
                      <a:pt x="43" y="239"/>
                      <a:pt x="43" y="239"/>
                      <a:pt x="43" y="239"/>
                    </a:cubicBezTo>
                    <a:cubicBezTo>
                      <a:pt x="63" y="259"/>
                      <a:pt x="90" y="273"/>
                      <a:pt x="120" y="277"/>
                    </a:cubicBezTo>
                    <a:cubicBezTo>
                      <a:pt x="120" y="243"/>
                      <a:pt x="120" y="243"/>
                      <a:pt x="120" y="243"/>
                    </a:cubicBezTo>
                    <a:cubicBezTo>
                      <a:pt x="120" y="242"/>
                      <a:pt x="120" y="241"/>
                      <a:pt x="121" y="241"/>
                    </a:cubicBezTo>
                    <a:cubicBezTo>
                      <a:pt x="135" y="190"/>
                      <a:pt x="135" y="190"/>
                      <a:pt x="135" y="190"/>
                    </a:cubicBezTo>
                    <a:cubicBezTo>
                      <a:pt x="135" y="187"/>
                      <a:pt x="138" y="185"/>
                      <a:pt x="141" y="185"/>
                    </a:cubicBezTo>
                    <a:cubicBezTo>
                      <a:pt x="144" y="185"/>
                      <a:pt x="147" y="187"/>
                      <a:pt x="147" y="190"/>
                    </a:cubicBezTo>
                    <a:cubicBezTo>
                      <a:pt x="161" y="241"/>
                      <a:pt x="161" y="241"/>
                      <a:pt x="161" y="241"/>
                    </a:cubicBezTo>
                    <a:cubicBezTo>
                      <a:pt x="162" y="241"/>
                      <a:pt x="162" y="242"/>
                      <a:pt x="162" y="243"/>
                    </a:cubicBezTo>
                    <a:cubicBezTo>
                      <a:pt x="162" y="276"/>
                      <a:pt x="162" y="276"/>
                      <a:pt x="162" y="276"/>
                    </a:cubicBezTo>
                    <a:cubicBezTo>
                      <a:pt x="189" y="271"/>
                      <a:pt x="214" y="259"/>
                      <a:pt x="233" y="241"/>
                    </a:cubicBezTo>
                    <a:cubicBezTo>
                      <a:pt x="233" y="222"/>
                      <a:pt x="233" y="222"/>
                      <a:pt x="233" y="222"/>
                    </a:cubicBezTo>
                    <a:cubicBezTo>
                      <a:pt x="233" y="221"/>
                      <a:pt x="234" y="220"/>
                      <a:pt x="234" y="219"/>
                    </a:cubicBezTo>
                    <a:cubicBezTo>
                      <a:pt x="257" y="167"/>
                      <a:pt x="257" y="167"/>
                      <a:pt x="257" y="167"/>
                    </a:cubicBezTo>
                    <a:cubicBezTo>
                      <a:pt x="258" y="164"/>
                      <a:pt x="261" y="163"/>
                      <a:pt x="265" y="163"/>
                    </a:cubicBezTo>
                    <a:cubicBezTo>
                      <a:pt x="268" y="164"/>
                      <a:pt x="270" y="167"/>
                      <a:pt x="270" y="170"/>
                    </a:cubicBezTo>
                    <a:cubicBezTo>
                      <a:pt x="270" y="186"/>
                      <a:pt x="270" y="186"/>
                      <a:pt x="270" y="186"/>
                    </a:cubicBezTo>
                    <a:cubicBezTo>
                      <a:pt x="275" y="171"/>
                      <a:pt x="278" y="155"/>
                      <a:pt x="278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5" name="Freeform 14"/>
              <p:cNvSpPr/>
              <p:nvPr/>
            </p:nvSpPr>
            <p:spPr bwMode="auto">
              <a:xfrm>
                <a:off x="9956801" y="-2455863"/>
                <a:ext cx="49213" cy="209550"/>
              </a:xfrm>
              <a:custGeom>
                <a:avLst/>
                <a:gdLst>
                  <a:gd name="T0" fmla="*/ 2147483646 w 13"/>
                  <a:gd name="T1" fmla="*/ 2147483646 h 56"/>
                  <a:gd name="T2" fmla="*/ 2147483646 w 13"/>
                  <a:gd name="T3" fmla="*/ 2147483646 h 56"/>
                  <a:gd name="T4" fmla="*/ 2147483646 w 13"/>
                  <a:gd name="T5" fmla="*/ 2147483646 h 56"/>
                  <a:gd name="T6" fmla="*/ 0 w 13"/>
                  <a:gd name="T7" fmla="*/ 2147483646 h 56"/>
                  <a:gd name="T8" fmla="*/ 0 w 13"/>
                  <a:gd name="T9" fmla="*/ 2147483646 h 56"/>
                  <a:gd name="T10" fmla="*/ 2147483646 w 13"/>
                  <a:gd name="T11" fmla="*/ 0 h 56"/>
                  <a:gd name="T12" fmla="*/ 2147483646 w 13"/>
                  <a:gd name="T13" fmla="*/ 0 h 56"/>
                  <a:gd name="T14" fmla="*/ 2147483646 w 13"/>
                  <a:gd name="T15" fmla="*/ 2147483646 h 56"/>
                  <a:gd name="T16" fmla="*/ 2147483646 w 13"/>
                  <a:gd name="T17" fmla="*/ 2147483646 h 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56">
                    <a:moveTo>
                      <a:pt x="13" y="52"/>
                    </a:moveTo>
                    <a:cubicBezTo>
                      <a:pt x="13" y="54"/>
                      <a:pt x="10" y="56"/>
                      <a:pt x="6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3" y="56"/>
                      <a:pt x="0" y="54"/>
                      <a:pt x="0" y="5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0" y="0"/>
                      <a:pt x="13" y="2"/>
                      <a:pt x="13" y="4"/>
                    </a:cubicBezTo>
                    <a:lnTo>
                      <a:pt x="13" y="5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6" name="Freeform 15"/>
              <p:cNvSpPr>
                <a:spLocks noEditPoints="1"/>
              </p:cNvSpPr>
              <p:nvPr/>
            </p:nvSpPr>
            <p:spPr bwMode="auto">
              <a:xfrm>
                <a:off x="9110663" y="-2417763"/>
                <a:ext cx="1304925" cy="1428750"/>
              </a:xfrm>
              <a:custGeom>
                <a:avLst/>
                <a:gdLst>
                  <a:gd name="T0" fmla="*/ 2147483646 w 348"/>
                  <a:gd name="T1" fmla="*/ 2147483646 h 381"/>
                  <a:gd name="T2" fmla="*/ 2147483646 w 348"/>
                  <a:gd name="T3" fmla="*/ 2147483646 h 381"/>
                  <a:gd name="T4" fmla="*/ 2147483646 w 348"/>
                  <a:gd name="T5" fmla="*/ 2147483646 h 381"/>
                  <a:gd name="T6" fmla="*/ 2147483646 w 348"/>
                  <a:gd name="T7" fmla="*/ 2147483646 h 381"/>
                  <a:gd name="T8" fmla="*/ 0 w 348"/>
                  <a:gd name="T9" fmla="*/ 2147483646 h 381"/>
                  <a:gd name="T10" fmla="*/ 0 w 348"/>
                  <a:gd name="T11" fmla="*/ 2147483646 h 381"/>
                  <a:gd name="T12" fmla="*/ 2147483646 w 348"/>
                  <a:gd name="T13" fmla="*/ 2147483646 h 381"/>
                  <a:gd name="T14" fmla="*/ 2147483646 w 348"/>
                  <a:gd name="T15" fmla="*/ 2147483646 h 381"/>
                  <a:gd name="T16" fmla="*/ 2147483646 w 348"/>
                  <a:gd name="T17" fmla="*/ 2147483646 h 381"/>
                  <a:gd name="T18" fmla="*/ 2147483646 w 348"/>
                  <a:gd name="T19" fmla="*/ 2147483646 h 381"/>
                  <a:gd name="T20" fmla="*/ 2147483646 w 348"/>
                  <a:gd name="T21" fmla="*/ 2147483646 h 381"/>
                  <a:gd name="T22" fmla="*/ 2147483646 w 348"/>
                  <a:gd name="T23" fmla="*/ 0 h 381"/>
                  <a:gd name="T24" fmla="*/ 2147483646 w 348"/>
                  <a:gd name="T25" fmla="*/ 0 h 381"/>
                  <a:gd name="T26" fmla="*/ 2147483646 w 348"/>
                  <a:gd name="T27" fmla="*/ 2147483646 h 381"/>
                  <a:gd name="T28" fmla="*/ 2147483646 w 348"/>
                  <a:gd name="T29" fmla="*/ 2147483646 h 381"/>
                  <a:gd name="T30" fmla="*/ 2147483646 w 348"/>
                  <a:gd name="T31" fmla="*/ 2147483646 h 381"/>
                  <a:gd name="T32" fmla="*/ 2147483646 w 348"/>
                  <a:gd name="T33" fmla="*/ 2147483646 h 381"/>
                  <a:gd name="T34" fmla="*/ 2147483646 w 348"/>
                  <a:gd name="T35" fmla="*/ 2147483646 h 381"/>
                  <a:gd name="T36" fmla="*/ 2147483646 w 348"/>
                  <a:gd name="T37" fmla="*/ 2147483646 h 381"/>
                  <a:gd name="T38" fmla="*/ 2147483646 w 348"/>
                  <a:gd name="T39" fmla="*/ 2147483646 h 381"/>
                  <a:gd name="T40" fmla="*/ 2147483646 w 348"/>
                  <a:gd name="T41" fmla="*/ 0 h 381"/>
                  <a:gd name="T42" fmla="*/ 2147483646 w 348"/>
                  <a:gd name="T43" fmla="*/ 2147483646 h 381"/>
                  <a:gd name="T44" fmla="*/ 2147483646 w 348"/>
                  <a:gd name="T45" fmla="*/ 2147483646 h 381"/>
                  <a:gd name="T46" fmla="*/ 2147483646 w 348"/>
                  <a:gd name="T47" fmla="*/ 2147483646 h 381"/>
                  <a:gd name="T48" fmla="*/ 2147483646 w 348"/>
                  <a:gd name="T49" fmla="*/ 2147483646 h 381"/>
                  <a:gd name="T50" fmla="*/ 2147483646 w 348"/>
                  <a:gd name="T51" fmla="*/ 0 h 381"/>
                  <a:gd name="T52" fmla="*/ 2147483646 w 348"/>
                  <a:gd name="T53" fmla="*/ 0 h 381"/>
                  <a:gd name="T54" fmla="*/ 2147483646 w 348"/>
                  <a:gd name="T55" fmla="*/ 2147483646 h 38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348" h="381">
                    <a:moveTo>
                      <a:pt x="130" y="310"/>
                    </a:moveTo>
                    <a:cubicBezTo>
                      <a:pt x="130" y="327"/>
                      <a:pt x="118" y="340"/>
                      <a:pt x="102" y="342"/>
                    </a:cubicBezTo>
                    <a:cubicBezTo>
                      <a:pt x="92" y="351"/>
                      <a:pt x="80" y="355"/>
                      <a:pt x="68" y="355"/>
                    </a:cubicBezTo>
                    <a:cubicBezTo>
                      <a:pt x="55" y="355"/>
                      <a:pt x="43" y="350"/>
                      <a:pt x="33" y="342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0" y="381"/>
                      <a:pt x="0" y="381"/>
                      <a:pt x="0" y="381"/>
                    </a:cubicBezTo>
                    <a:cubicBezTo>
                      <a:pt x="98" y="381"/>
                      <a:pt x="98" y="381"/>
                      <a:pt x="98" y="381"/>
                    </a:cubicBezTo>
                    <a:cubicBezTo>
                      <a:pt x="137" y="381"/>
                      <a:pt x="168" y="349"/>
                      <a:pt x="168" y="310"/>
                    </a:cubicBezTo>
                    <a:cubicBezTo>
                      <a:pt x="168" y="93"/>
                      <a:pt x="168" y="93"/>
                      <a:pt x="168" y="93"/>
                    </a:cubicBezTo>
                    <a:cubicBezTo>
                      <a:pt x="130" y="93"/>
                      <a:pt x="130" y="93"/>
                      <a:pt x="130" y="93"/>
                    </a:cubicBezTo>
                    <a:lnTo>
                      <a:pt x="130" y="310"/>
                    </a:lnTo>
                    <a:close/>
                    <a:moveTo>
                      <a:pt x="278" y="0"/>
                    </a:moveTo>
                    <a:cubicBezTo>
                      <a:pt x="248" y="0"/>
                      <a:pt x="248" y="0"/>
                      <a:pt x="248" y="0"/>
                    </a:cubicBezTo>
                    <a:cubicBezTo>
                      <a:pt x="248" y="38"/>
                      <a:pt x="248" y="38"/>
                      <a:pt x="248" y="38"/>
                    </a:cubicBezTo>
                    <a:cubicBezTo>
                      <a:pt x="278" y="38"/>
                      <a:pt x="278" y="38"/>
                      <a:pt x="278" y="38"/>
                    </a:cubicBezTo>
                    <a:cubicBezTo>
                      <a:pt x="295" y="38"/>
                      <a:pt x="310" y="53"/>
                      <a:pt x="310" y="70"/>
                    </a:cubicBezTo>
                    <a:cubicBezTo>
                      <a:pt x="310" y="97"/>
                      <a:pt x="310" y="97"/>
                      <a:pt x="310" y="97"/>
                    </a:cubicBezTo>
                    <a:cubicBezTo>
                      <a:pt x="315" y="96"/>
                      <a:pt x="321" y="96"/>
                      <a:pt x="327" y="96"/>
                    </a:cubicBezTo>
                    <a:cubicBezTo>
                      <a:pt x="334" y="96"/>
                      <a:pt x="341" y="96"/>
                      <a:pt x="348" y="97"/>
                    </a:cubicBezTo>
                    <a:cubicBezTo>
                      <a:pt x="348" y="70"/>
                      <a:pt x="348" y="70"/>
                      <a:pt x="348" y="70"/>
                    </a:cubicBezTo>
                    <a:cubicBezTo>
                      <a:pt x="348" y="31"/>
                      <a:pt x="317" y="0"/>
                      <a:pt x="278" y="0"/>
                    </a:cubicBezTo>
                    <a:close/>
                    <a:moveTo>
                      <a:pt x="130" y="63"/>
                    </a:moveTo>
                    <a:cubicBezTo>
                      <a:pt x="169" y="63"/>
                      <a:pt x="169" y="63"/>
                      <a:pt x="169" y="63"/>
                    </a:cubicBezTo>
                    <a:cubicBezTo>
                      <a:pt x="173" y="49"/>
                      <a:pt x="185" y="38"/>
                      <a:pt x="200" y="38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7" y="0"/>
                      <a:pt x="217" y="0"/>
                      <a:pt x="217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164" y="0"/>
                      <a:pt x="134" y="27"/>
                      <a:pt x="130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7" name="Freeform 16"/>
              <p:cNvSpPr/>
              <p:nvPr/>
            </p:nvSpPr>
            <p:spPr bwMode="auto">
              <a:xfrm>
                <a:off x="9563101" y="-2147888"/>
                <a:ext cx="211138" cy="44450"/>
              </a:xfrm>
              <a:custGeom>
                <a:avLst/>
                <a:gdLst>
                  <a:gd name="T0" fmla="*/ 2147483646 w 56"/>
                  <a:gd name="T1" fmla="*/ 2147483646 h 12"/>
                  <a:gd name="T2" fmla="*/ 0 w 56"/>
                  <a:gd name="T3" fmla="*/ 2147483646 h 12"/>
                  <a:gd name="T4" fmla="*/ 0 w 56"/>
                  <a:gd name="T5" fmla="*/ 2147483646 h 12"/>
                  <a:gd name="T6" fmla="*/ 2147483646 w 56"/>
                  <a:gd name="T7" fmla="*/ 0 h 12"/>
                  <a:gd name="T8" fmla="*/ 2147483646 w 56"/>
                  <a:gd name="T9" fmla="*/ 0 h 12"/>
                  <a:gd name="T10" fmla="*/ 2147483646 w 56"/>
                  <a:gd name="T11" fmla="*/ 2147483646 h 12"/>
                  <a:gd name="T12" fmla="*/ 2147483646 w 56"/>
                  <a:gd name="T13" fmla="*/ 2147483646 h 12"/>
                  <a:gd name="T14" fmla="*/ 2147483646 w 56"/>
                  <a:gd name="T15" fmla="*/ 2147483646 h 12"/>
                  <a:gd name="T16" fmla="*/ 2147483646 w 56"/>
                  <a:gd name="T17" fmla="*/ 2147483646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6" h="12">
                    <a:moveTo>
                      <a:pt x="3" y="12"/>
                    </a:moveTo>
                    <a:cubicBezTo>
                      <a:pt x="1" y="12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1" y="0"/>
                      <a:pt x="3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4" y="0"/>
                      <a:pt x="56" y="3"/>
                      <a:pt x="56" y="6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6" y="9"/>
                      <a:pt x="54" y="12"/>
                      <a:pt x="52" y="12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8" name="Freeform 17"/>
              <p:cNvSpPr/>
              <p:nvPr/>
            </p:nvSpPr>
            <p:spPr bwMode="auto">
              <a:xfrm>
                <a:off x="9091613" y="-1169988"/>
                <a:ext cx="44450" cy="203200"/>
              </a:xfrm>
              <a:custGeom>
                <a:avLst/>
                <a:gdLst>
                  <a:gd name="T0" fmla="*/ 2147483646 w 12"/>
                  <a:gd name="T1" fmla="*/ 2147483646 h 54"/>
                  <a:gd name="T2" fmla="*/ 2147483646 w 12"/>
                  <a:gd name="T3" fmla="*/ 2147483646 h 54"/>
                  <a:gd name="T4" fmla="*/ 2147483646 w 12"/>
                  <a:gd name="T5" fmla="*/ 2147483646 h 54"/>
                  <a:gd name="T6" fmla="*/ 0 w 12"/>
                  <a:gd name="T7" fmla="*/ 2147483646 h 54"/>
                  <a:gd name="T8" fmla="*/ 0 w 12"/>
                  <a:gd name="T9" fmla="*/ 2147483646 h 54"/>
                  <a:gd name="T10" fmla="*/ 2147483646 w 12"/>
                  <a:gd name="T11" fmla="*/ 0 h 54"/>
                  <a:gd name="T12" fmla="*/ 2147483646 w 12"/>
                  <a:gd name="T13" fmla="*/ 0 h 54"/>
                  <a:gd name="T14" fmla="*/ 2147483646 w 12"/>
                  <a:gd name="T15" fmla="*/ 2147483646 h 54"/>
                  <a:gd name="T16" fmla="*/ 2147483646 w 12"/>
                  <a:gd name="T17" fmla="*/ 2147483646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54">
                    <a:moveTo>
                      <a:pt x="12" y="48"/>
                    </a:moveTo>
                    <a:cubicBezTo>
                      <a:pt x="12" y="51"/>
                      <a:pt x="9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3" y="54"/>
                      <a:pt x="0" y="51"/>
                      <a:pt x="0" y="4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lnTo>
                      <a:pt x="12" y="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9" name="Freeform 18"/>
              <p:cNvSpPr>
                <a:spLocks noEditPoints="1"/>
              </p:cNvSpPr>
              <p:nvPr/>
            </p:nvSpPr>
            <p:spPr bwMode="auto">
              <a:xfrm>
                <a:off x="9193213" y="-1458913"/>
                <a:ext cx="347663" cy="346075"/>
              </a:xfrm>
              <a:custGeom>
                <a:avLst/>
                <a:gdLst>
                  <a:gd name="T0" fmla="*/ 2147483646 w 93"/>
                  <a:gd name="T1" fmla="*/ 0 h 92"/>
                  <a:gd name="T2" fmla="*/ 2147483646 w 93"/>
                  <a:gd name="T3" fmla="*/ 2147483646 h 92"/>
                  <a:gd name="T4" fmla="*/ 0 w 93"/>
                  <a:gd name="T5" fmla="*/ 2147483646 h 92"/>
                  <a:gd name="T6" fmla="*/ 2147483646 w 93"/>
                  <a:gd name="T7" fmla="*/ 2147483646 h 92"/>
                  <a:gd name="T8" fmla="*/ 2147483646 w 93"/>
                  <a:gd name="T9" fmla="*/ 2147483646 h 92"/>
                  <a:gd name="T10" fmla="*/ 2147483646 w 93"/>
                  <a:gd name="T11" fmla="*/ 2147483646 h 92"/>
                  <a:gd name="T12" fmla="*/ 2147483646 w 93"/>
                  <a:gd name="T13" fmla="*/ 0 h 92"/>
                  <a:gd name="T14" fmla="*/ 2147483646 w 93"/>
                  <a:gd name="T15" fmla="*/ 2147483646 h 92"/>
                  <a:gd name="T16" fmla="*/ 2147483646 w 93"/>
                  <a:gd name="T17" fmla="*/ 2147483646 h 92"/>
                  <a:gd name="T18" fmla="*/ 2147483646 w 93"/>
                  <a:gd name="T19" fmla="*/ 2147483646 h 92"/>
                  <a:gd name="T20" fmla="*/ 2147483646 w 93"/>
                  <a:gd name="T21" fmla="*/ 2147483646 h 92"/>
                  <a:gd name="T22" fmla="*/ 2147483646 w 93"/>
                  <a:gd name="T23" fmla="*/ 2147483646 h 92"/>
                  <a:gd name="T24" fmla="*/ 2147483646 w 93"/>
                  <a:gd name="T25" fmla="*/ 2147483646 h 92"/>
                  <a:gd name="T26" fmla="*/ 2147483646 w 93"/>
                  <a:gd name="T27" fmla="*/ 2147483646 h 92"/>
                  <a:gd name="T28" fmla="*/ 2147483646 w 93"/>
                  <a:gd name="T29" fmla="*/ 2147483646 h 92"/>
                  <a:gd name="T30" fmla="*/ 2147483646 w 93"/>
                  <a:gd name="T31" fmla="*/ 2147483646 h 92"/>
                  <a:gd name="T32" fmla="*/ 2147483646 w 93"/>
                  <a:gd name="T33" fmla="*/ 2147483646 h 92"/>
                  <a:gd name="T34" fmla="*/ 2147483646 w 93"/>
                  <a:gd name="T35" fmla="*/ 2147483646 h 92"/>
                  <a:gd name="T36" fmla="*/ 2147483646 w 93"/>
                  <a:gd name="T37" fmla="*/ 2147483646 h 92"/>
                  <a:gd name="T38" fmla="*/ 2147483646 w 93"/>
                  <a:gd name="T39" fmla="*/ 2147483646 h 92"/>
                  <a:gd name="T40" fmla="*/ 2147483646 w 93"/>
                  <a:gd name="T41" fmla="*/ 2147483646 h 92"/>
                  <a:gd name="T42" fmla="*/ 2147483646 w 93"/>
                  <a:gd name="T43" fmla="*/ 2147483646 h 92"/>
                  <a:gd name="T44" fmla="*/ 2147483646 w 93"/>
                  <a:gd name="T45" fmla="*/ 2147483646 h 92"/>
                  <a:gd name="T46" fmla="*/ 2147483646 w 93"/>
                  <a:gd name="T47" fmla="*/ 2147483646 h 92"/>
                  <a:gd name="T48" fmla="*/ 2147483646 w 93"/>
                  <a:gd name="T49" fmla="*/ 2147483646 h 92"/>
                  <a:gd name="T50" fmla="*/ 2147483646 w 93"/>
                  <a:gd name="T51" fmla="*/ 2147483646 h 92"/>
                  <a:gd name="T52" fmla="*/ 2147483646 w 93"/>
                  <a:gd name="T53" fmla="*/ 2147483646 h 9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93" h="92">
                    <a:moveTo>
                      <a:pt x="47" y="0"/>
                    </a:moveTo>
                    <a:cubicBezTo>
                      <a:pt x="34" y="0"/>
                      <a:pt x="23" y="5"/>
                      <a:pt x="14" y="13"/>
                    </a:cubicBezTo>
                    <a:cubicBezTo>
                      <a:pt x="5" y="22"/>
                      <a:pt x="0" y="34"/>
                      <a:pt x="0" y="46"/>
                    </a:cubicBezTo>
                    <a:cubicBezTo>
                      <a:pt x="0" y="71"/>
                      <a:pt x="21" y="92"/>
                      <a:pt x="47" y="92"/>
                    </a:cubicBezTo>
                    <a:cubicBezTo>
                      <a:pt x="59" y="92"/>
                      <a:pt x="70" y="87"/>
                      <a:pt x="79" y="79"/>
                    </a:cubicBezTo>
                    <a:cubicBezTo>
                      <a:pt x="88" y="70"/>
                      <a:pt x="93" y="58"/>
                      <a:pt x="93" y="46"/>
                    </a:cubicBezTo>
                    <a:cubicBezTo>
                      <a:pt x="93" y="20"/>
                      <a:pt x="72" y="0"/>
                      <a:pt x="47" y="0"/>
                    </a:cubicBezTo>
                    <a:close/>
                    <a:moveTo>
                      <a:pt x="67" y="20"/>
                    </a:moveTo>
                    <a:cubicBezTo>
                      <a:pt x="47" y="38"/>
                      <a:pt x="47" y="38"/>
                      <a:pt x="47" y="38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33" y="15"/>
                      <a:pt x="40" y="13"/>
                      <a:pt x="47" y="13"/>
                    </a:cubicBezTo>
                    <a:cubicBezTo>
                      <a:pt x="54" y="13"/>
                      <a:pt x="61" y="15"/>
                      <a:pt x="67" y="20"/>
                    </a:cubicBezTo>
                    <a:close/>
                    <a:moveTo>
                      <a:pt x="13" y="46"/>
                    </a:moveTo>
                    <a:cubicBezTo>
                      <a:pt x="13" y="38"/>
                      <a:pt x="16" y="31"/>
                      <a:pt x="20" y="26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5" y="59"/>
                      <a:pt x="13" y="53"/>
                      <a:pt x="13" y="46"/>
                    </a:cubicBezTo>
                    <a:close/>
                    <a:moveTo>
                      <a:pt x="26" y="72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65" y="74"/>
                      <a:pt x="65" y="74"/>
                      <a:pt x="65" y="74"/>
                    </a:cubicBezTo>
                    <a:cubicBezTo>
                      <a:pt x="60" y="77"/>
                      <a:pt x="53" y="79"/>
                      <a:pt x="47" y="79"/>
                    </a:cubicBezTo>
                    <a:cubicBezTo>
                      <a:pt x="39" y="79"/>
                      <a:pt x="32" y="77"/>
                      <a:pt x="26" y="72"/>
                    </a:cubicBezTo>
                    <a:close/>
                    <a:moveTo>
                      <a:pt x="73" y="66"/>
                    </a:moveTo>
                    <a:cubicBezTo>
                      <a:pt x="54" y="46"/>
                      <a:pt x="54" y="46"/>
                      <a:pt x="54" y="46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8" y="33"/>
                      <a:pt x="80" y="39"/>
                      <a:pt x="80" y="46"/>
                    </a:cubicBezTo>
                    <a:cubicBezTo>
                      <a:pt x="80" y="54"/>
                      <a:pt x="77" y="61"/>
                      <a:pt x="73" y="6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" name="组合 2"/>
          <p:cNvGrpSpPr/>
          <p:nvPr/>
        </p:nvGrpSpPr>
        <p:grpSpPr bwMode="auto">
          <a:xfrm>
            <a:off x="3387725" y="1189038"/>
            <a:ext cx="1263650" cy="1511300"/>
            <a:chOff x="3387650" y="1189646"/>
            <a:chExt cx="1264397" cy="1509923"/>
          </a:xfrm>
        </p:grpSpPr>
        <p:sp>
          <p:nvSpPr>
            <p:cNvPr id="142" name="矩形 141"/>
            <p:cNvSpPr/>
            <p:nvPr/>
          </p:nvSpPr>
          <p:spPr>
            <a:xfrm>
              <a:off x="3387650" y="1189646"/>
              <a:ext cx="1264397" cy="150992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矩形 30"/>
            <p:cNvSpPr/>
            <p:nvPr/>
          </p:nvSpPr>
          <p:spPr>
            <a:xfrm>
              <a:off x="3465484" y="1261018"/>
              <a:ext cx="1108730" cy="36955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7671" name="组合 139"/>
            <p:cNvGrpSpPr/>
            <p:nvPr/>
          </p:nvGrpSpPr>
          <p:grpSpPr bwMode="auto">
            <a:xfrm>
              <a:off x="3568322" y="1691560"/>
              <a:ext cx="903053" cy="903053"/>
              <a:chOff x="1763713" y="-2973388"/>
              <a:chExt cx="2576513" cy="2576513"/>
            </a:xfrm>
          </p:grpSpPr>
          <p:sp>
            <p:nvSpPr>
              <p:cNvPr id="29" name="Freeform 19"/>
              <p:cNvSpPr/>
              <p:nvPr/>
            </p:nvSpPr>
            <p:spPr bwMode="auto">
              <a:xfrm>
                <a:off x="1764883" y="-2975446"/>
                <a:ext cx="2574175" cy="2579358"/>
              </a:xfrm>
              <a:custGeom>
                <a:avLst/>
                <a:gdLst>
                  <a:gd name="T0" fmla="*/ 687 w 687"/>
                  <a:gd name="T1" fmla="*/ 625 h 687"/>
                  <a:gd name="T2" fmla="*/ 624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4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673" name="Freeform 20"/>
              <p:cNvSpPr/>
              <p:nvPr/>
            </p:nvSpPr>
            <p:spPr bwMode="auto">
              <a:xfrm>
                <a:off x="2135188" y="-2111375"/>
                <a:ext cx="2205038" cy="1714500"/>
              </a:xfrm>
              <a:custGeom>
                <a:avLst/>
                <a:gdLst>
                  <a:gd name="T0" fmla="*/ 2147483646 w 588"/>
                  <a:gd name="T1" fmla="*/ 2147483646 h 457"/>
                  <a:gd name="T2" fmla="*/ 2147483646 w 588"/>
                  <a:gd name="T3" fmla="*/ 2147483646 h 457"/>
                  <a:gd name="T4" fmla="*/ 2147483646 w 588"/>
                  <a:gd name="T5" fmla="*/ 2147483646 h 457"/>
                  <a:gd name="T6" fmla="*/ 2147483646 w 588"/>
                  <a:gd name="T7" fmla="*/ 2147483646 h 457"/>
                  <a:gd name="T8" fmla="*/ 2147483646 w 588"/>
                  <a:gd name="T9" fmla="*/ 2147483646 h 457"/>
                  <a:gd name="T10" fmla="*/ 2147483646 w 588"/>
                  <a:gd name="T11" fmla="*/ 2147483646 h 457"/>
                  <a:gd name="T12" fmla="*/ 2147483646 w 588"/>
                  <a:gd name="T13" fmla="*/ 0 h 457"/>
                  <a:gd name="T14" fmla="*/ 2147483646 w 588"/>
                  <a:gd name="T15" fmla="*/ 2147483646 h 457"/>
                  <a:gd name="T16" fmla="*/ 2147483646 w 588"/>
                  <a:gd name="T17" fmla="*/ 2147483646 h 457"/>
                  <a:gd name="T18" fmla="*/ 2147483646 w 588"/>
                  <a:gd name="T19" fmla="*/ 2147483646 h 457"/>
                  <a:gd name="T20" fmla="*/ 2147483646 w 588"/>
                  <a:gd name="T21" fmla="*/ 2147483646 h 457"/>
                  <a:gd name="T22" fmla="*/ 2147483646 w 588"/>
                  <a:gd name="T23" fmla="*/ 2147483646 h 457"/>
                  <a:gd name="T24" fmla="*/ 2147483646 w 588"/>
                  <a:gd name="T25" fmla="*/ 2147483646 h 457"/>
                  <a:gd name="T26" fmla="*/ 0 w 588"/>
                  <a:gd name="T27" fmla="*/ 2147483646 h 457"/>
                  <a:gd name="T28" fmla="*/ 2147483646 w 588"/>
                  <a:gd name="T29" fmla="*/ 2147483646 h 457"/>
                  <a:gd name="T30" fmla="*/ 2147483646 w 588"/>
                  <a:gd name="T31" fmla="*/ 2147483646 h 457"/>
                  <a:gd name="T32" fmla="*/ 2147483646 w 588"/>
                  <a:gd name="T33" fmla="*/ 2147483646 h 457"/>
                  <a:gd name="T34" fmla="*/ 2147483646 w 588"/>
                  <a:gd name="T35" fmla="*/ 2147483646 h 45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88" h="457">
                    <a:moveTo>
                      <a:pt x="588" y="265"/>
                    </a:moveTo>
                    <a:cubicBezTo>
                      <a:pt x="326" y="4"/>
                      <a:pt x="326" y="4"/>
                      <a:pt x="326" y="4"/>
                    </a:cubicBezTo>
                    <a:cubicBezTo>
                      <a:pt x="307" y="38"/>
                      <a:pt x="307" y="38"/>
                      <a:pt x="307" y="38"/>
                    </a:cubicBezTo>
                    <a:cubicBezTo>
                      <a:pt x="309" y="88"/>
                      <a:pt x="309" y="88"/>
                      <a:pt x="309" y="88"/>
                    </a:cubicBezTo>
                    <a:cubicBezTo>
                      <a:pt x="262" y="37"/>
                      <a:pt x="262" y="37"/>
                      <a:pt x="262" y="37"/>
                    </a:cubicBezTo>
                    <a:cubicBezTo>
                      <a:pt x="247" y="52"/>
                      <a:pt x="247" y="52"/>
                      <a:pt x="247" y="52"/>
                    </a:cubicBezTo>
                    <a:cubicBezTo>
                      <a:pt x="194" y="0"/>
                      <a:pt x="194" y="0"/>
                      <a:pt x="194" y="0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74" y="82"/>
                      <a:pt x="74" y="82"/>
                      <a:pt x="74" y="82"/>
                    </a:cubicBezTo>
                    <a:cubicBezTo>
                      <a:pt x="15" y="218"/>
                      <a:pt x="15" y="218"/>
                      <a:pt x="15" y="218"/>
                    </a:cubicBezTo>
                    <a:cubicBezTo>
                      <a:pt x="42" y="245"/>
                      <a:pt x="42" y="245"/>
                      <a:pt x="42" y="245"/>
                    </a:cubicBezTo>
                    <a:cubicBezTo>
                      <a:pt x="42" y="245"/>
                      <a:pt x="17" y="258"/>
                      <a:pt x="10" y="259"/>
                    </a:cubicBezTo>
                    <a:cubicBezTo>
                      <a:pt x="3" y="259"/>
                      <a:pt x="0" y="327"/>
                      <a:pt x="0" y="327"/>
                    </a:cubicBezTo>
                    <a:cubicBezTo>
                      <a:pt x="130" y="457"/>
                      <a:pt x="130" y="457"/>
                      <a:pt x="130" y="457"/>
                    </a:cubicBezTo>
                    <a:cubicBezTo>
                      <a:pt x="525" y="457"/>
                      <a:pt x="525" y="457"/>
                      <a:pt x="525" y="457"/>
                    </a:cubicBezTo>
                    <a:cubicBezTo>
                      <a:pt x="560" y="457"/>
                      <a:pt x="588" y="429"/>
                      <a:pt x="588" y="395"/>
                    </a:cubicBezTo>
                    <a:lnTo>
                      <a:pt x="588" y="265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4" name="Freeform 21"/>
              <p:cNvSpPr>
                <a:spLocks noEditPoints="1"/>
              </p:cNvSpPr>
              <p:nvPr/>
            </p:nvSpPr>
            <p:spPr bwMode="auto">
              <a:xfrm>
                <a:off x="3054351" y="-2106613"/>
                <a:ext cx="322263" cy="528638"/>
              </a:xfrm>
              <a:custGeom>
                <a:avLst/>
                <a:gdLst>
                  <a:gd name="T0" fmla="*/ 2147483646 w 86"/>
                  <a:gd name="T1" fmla="*/ 2147483646 h 141"/>
                  <a:gd name="T2" fmla="*/ 2147483646 w 86"/>
                  <a:gd name="T3" fmla="*/ 0 h 141"/>
                  <a:gd name="T4" fmla="*/ 2147483646 w 86"/>
                  <a:gd name="T5" fmla="*/ 2147483646 h 141"/>
                  <a:gd name="T6" fmla="*/ 2147483646 w 86"/>
                  <a:gd name="T7" fmla="*/ 2147483646 h 141"/>
                  <a:gd name="T8" fmla="*/ 2147483646 w 86"/>
                  <a:gd name="T9" fmla="*/ 2147483646 h 141"/>
                  <a:gd name="T10" fmla="*/ 2147483646 w 86"/>
                  <a:gd name="T11" fmla="*/ 2147483646 h 141"/>
                  <a:gd name="T12" fmla="*/ 2147483646 w 86"/>
                  <a:gd name="T13" fmla="*/ 2147483646 h 141"/>
                  <a:gd name="T14" fmla="*/ 2147483646 w 86"/>
                  <a:gd name="T15" fmla="*/ 2147483646 h 141"/>
                  <a:gd name="T16" fmla="*/ 2147483646 w 86"/>
                  <a:gd name="T17" fmla="*/ 2147483646 h 141"/>
                  <a:gd name="T18" fmla="*/ 2147483646 w 86"/>
                  <a:gd name="T19" fmla="*/ 2147483646 h 141"/>
                  <a:gd name="T20" fmla="*/ 2147483646 w 86"/>
                  <a:gd name="T21" fmla="*/ 2147483646 h 141"/>
                  <a:gd name="T22" fmla="*/ 2147483646 w 86"/>
                  <a:gd name="T23" fmla="*/ 2147483646 h 141"/>
                  <a:gd name="T24" fmla="*/ 2147483646 w 86"/>
                  <a:gd name="T25" fmla="*/ 2147483646 h 141"/>
                  <a:gd name="T26" fmla="*/ 2147483646 w 86"/>
                  <a:gd name="T27" fmla="*/ 2147483646 h 141"/>
                  <a:gd name="T28" fmla="*/ 2147483646 w 86"/>
                  <a:gd name="T29" fmla="*/ 2147483646 h 141"/>
                  <a:gd name="T30" fmla="*/ 2147483646 w 86"/>
                  <a:gd name="T31" fmla="*/ 2147483646 h 141"/>
                  <a:gd name="T32" fmla="*/ 2147483646 w 86"/>
                  <a:gd name="T33" fmla="*/ 2147483646 h 141"/>
                  <a:gd name="T34" fmla="*/ 2147483646 w 86"/>
                  <a:gd name="T35" fmla="*/ 2147483646 h 141"/>
                  <a:gd name="T36" fmla="*/ 2147483646 w 86"/>
                  <a:gd name="T37" fmla="*/ 2147483646 h 141"/>
                  <a:gd name="T38" fmla="*/ 2147483646 w 86"/>
                  <a:gd name="T39" fmla="*/ 2147483646 h 141"/>
                  <a:gd name="T40" fmla="*/ 0 w 86"/>
                  <a:gd name="T41" fmla="*/ 2147483646 h 141"/>
                  <a:gd name="T42" fmla="*/ 2147483646 w 86"/>
                  <a:gd name="T43" fmla="*/ 2147483646 h 141"/>
                  <a:gd name="T44" fmla="*/ 2147483646 w 86"/>
                  <a:gd name="T45" fmla="*/ 2147483646 h 141"/>
                  <a:gd name="T46" fmla="*/ 2147483646 w 86"/>
                  <a:gd name="T47" fmla="*/ 2147483646 h 141"/>
                  <a:gd name="T48" fmla="*/ 2147483646 w 86"/>
                  <a:gd name="T49" fmla="*/ 2147483646 h 141"/>
                  <a:gd name="T50" fmla="*/ 2147483646 w 86"/>
                  <a:gd name="T51" fmla="*/ 2147483646 h 141"/>
                  <a:gd name="T52" fmla="*/ 2147483646 w 86"/>
                  <a:gd name="T53" fmla="*/ 2147483646 h 141"/>
                  <a:gd name="T54" fmla="*/ 2147483646 w 86"/>
                  <a:gd name="T55" fmla="*/ 2147483646 h 141"/>
                  <a:gd name="T56" fmla="*/ 2147483646 w 86"/>
                  <a:gd name="T57" fmla="*/ 2147483646 h 141"/>
                  <a:gd name="T58" fmla="*/ 2147483646 w 86"/>
                  <a:gd name="T59" fmla="*/ 2147483646 h 141"/>
                  <a:gd name="T60" fmla="*/ 2147483646 w 86"/>
                  <a:gd name="T61" fmla="*/ 2147483646 h 141"/>
                  <a:gd name="T62" fmla="*/ 2147483646 w 86"/>
                  <a:gd name="T63" fmla="*/ 2147483646 h 141"/>
                  <a:gd name="T64" fmla="*/ 2147483646 w 86"/>
                  <a:gd name="T65" fmla="*/ 2147483646 h 141"/>
                  <a:gd name="T66" fmla="*/ 2147483646 w 86"/>
                  <a:gd name="T67" fmla="*/ 2147483646 h 141"/>
                  <a:gd name="T68" fmla="*/ 2147483646 w 86"/>
                  <a:gd name="T69" fmla="*/ 2147483646 h 14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86" h="141">
                    <a:moveTo>
                      <a:pt x="83" y="4"/>
                    </a:moveTo>
                    <a:cubicBezTo>
                      <a:pt x="74" y="0"/>
                      <a:pt x="74" y="0"/>
                      <a:pt x="74" y="0"/>
                    </a:cubicBezTo>
                    <a:cubicBezTo>
                      <a:pt x="72" y="0"/>
                      <a:pt x="70" y="1"/>
                      <a:pt x="69" y="3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6" y="37"/>
                      <a:pt x="56" y="38"/>
                      <a:pt x="56" y="39"/>
                    </a:cubicBezTo>
                    <a:cubicBezTo>
                      <a:pt x="56" y="135"/>
                      <a:pt x="56" y="135"/>
                      <a:pt x="56" y="135"/>
                    </a:cubicBezTo>
                    <a:cubicBezTo>
                      <a:pt x="56" y="137"/>
                      <a:pt x="57" y="139"/>
                      <a:pt x="59" y="139"/>
                    </a:cubicBezTo>
                    <a:cubicBezTo>
                      <a:pt x="60" y="139"/>
                      <a:pt x="60" y="139"/>
                      <a:pt x="60" y="139"/>
                    </a:cubicBezTo>
                    <a:cubicBezTo>
                      <a:pt x="60" y="140"/>
                      <a:pt x="61" y="141"/>
                      <a:pt x="63" y="141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4" y="140"/>
                      <a:pt x="64" y="140"/>
                      <a:pt x="64" y="139"/>
                    </a:cubicBezTo>
                    <a:cubicBezTo>
                      <a:pt x="69" y="139"/>
                      <a:pt x="69" y="139"/>
                      <a:pt x="69" y="139"/>
                    </a:cubicBezTo>
                    <a:cubicBezTo>
                      <a:pt x="71" y="139"/>
                      <a:pt x="72" y="137"/>
                      <a:pt x="72" y="135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86" y="7"/>
                      <a:pt x="85" y="5"/>
                      <a:pt x="83" y="4"/>
                    </a:cubicBezTo>
                    <a:close/>
                    <a:moveTo>
                      <a:pt x="35" y="56"/>
                    </a:moveTo>
                    <a:cubicBezTo>
                      <a:pt x="27" y="46"/>
                      <a:pt x="27" y="46"/>
                      <a:pt x="27" y="46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6" y="104"/>
                      <a:pt x="6" y="104"/>
                      <a:pt x="6" y="104"/>
                    </a:cubicBezTo>
                    <a:cubicBezTo>
                      <a:pt x="30" y="104"/>
                      <a:pt x="30" y="104"/>
                      <a:pt x="30" y="104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5" y="56"/>
                      <a:pt x="25" y="56"/>
                      <a:pt x="25" y="56"/>
                    </a:cubicBezTo>
                    <a:lnTo>
                      <a:pt x="35" y="56"/>
                    </a:lnTo>
                    <a:close/>
                    <a:moveTo>
                      <a:pt x="22" y="65"/>
                    </a:move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22" y="56"/>
                      <a:pt x="22" y="56"/>
                      <a:pt x="22" y="56"/>
                    </a:cubicBezTo>
                    <a:lnTo>
                      <a:pt x="22" y="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5" name="Freeform 22"/>
              <p:cNvSpPr>
                <a:spLocks noEditPoints="1"/>
              </p:cNvSpPr>
              <p:nvPr/>
            </p:nvSpPr>
            <p:spPr bwMode="auto">
              <a:xfrm>
                <a:off x="2082801" y="-1217613"/>
                <a:ext cx="1552575" cy="427038"/>
              </a:xfrm>
              <a:custGeom>
                <a:avLst/>
                <a:gdLst>
                  <a:gd name="T0" fmla="*/ 2147483646 w 414"/>
                  <a:gd name="T1" fmla="*/ 0 h 114"/>
                  <a:gd name="T2" fmla="*/ 2147483646 w 414"/>
                  <a:gd name="T3" fmla="*/ 0 h 114"/>
                  <a:gd name="T4" fmla="*/ 0 w 414"/>
                  <a:gd name="T5" fmla="*/ 2147483646 h 114"/>
                  <a:gd name="T6" fmla="*/ 2147483646 w 414"/>
                  <a:gd name="T7" fmla="*/ 2147483646 h 114"/>
                  <a:gd name="T8" fmla="*/ 2147483646 w 414"/>
                  <a:gd name="T9" fmla="*/ 2147483646 h 114"/>
                  <a:gd name="T10" fmla="*/ 2147483646 w 414"/>
                  <a:gd name="T11" fmla="*/ 2147483646 h 114"/>
                  <a:gd name="T12" fmla="*/ 2147483646 w 414"/>
                  <a:gd name="T13" fmla="*/ 0 h 114"/>
                  <a:gd name="T14" fmla="*/ 2147483646 w 414"/>
                  <a:gd name="T15" fmla="*/ 2147483646 h 114"/>
                  <a:gd name="T16" fmla="*/ 2147483646 w 414"/>
                  <a:gd name="T17" fmla="*/ 2147483646 h 114"/>
                  <a:gd name="T18" fmla="*/ 2147483646 w 414"/>
                  <a:gd name="T19" fmla="*/ 2147483646 h 114"/>
                  <a:gd name="T20" fmla="*/ 2147483646 w 414"/>
                  <a:gd name="T21" fmla="*/ 2147483646 h 114"/>
                  <a:gd name="T22" fmla="*/ 2147483646 w 414"/>
                  <a:gd name="T23" fmla="*/ 2147483646 h 114"/>
                  <a:gd name="T24" fmla="*/ 2147483646 w 414"/>
                  <a:gd name="T25" fmla="*/ 2147483646 h 114"/>
                  <a:gd name="T26" fmla="*/ 2147483646 w 414"/>
                  <a:gd name="T27" fmla="*/ 2147483646 h 114"/>
                  <a:gd name="T28" fmla="*/ 2147483646 w 414"/>
                  <a:gd name="T29" fmla="*/ 2147483646 h 114"/>
                  <a:gd name="T30" fmla="*/ 2147483646 w 414"/>
                  <a:gd name="T31" fmla="*/ 2147483646 h 11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14" h="114">
                    <a:moveTo>
                      <a:pt x="359" y="0"/>
                    </a:moveTo>
                    <a:cubicBezTo>
                      <a:pt x="55" y="0"/>
                      <a:pt x="55" y="0"/>
                      <a:pt x="55" y="0"/>
                    </a:cubicBezTo>
                    <a:cubicBezTo>
                      <a:pt x="24" y="0"/>
                      <a:pt x="0" y="26"/>
                      <a:pt x="0" y="57"/>
                    </a:cubicBezTo>
                    <a:cubicBezTo>
                      <a:pt x="0" y="89"/>
                      <a:pt x="24" y="114"/>
                      <a:pt x="55" y="114"/>
                    </a:cubicBezTo>
                    <a:cubicBezTo>
                      <a:pt x="359" y="114"/>
                      <a:pt x="359" y="114"/>
                      <a:pt x="359" y="114"/>
                    </a:cubicBezTo>
                    <a:cubicBezTo>
                      <a:pt x="389" y="114"/>
                      <a:pt x="414" y="89"/>
                      <a:pt x="414" y="57"/>
                    </a:cubicBezTo>
                    <a:cubicBezTo>
                      <a:pt x="414" y="26"/>
                      <a:pt x="389" y="0"/>
                      <a:pt x="359" y="0"/>
                    </a:cubicBezTo>
                    <a:close/>
                    <a:moveTo>
                      <a:pt x="382" y="82"/>
                    </a:moveTo>
                    <a:cubicBezTo>
                      <a:pt x="376" y="88"/>
                      <a:pt x="367" y="92"/>
                      <a:pt x="359" y="92"/>
                    </a:cubicBezTo>
                    <a:cubicBezTo>
                      <a:pt x="55" y="92"/>
                      <a:pt x="55" y="92"/>
                      <a:pt x="55" y="92"/>
                    </a:cubicBezTo>
                    <a:cubicBezTo>
                      <a:pt x="37" y="92"/>
                      <a:pt x="22" y="76"/>
                      <a:pt x="22" y="57"/>
                    </a:cubicBezTo>
                    <a:cubicBezTo>
                      <a:pt x="22" y="38"/>
                      <a:pt x="37" y="23"/>
                      <a:pt x="55" y="23"/>
                    </a:cubicBezTo>
                    <a:cubicBezTo>
                      <a:pt x="359" y="23"/>
                      <a:pt x="359" y="23"/>
                      <a:pt x="359" y="23"/>
                    </a:cubicBezTo>
                    <a:cubicBezTo>
                      <a:pt x="367" y="23"/>
                      <a:pt x="376" y="26"/>
                      <a:pt x="382" y="33"/>
                    </a:cubicBezTo>
                    <a:cubicBezTo>
                      <a:pt x="388" y="39"/>
                      <a:pt x="392" y="48"/>
                      <a:pt x="392" y="57"/>
                    </a:cubicBezTo>
                    <a:cubicBezTo>
                      <a:pt x="392" y="67"/>
                      <a:pt x="388" y="76"/>
                      <a:pt x="382" y="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6" name="Freeform 23"/>
              <p:cNvSpPr/>
              <p:nvPr/>
            </p:nvSpPr>
            <p:spPr bwMode="auto">
              <a:xfrm>
                <a:off x="3571876" y="-1068388"/>
                <a:ext cx="280988" cy="184150"/>
              </a:xfrm>
              <a:custGeom>
                <a:avLst/>
                <a:gdLst>
                  <a:gd name="T0" fmla="*/ 2147483646 w 177"/>
                  <a:gd name="T1" fmla="*/ 2147483646 h 116"/>
                  <a:gd name="T2" fmla="*/ 0 w 177"/>
                  <a:gd name="T3" fmla="*/ 2147483646 h 116"/>
                  <a:gd name="T4" fmla="*/ 2147483646 w 177"/>
                  <a:gd name="T5" fmla="*/ 0 h 116"/>
                  <a:gd name="T6" fmla="*/ 2147483646 w 177"/>
                  <a:gd name="T7" fmla="*/ 2147483646 h 116"/>
                  <a:gd name="T8" fmla="*/ 2147483646 w 177"/>
                  <a:gd name="T9" fmla="*/ 2147483646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7" h="116">
                    <a:moveTo>
                      <a:pt x="167" y="116"/>
                    </a:moveTo>
                    <a:lnTo>
                      <a:pt x="0" y="87"/>
                    </a:lnTo>
                    <a:lnTo>
                      <a:pt x="9" y="0"/>
                    </a:lnTo>
                    <a:lnTo>
                      <a:pt x="177" y="17"/>
                    </a:lnTo>
                    <a:lnTo>
                      <a:pt x="167" y="1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7" name="Freeform 24"/>
              <p:cNvSpPr/>
              <p:nvPr/>
            </p:nvSpPr>
            <p:spPr bwMode="auto">
              <a:xfrm>
                <a:off x="3748088" y="-1447800"/>
                <a:ext cx="471488" cy="665163"/>
              </a:xfrm>
              <a:custGeom>
                <a:avLst/>
                <a:gdLst>
                  <a:gd name="T0" fmla="*/ 2147483646 w 126"/>
                  <a:gd name="T1" fmla="*/ 2147483646 h 177"/>
                  <a:gd name="T2" fmla="*/ 2147483646 w 126"/>
                  <a:gd name="T3" fmla="*/ 2147483646 h 177"/>
                  <a:gd name="T4" fmla="*/ 2147483646 w 126"/>
                  <a:gd name="T5" fmla="*/ 0 h 177"/>
                  <a:gd name="T6" fmla="*/ 2147483646 w 126"/>
                  <a:gd name="T7" fmla="*/ 2147483646 h 177"/>
                  <a:gd name="T8" fmla="*/ 0 w 126"/>
                  <a:gd name="T9" fmla="*/ 2147483646 h 177"/>
                  <a:gd name="T10" fmla="*/ 2147483646 w 126"/>
                  <a:gd name="T11" fmla="*/ 2147483646 h 177"/>
                  <a:gd name="T12" fmla="*/ 2147483646 w 126"/>
                  <a:gd name="T13" fmla="*/ 2147483646 h 1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77">
                    <a:moveTo>
                      <a:pt x="126" y="177"/>
                    </a:moveTo>
                    <a:cubicBezTo>
                      <a:pt x="75" y="145"/>
                      <a:pt x="75" y="145"/>
                      <a:pt x="75" y="14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1" y="0"/>
                      <a:pt x="1" y="1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30" y="177"/>
                      <a:pt x="30" y="177"/>
                      <a:pt x="30" y="177"/>
                    </a:cubicBezTo>
                    <a:lnTo>
                      <a:pt x="126" y="1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8" name="Freeform 25"/>
              <p:cNvSpPr>
                <a:spLocks noEditPoints="1"/>
              </p:cNvSpPr>
              <p:nvPr/>
            </p:nvSpPr>
            <p:spPr bwMode="auto">
              <a:xfrm>
                <a:off x="2192338" y="-2128838"/>
                <a:ext cx="1371600" cy="854075"/>
              </a:xfrm>
              <a:custGeom>
                <a:avLst/>
                <a:gdLst>
                  <a:gd name="T0" fmla="*/ 2147483646 w 366"/>
                  <a:gd name="T1" fmla="*/ 2147483646 h 228"/>
                  <a:gd name="T2" fmla="*/ 2147483646 w 366"/>
                  <a:gd name="T3" fmla="*/ 2147483646 h 228"/>
                  <a:gd name="T4" fmla="*/ 2147483646 w 366"/>
                  <a:gd name="T5" fmla="*/ 2147483646 h 228"/>
                  <a:gd name="T6" fmla="*/ 2147483646 w 366"/>
                  <a:gd name="T7" fmla="*/ 0 h 228"/>
                  <a:gd name="T8" fmla="*/ 2147483646 w 366"/>
                  <a:gd name="T9" fmla="*/ 0 h 228"/>
                  <a:gd name="T10" fmla="*/ 2147483646 w 366"/>
                  <a:gd name="T11" fmla="*/ 2147483646 h 228"/>
                  <a:gd name="T12" fmla="*/ 2147483646 w 366"/>
                  <a:gd name="T13" fmla="*/ 2147483646 h 228"/>
                  <a:gd name="T14" fmla="*/ 2147483646 w 366"/>
                  <a:gd name="T15" fmla="*/ 2147483646 h 228"/>
                  <a:gd name="T16" fmla="*/ 2147483646 w 366"/>
                  <a:gd name="T17" fmla="*/ 2147483646 h 228"/>
                  <a:gd name="T18" fmla="*/ 2147483646 w 366"/>
                  <a:gd name="T19" fmla="*/ 2147483646 h 228"/>
                  <a:gd name="T20" fmla="*/ 2147483646 w 366"/>
                  <a:gd name="T21" fmla="*/ 2147483646 h 228"/>
                  <a:gd name="T22" fmla="*/ 2147483646 w 366"/>
                  <a:gd name="T23" fmla="*/ 2147483646 h 228"/>
                  <a:gd name="T24" fmla="*/ 0 w 366"/>
                  <a:gd name="T25" fmla="*/ 2147483646 h 228"/>
                  <a:gd name="T26" fmla="*/ 2147483646 w 366"/>
                  <a:gd name="T27" fmla="*/ 2147483646 h 228"/>
                  <a:gd name="T28" fmla="*/ 2147483646 w 366"/>
                  <a:gd name="T29" fmla="*/ 2147483646 h 228"/>
                  <a:gd name="T30" fmla="*/ 2147483646 w 366"/>
                  <a:gd name="T31" fmla="*/ 2147483646 h 228"/>
                  <a:gd name="T32" fmla="*/ 2147483646 w 366"/>
                  <a:gd name="T33" fmla="*/ 2147483646 h 228"/>
                  <a:gd name="T34" fmla="*/ 2147483646 w 366"/>
                  <a:gd name="T35" fmla="*/ 2147483646 h 228"/>
                  <a:gd name="T36" fmla="*/ 2147483646 w 366"/>
                  <a:gd name="T37" fmla="*/ 2147483646 h 228"/>
                  <a:gd name="T38" fmla="*/ 2147483646 w 366"/>
                  <a:gd name="T39" fmla="*/ 2147483646 h 228"/>
                  <a:gd name="T40" fmla="*/ 2147483646 w 366"/>
                  <a:gd name="T41" fmla="*/ 2147483646 h 228"/>
                  <a:gd name="T42" fmla="*/ 2147483646 w 366"/>
                  <a:gd name="T43" fmla="*/ 2147483646 h 228"/>
                  <a:gd name="T44" fmla="*/ 2147483646 w 366"/>
                  <a:gd name="T45" fmla="*/ 2147483646 h 228"/>
                  <a:gd name="T46" fmla="*/ 2147483646 w 366"/>
                  <a:gd name="T47" fmla="*/ 2147483646 h 228"/>
                  <a:gd name="T48" fmla="*/ 2147483646 w 366"/>
                  <a:gd name="T49" fmla="*/ 2147483646 h 228"/>
                  <a:gd name="T50" fmla="*/ 2147483646 w 366"/>
                  <a:gd name="T51" fmla="*/ 2147483646 h 228"/>
                  <a:gd name="T52" fmla="*/ 2147483646 w 366"/>
                  <a:gd name="T53" fmla="*/ 2147483646 h 22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366" h="228">
                    <a:moveTo>
                      <a:pt x="349" y="102"/>
                    </a:moveTo>
                    <a:cubicBezTo>
                      <a:pt x="193" y="102"/>
                      <a:pt x="193" y="102"/>
                      <a:pt x="193" y="102"/>
                    </a:cubicBezTo>
                    <a:cubicBezTo>
                      <a:pt x="188" y="17"/>
                      <a:pt x="188" y="17"/>
                      <a:pt x="188" y="17"/>
                    </a:cubicBezTo>
                    <a:cubicBezTo>
                      <a:pt x="188" y="8"/>
                      <a:pt x="180" y="0"/>
                      <a:pt x="171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4" y="0"/>
                      <a:pt x="7" y="8"/>
                      <a:pt x="7" y="1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42" y="36"/>
                      <a:pt x="43" y="37"/>
                      <a:pt x="43" y="39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3"/>
                      <a:pt x="42" y="114"/>
                      <a:pt x="40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222"/>
                      <a:pt x="0" y="222"/>
                      <a:pt x="0" y="222"/>
                    </a:cubicBezTo>
                    <a:cubicBezTo>
                      <a:pt x="8" y="219"/>
                      <a:pt x="17" y="217"/>
                      <a:pt x="26" y="217"/>
                    </a:cubicBezTo>
                    <a:cubicBezTo>
                      <a:pt x="330" y="217"/>
                      <a:pt x="330" y="217"/>
                      <a:pt x="330" y="217"/>
                    </a:cubicBezTo>
                    <a:cubicBezTo>
                      <a:pt x="343" y="217"/>
                      <a:pt x="355" y="221"/>
                      <a:pt x="366" y="228"/>
                    </a:cubicBezTo>
                    <a:cubicBezTo>
                      <a:pt x="366" y="120"/>
                      <a:pt x="366" y="120"/>
                      <a:pt x="366" y="120"/>
                    </a:cubicBezTo>
                    <a:cubicBezTo>
                      <a:pt x="366" y="110"/>
                      <a:pt x="358" y="102"/>
                      <a:pt x="349" y="102"/>
                    </a:cubicBezTo>
                    <a:close/>
                    <a:moveTo>
                      <a:pt x="174" y="185"/>
                    </a:moveTo>
                    <a:cubicBezTo>
                      <a:pt x="81" y="185"/>
                      <a:pt x="81" y="185"/>
                      <a:pt x="81" y="185"/>
                    </a:cubicBezTo>
                    <a:cubicBezTo>
                      <a:pt x="79" y="185"/>
                      <a:pt x="77" y="183"/>
                      <a:pt x="77" y="181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7" y="28"/>
                      <a:pt x="79" y="27"/>
                      <a:pt x="81" y="27"/>
                    </a:cubicBezTo>
                    <a:cubicBezTo>
                      <a:pt x="162" y="27"/>
                      <a:pt x="162" y="27"/>
                      <a:pt x="162" y="27"/>
                    </a:cubicBezTo>
                    <a:cubicBezTo>
                      <a:pt x="164" y="27"/>
                      <a:pt x="166" y="28"/>
                      <a:pt x="166" y="30"/>
                    </a:cubicBezTo>
                    <a:cubicBezTo>
                      <a:pt x="178" y="181"/>
                      <a:pt x="178" y="181"/>
                      <a:pt x="178" y="181"/>
                    </a:cubicBezTo>
                    <a:cubicBezTo>
                      <a:pt x="178" y="183"/>
                      <a:pt x="177" y="185"/>
                      <a:pt x="174" y="1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cxnSp>
        <p:nvCxnSpPr>
          <p:cNvPr id="144" name="Straight Arrow Connector 7"/>
          <p:cNvCxnSpPr/>
          <p:nvPr/>
        </p:nvCxnSpPr>
        <p:spPr>
          <a:xfrm>
            <a:off x="4843463" y="2041525"/>
            <a:ext cx="898525" cy="0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3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3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3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0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42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6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3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3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3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3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5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6" presetClass="entr" presetSubtype="4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61" dur="3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3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3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3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3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70" dur="3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34" grpId="0"/>
      <p:bldP spid="35" grpId="0"/>
      <p:bldP spid="37" grpId="0"/>
      <p:bldP spid="38" grpId="0"/>
      <p:bldP spid="33" grpId="0"/>
      <p:bldP spid="3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 bwMode="auto">
          <a:xfrm>
            <a:off x="3860800" y="2170113"/>
            <a:ext cx="4849813" cy="844550"/>
            <a:chOff x="4113929" y="-2180778"/>
            <a:chExt cx="4850559" cy="845068"/>
          </a:xfrm>
        </p:grpSpPr>
        <p:sp>
          <p:nvSpPr>
            <p:cNvPr id="285" name="等腰三角形 1164"/>
            <p:cNvSpPr/>
            <p:nvPr/>
          </p:nvSpPr>
          <p:spPr>
            <a:xfrm rot="16200000" flipH="1">
              <a:off x="6117469" y="-4181141"/>
              <a:ext cx="841891" cy="4848971"/>
            </a:xfrm>
            <a:custGeom>
              <a:avLst/>
              <a:gdLst>
                <a:gd name="connsiteX0" fmla="*/ 1498 w 793663"/>
                <a:gd name="connsiteY0" fmla="*/ 135733 h 4798886"/>
                <a:gd name="connsiteX1" fmla="*/ 0 w 793663"/>
                <a:gd name="connsiteY1" fmla="*/ 187709 h 4798886"/>
                <a:gd name="connsiteX2" fmla="*/ 1498 w 793663"/>
                <a:gd name="connsiteY2" fmla="*/ 1144391 h 4798886"/>
                <a:gd name="connsiteX3" fmla="*/ 1500 w 793663"/>
                <a:gd name="connsiteY3" fmla="*/ 1144391 h 4798886"/>
                <a:gd name="connsiteX4" fmla="*/ 1500 w 793663"/>
                <a:gd name="connsiteY4" fmla="*/ 4798886 h 4798886"/>
                <a:gd name="connsiteX5" fmla="*/ 793663 w 793663"/>
                <a:gd name="connsiteY5" fmla="*/ 4798886 h 4798886"/>
                <a:gd name="connsiteX6" fmla="*/ 793663 w 793663"/>
                <a:gd name="connsiteY6" fmla="*/ 1117780 h 4798886"/>
                <a:gd name="connsiteX7" fmla="*/ 793661 w 793663"/>
                <a:gd name="connsiteY7" fmla="*/ 1117780 h 4798886"/>
                <a:gd name="connsiteX8" fmla="*/ 793661 w 793663"/>
                <a:gd name="connsiteY8" fmla="*/ 135733 h 4798886"/>
                <a:gd name="connsiteX9" fmla="*/ 572937 w 793663"/>
                <a:gd name="connsiteY9" fmla="*/ 135733 h 4798886"/>
                <a:gd name="connsiteX10" fmla="*/ 411618 w 793663"/>
                <a:gd name="connsiteY10" fmla="*/ 0 h 4798886"/>
                <a:gd name="connsiteX11" fmla="*/ 262205 w 793663"/>
                <a:gd name="connsiteY11" fmla="*/ 135733 h 4798886"/>
                <a:gd name="connsiteX12" fmla="*/ 1498 w 793663"/>
                <a:gd name="connsiteY12" fmla="*/ 135733 h 4798886"/>
                <a:gd name="connsiteX0-1" fmla="*/ 1498 w 793663"/>
                <a:gd name="connsiteY0-2" fmla="*/ 135733 h 4798886"/>
                <a:gd name="connsiteX1-3" fmla="*/ 0 w 793663"/>
                <a:gd name="connsiteY1-4" fmla="*/ 187709 h 4798886"/>
                <a:gd name="connsiteX2-5" fmla="*/ 1498 w 793663"/>
                <a:gd name="connsiteY2-6" fmla="*/ 1144391 h 4798886"/>
                <a:gd name="connsiteX3-7" fmla="*/ 1500 w 793663"/>
                <a:gd name="connsiteY3-8" fmla="*/ 1144391 h 4798886"/>
                <a:gd name="connsiteX4-9" fmla="*/ 1500 w 793663"/>
                <a:gd name="connsiteY4-10" fmla="*/ 4798886 h 4798886"/>
                <a:gd name="connsiteX5-11" fmla="*/ 793663 w 793663"/>
                <a:gd name="connsiteY5-12" fmla="*/ 4798886 h 4798886"/>
                <a:gd name="connsiteX6-13" fmla="*/ 793663 w 793663"/>
                <a:gd name="connsiteY6-14" fmla="*/ 1117780 h 4798886"/>
                <a:gd name="connsiteX7-15" fmla="*/ 793661 w 793663"/>
                <a:gd name="connsiteY7-16" fmla="*/ 1117780 h 4798886"/>
                <a:gd name="connsiteX8-17" fmla="*/ 793661 w 793663"/>
                <a:gd name="connsiteY8-18" fmla="*/ 135733 h 4798886"/>
                <a:gd name="connsiteX9-19" fmla="*/ 572937 w 793663"/>
                <a:gd name="connsiteY9-20" fmla="*/ 135733 h 4798886"/>
                <a:gd name="connsiteX10-21" fmla="*/ 411618 w 793663"/>
                <a:gd name="connsiteY10-22" fmla="*/ 0 h 4798886"/>
                <a:gd name="connsiteX11-23" fmla="*/ 262205 w 793663"/>
                <a:gd name="connsiteY11-24" fmla="*/ 135733 h 4798886"/>
                <a:gd name="connsiteX12-25" fmla="*/ 41890 w 793663"/>
                <a:gd name="connsiteY12-26" fmla="*/ 134656 h 4798886"/>
                <a:gd name="connsiteX13" fmla="*/ 1498 w 793663"/>
                <a:gd name="connsiteY13" fmla="*/ 135733 h 4798886"/>
                <a:gd name="connsiteX0-27" fmla="*/ 41890 w 793663"/>
                <a:gd name="connsiteY0-28" fmla="*/ 134656 h 4798886"/>
                <a:gd name="connsiteX1-29" fmla="*/ 0 w 793663"/>
                <a:gd name="connsiteY1-30" fmla="*/ 187709 h 4798886"/>
                <a:gd name="connsiteX2-31" fmla="*/ 1498 w 793663"/>
                <a:gd name="connsiteY2-32" fmla="*/ 1144391 h 4798886"/>
                <a:gd name="connsiteX3-33" fmla="*/ 1500 w 793663"/>
                <a:gd name="connsiteY3-34" fmla="*/ 1144391 h 4798886"/>
                <a:gd name="connsiteX4-35" fmla="*/ 1500 w 793663"/>
                <a:gd name="connsiteY4-36" fmla="*/ 4798886 h 4798886"/>
                <a:gd name="connsiteX5-37" fmla="*/ 793663 w 793663"/>
                <a:gd name="connsiteY5-38" fmla="*/ 4798886 h 4798886"/>
                <a:gd name="connsiteX6-39" fmla="*/ 793663 w 793663"/>
                <a:gd name="connsiteY6-40" fmla="*/ 1117780 h 4798886"/>
                <a:gd name="connsiteX7-41" fmla="*/ 793661 w 793663"/>
                <a:gd name="connsiteY7-42" fmla="*/ 1117780 h 4798886"/>
                <a:gd name="connsiteX8-43" fmla="*/ 793661 w 793663"/>
                <a:gd name="connsiteY8-44" fmla="*/ 135733 h 4798886"/>
                <a:gd name="connsiteX9-45" fmla="*/ 572937 w 793663"/>
                <a:gd name="connsiteY9-46" fmla="*/ 135733 h 4798886"/>
                <a:gd name="connsiteX10-47" fmla="*/ 411618 w 793663"/>
                <a:gd name="connsiteY10-48" fmla="*/ 0 h 4798886"/>
                <a:gd name="connsiteX11-49" fmla="*/ 262205 w 793663"/>
                <a:gd name="connsiteY11-50" fmla="*/ 135733 h 4798886"/>
                <a:gd name="connsiteX12-51" fmla="*/ 41890 w 793663"/>
                <a:gd name="connsiteY12-52" fmla="*/ 134656 h 4798886"/>
                <a:gd name="connsiteX0-53" fmla="*/ 41890 w 793663"/>
                <a:gd name="connsiteY0-54" fmla="*/ 134656 h 4798886"/>
                <a:gd name="connsiteX1-55" fmla="*/ 0 w 793663"/>
                <a:gd name="connsiteY1-56" fmla="*/ 187709 h 4798886"/>
                <a:gd name="connsiteX2-57" fmla="*/ 1498 w 793663"/>
                <a:gd name="connsiteY2-58" fmla="*/ 1144391 h 4798886"/>
                <a:gd name="connsiteX3-59" fmla="*/ 1500 w 793663"/>
                <a:gd name="connsiteY3-60" fmla="*/ 1144391 h 4798886"/>
                <a:gd name="connsiteX4-61" fmla="*/ 1500 w 793663"/>
                <a:gd name="connsiteY4-62" fmla="*/ 4798886 h 4798886"/>
                <a:gd name="connsiteX5-63" fmla="*/ 793663 w 793663"/>
                <a:gd name="connsiteY5-64" fmla="*/ 4767681 h 4798886"/>
                <a:gd name="connsiteX6-65" fmla="*/ 793663 w 793663"/>
                <a:gd name="connsiteY6-66" fmla="*/ 1117780 h 4798886"/>
                <a:gd name="connsiteX7-67" fmla="*/ 793661 w 793663"/>
                <a:gd name="connsiteY7-68" fmla="*/ 1117780 h 4798886"/>
                <a:gd name="connsiteX8-69" fmla="*/ 793661 w 793663"/>
                <a:gd name="connsiteY8-70" fmla="*/ 135733 h 4798886"/>
                <a:gd name="connsiteX9-71" fmla="*/ 572937 w 793663"/>
                <a:gd name="connsiteY9-72" fmla="*/ 135733 h 4798886"/>
                <a:gd name="connsiteX10-73" fmla="*/ 411618 w 793663"/>
                <a:gd name="connsiteY10-74" fmla="*/ 0 h 4798886"/>
                <a:gd name="connsiteX11-75" fmla="*/ 262205 w 793663"/>
                <a:gd name="connsiteY11-76" fmla="*/ 135733 h 4798886"/>
                <a:gd name="connsiteX12-77" fmla="*/ 41890 w 793663"/>
                <a:gd name="connsiteY12-78" fmla="*/ 134656 h 4798886"/>
                <a:gd name="connsiteX0-79" fmla="*/ 41890 w 793663"/>
                <a:gd name="connsiteY0-80" fmla="*/ 134656 h 4770802"/>
                <a:gd name="connsiteX1-81" fmla="*/ 0 w 793663"/>
                <a:gd name="connsiteY1-82" fmla="*/ 187709 h 4770802"/>
                <a:gd name="connsiteX2-83" fmla="*/ 1498 w 793663"/>
                <a:gd name="connsiteY2-84" fmla="*/ 1144391 h 4770802"/>
                <a:gd name="connsiteX3-85" fmla="*/ 1500 w 793663"/>
                <a:gd name="connsiteY3-86" fmla="*/ 1144391 h 4770802"/>
                <a:gd name="connsiteX4-87" fmla="*/ 1500 w 793663"/>
                <a:gd name="connsiteY4-88" fmla="*/ 4770802 h 4770802"/>
                <a:gd name="connsiteX5-89" fmla="*/ 793663 w 793663"/>
                <a:gd name="connsiteY5-90" fmla="*/ 4767681 h 4770802"/>
                <a:gd name="connsiteX6-91" fmla="*/ 793663 w 793663"/>
                <a:gd name="connsiteY6-92" fmla="*/ 1117780 h 4770802"/>
                <a:gd name="connsiteX7-93" fmla="*/ 793661 w 793663"/>
                <a:gd name="connsiteY7-94" fmla="*/ 1117780 h 4770802"/>
                <a:gd name="connsiteX8-95" fmla="*/ 793661 w 793663"/>
                <a:gd name="connsiteY8-96" fmla="*/ 135733 h 4770802"/>
                <a:gd name="connsiteX9-97" fmla="*/ 572937 w 793663"/>
                <a:gd name="connsiteY9-98" fmla="*/ 135733 h 4770802"/>
                <a:gd name="connsiteX10-99" fmla="*/ 411618 w 793663"/>
                <a:gd name="connsiteY10-100" fmla="*/ 0 h 4770802"/>
                <a:gd name="connsiteX11-101" fmla="*/ 262205 w 793663"/>
                <a:gd name="connsiteY11-102" fmla="*/ 135733 h 4770802"/>
                <a:gd name="connsiteX12-103" fmla="*/ 41890 w 793663"/>
                <a:gd name="connsiteY12-104" fmla="*/ 134656 h 4770802"/>
                <a:gd name="connsiteX0-105" fmla="*/ 41890 w 793663"/>
                <a:gd name="connsiteY0-106" fmla="*/ 134656 h 4770802"/>
                <a:gd name="connsiteX1-107" fmla="*/ 0 w 793663"/>
                <a:gd name="connsiteY1-108" fmla="*/ 187709 h 4770802"/>
                <a:gd name="connsiteX2-109" fmla="*/ 1498 w 793663"/>
                <a:gd name="connsiteY2-110" fmla="*/ 1144391 h 4770802"/>
                <a:gd name="connsiteX3-111" fmla="*/ 1500 w 793663"/>
                <a:gd name="connsiteY3-112" fmla="*/ 1144391 h 4770802"/>
                <a:gd name="connsiteX4-113" fmla="*/ 1500 w 793663"/>
                <a:gd name="connsiteY4-114" fmla="*/ 4770802 h 4770802"/>
                <a:gd name="connsiteX5-115" fmla="*/ 793663 w 793663"/>
                <a:gd name="connsiteY5-116" fmla="*/ 4767681 h 4770802"/>
                <a:gd name="connsiteX6-117" fmla="*/ 792912 w 793663"/>
                <a:gd name="connsiteY6-118" fmla="*/ 4737762 h 4770802"/>
                <a:gd name="connsiteX7-119" fmla="*/ 793663 w 793663"/>
                <a:gd name="connsiteY7-120" fmla="*/ 1117780 h 4770802"/>
                <a:gd name="connsiteX8-121" fmla="*/ 793661 w 793663"/>
                <a:gd name="connsiteY8-122" fmla="*/ 1117780 h 4770802"/>
                <a:gd name="connsiteX9-123" fmla="*/ 793661 w 793663"/>
                <a:gd name="connsiteY9-124" fmla="*/ 135733 h 4770802"/>
                <a:gd name="connsiteX10-125" fmla="*/ 572937 w 793663"/>
                <a:gd name="connsiteY10-126" fmla="*/ 135733 h 4770802"/>
                <a:gd name="connsiteX11-127" fmla="*/ 411618 w 793663"/>
                <a:gd name="connsiteY11-128" fmla="*/ 0 h 4770802"/>
                <a:gd name="connsiteX12-129" fmla="*/ 262205 w 793663"/>
                <a:gd name="connsiteY12-130" fmla="*/ 135733 h 4770802"/>
                <a:gd name="connsiteX13-131" fmla="*/ 41890 w 793663"/>
                <a:gd name="connsiteY13-132" fmla="*/ 134656 h 4770802"/>
                <a:gd name="connsiteX0-133" fmla="*/ 41890 w 793663"/>
                <a:gd name="connsiteY0-134" fmla="*/ 134656 h 4770802"/>
                <a:gd name="connsiteX1-135" fmla="*/ 0 w 793663"/>
                <a:gd name="connsiteY1-136" fmla="*/ 187709 h 4770802"/>
                <a:gd name="connsiteX2-137" fmla="*/ 1498 w 793663"/>
                <a:gd name="connsiteY2-138" fmla="*/ 1144391 h 4770802"/>
                <a:gd name="connsiteX3-139" fmla="*/ 1500 w 793663"/>
                <a:gd name="connsiteY3-140" fmla="*/ 1144391 h 4770802"/>
                <a:gd name="connsiteX4-141" fmla="*/ 1500 w 793663"/>
                <a:gd name="connsiteY4-142" fmla="*/ 4770802 h 4770802"/>
                <a:gd name="connsiteX5-143" fmla="*/ 742046 w 793663"/>
                <a:gd name="connsiteY5-144" fmla="*/ 4765849 h 4770802"/>
                <a:gd name="connsiteX6-145" fmla="*/ 793663 w 793663"/>
                <a:gd name="connsiteY6-146" fmla="*/ 4767681 h 4770802"/>
                <a:gd name="connsiteX7-147" fmla="*/ 792912 w 793663"/>
                <a:gd name="connsiteY7-148" fmla="*/ 4737762 h 4770802"/>
                <a:gd name="connsiteX8-149" fmla="*/ 793663 w 793663"/>
                <a:gd name="connsiteY8-150" fmla="*/ 1117780 h 4770802"/>
                <a:gd name="connsiteX9-151" fmla="*/ 793661 w 793663"/>
                <a:gd name="connsiteY9-152" fmla="*/ 1117780 h 4770802"/>
                <a:gd name="connsiteX10-153" fmla="*/ 793661 w 793663"/>
                <a:gd name="connsiteY10-154" fmla="*/ 135733 h 4770802"/>
                <a:gd name="connsiteX11-155" fmla="*/ 572937 w 793663"/>
                <a:gd name="connsiteY11-156" fmla="*/ 135733 h 4770802"/>
                <a:gd name="connsiteX12-157" fmla="*/ 411618 w 793663"/>
                <a:gd name="connsiteY12-158" fmla="*/ 0 h 4770802"/>
                <a:gd name="connsiteX13-159" fmla="*/ 262205 w 793663"/>
                <a:gd name="connsiteY13-160" fmla="*/ 135733 h 4770802"/>
                <a:gd name="connsiteX14" fmla="*/ 41890 w 793663"/>
                <a:gd name="connsiteY14" fmla="*/ 134656 h 4770802"/>
                <a:gd name="connsiteX0-161" fmla="*/ 41890 w 793663"/>
                <a:gd name="connsiteY0-162" fmla="*/ 134656 h 4770802"/>
                <a:gd name="connsiteX1-163" fmla="*/ 0 w 793663"/>
                <a:gd name="connsiteY1-164" fmla="*/ 187709 h 4770802"/>
                <a:gd name="connsiteX2-165" fmla="*/ 1498 w 793663"/>
                <a:gd name="connsiteY2-166" fmla="*/ 1144391 h 4770802"/>
                <a:gd name="connsiteX3-167" fmla="*/ 1500 w 793663"/>
                <a:gd name="connsiteY3-168" fmla="*/ 1144391 h 4770802"/>
                <a:gd name="connsiteX4-169" fmla="*/ 1500 w 793663"/>
                <a:gd name="connsiteY4-170" fmla="*/ 4770802 h 4770802"/>
                <a:gd name="connsiteX5-171" fmla="*/ 742046 w 793663"/>
                <a:gd name="connsiteY5-172" fmla="*/ 4765849 h 4770802"/>
                <a:gd name="connsiteX6-173" fmla="*/ 792912 w 793663"/>
                <a:gd name="connsiteY6-174" fmla="*/ 4737762 h 4770802"/>
                <a:gd name="connsiteX7-175" fmla="*/ 793663 w 793663"/>
                <a:gd name="connsiteY7-176" fmla="*/ 1117780 h 4770802"/>
                <a:gd name="connsiteX8-177" fmla="*/ 793661 w 793663"/>
                <a:gd name="connsiteY8-178" fmla="*/ 1117780 h 4770802"/>
                <a:gd name="connsiteX9-179" fmla="*/ 793661 w 793663"/>
                <a:gd name="connsiteY9-180" fmla="*/ 135733 h 4770802"/>
                <a:gd name="connsiteX10-181" fmla="*/ 572937 w 793663"/>
                <a:gd name="connsiteY10-182" fmla="*/ 135733 h 4770802"/>
                <a:gd name="connsiteX11-183" fmla="*/ 411618 w 793663"/>
                <a:gd name="connsiteY11-184" fmla="*/ 0 h 4770802"/>
                <a:gd name="connsiteX12-185" fmla="*/ 262205 w 793663"/>
                <a:gd name="connsiteY12-186" fmla="*/ 135733 h 4770802"/>
                <a:gd name="connsiteX13-187" fmla="*/ 41890 w 793663"/>
                <a:gd name="connsiteY13-188" fmla="*/ 134656 h 4770802"/>
                <a:gd name="connsiteX0-189" fmla="*/ 41890 w 793663"/>
                <a:gd name="connsiteY0-190" fmla="*/ 134656 h 4765849"/>
                <a:gd name="connsiteX1-191" fmla="*/ 0 w 793663"/>
                <a:gd name="connsiteY1-192" fmla="*/ 187709 h 4765849"/>
                <a:gd name="connsiteX2-193" fmla="*/ 1498 w 793663"/>
                <a:gd name="connsiteY2-194" fmla="*/ 1144391 h 4765849"/>
                <a:gd name="connsiteX3-195" fmla="*/ 1500 w 793663"/>
                <a:gd name="connsiteY3-196" fmla="*/ 1144391 h 4765849"/>
                <a:gd name="connsiteX4-197" fmla="*/ 1500 w 793663"/>
                <a:gd name="connsiteY4-198" fmla="*/ 4761442 h 4765849"/>
                <a:gd name="connsiteX5-199" fmla="*/ 742046 w 793663"/>
                <a:gd name="connsiteY5-200" fmla="*/ 4765849 h 4765849"/>
                <a:gd name="connsiteX6-201" fmla="*/ 792912 w 793663"/>
                <a:gd name="connsiteY6-202" fmla="*/ 4737762 h 4765849"/>
                <a:gd name="connsiteX7-203" fmla="*/ 793663 w 793663"/>
                <a:gd name="connsiteY7-204" fmla="*/ 1117780 h 4765849"/>
                <a:gd name="connsiteX8-205" fmla="*/ 793661 w 793663"/>
                <a:gd name="connsiteY8-206" fmla="*/ 1117780 h 4765849"/>
                <a:gd name="connsiteX9-207" fmla="*/ 793661 w 793663"/>
                <a:gd name="connsiteY9-208" fmla="*/ 135733 h 4765849"/>
                <a:gd name="connsiteX10-209" fmla="*/ 572937 w 793663"/>
                <a:gd name="connsiteY10-210" fmla="*/ 135733 h 4765849"/>
                <a:gd name="connsiteX11-211" fmla="*/ 411618 w 793663"/>
                <a:gd name="connsiteY11-212" fmla="*/ 0 h 4765849"/>
                <a:gd name="connsiteX12-213" fmla="*/ 262205 w 793663"/>
                <a:gd name="connsiteY12-214" fmla="*/ 135733 h 4765849"/>
                <a:gd name="connsiteX13-215" fmla="*/ 41890 w 793663"/>
                <a:gd name="connsiteY13-216" fmla="*/ 134656 h 476584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131" y="connsiteY13-132"/>
                </a:cxn>
              </a:cxnLst>
              <a:rect l="l" t="t" r="r" b="b"/>
              <a:pathLst>
                <a:path w="793663" h="4765849">
                  <a:moveTo>
                    <a:pt x="41890" y="134656"/>
                  </a:moveTo>
                  <a:lnTo>
                    <a:pt x="0" y="187709"/>
                  </a:lnTo>
                  <a:cubicBezTo>
                    <a:pt x="499" y="506603"/>
                    <a:pt x="999" y="825497"/>
                    <a:pt x="1498" y="1144391"/>
                  </a:cubicBezTo>
                  <a:lnTo>
                    <a:pt x="1500" y="1144391"/>
                  </a:lnTo>
                  <a:lnTo>
                    <a:pt x="1500" y="4761442"/>
                  </a:lnTo>
                  <a:lnTo>
                    <a:pt x="742046" y="4765849"/>
                  </a:lnTo>
                  <a:lnTo>
                    <a:pt x="792912" y="4737762"/>
                  </a:lnTo>
                  <a:cubicBezTo>
                    <a:pt x="793162" y="3531101"/>
                    <a:pt x="793413" y="2324441"/>
                    <a:pt x="793663" y="1117780"/>
                  </a:cubicBezTo>
                  <a:lnTo>
                    <a:pt x="793661" y="1117780"/>
                  </a:lnTo>
                  <a:lnTo>
                    <a:pt x="793661" y="135733"/>
                  </a:lnTo>
                  <a:lnTo>
                    <a:pt x="572937" y="135733"/>
                  </a:lnTo>
                  <a:lnTo>
                    <a:pt x="411618" y="0"/>
                  </a:lnTo>
                  <a:lnTo>
                    <a:pt x="262205" y="135733"/>
                  </a:lnTo>
                  <a:lnTo>
                    <a:pt x="41890" y="134656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86" name="等腰三角形 1164"/>
            <p:cNvSpPr/>
            <p:nvPr/>
          </p:nvSpPr>
          <p:spPr>
            <a:xfrm rot="16200000" flipH="1">
              <a:off x="6169083" y="-4183536"/>
              <a:ext cx="792648" cy="4798163"/>
            </a:xfrm>
            <a:custGeom>
              <a:avLst/>
              <a:gdLst/>
              <a:ahLst/>
              <a:cxnLst/>
              <a:rect l="l" t="t" r="r" b="b"/>
              <a:pathLst>
                <a:path w="792165" h="4798886">
                  <a:moveTo>
                    <a:pt x="0" y="135733"/>
                  </a:moveTo>
                  <a:lnTo>
                    <a:pt x="0" y="1144391"/>
                  </a:lnTo>
                  <a:lnTo>
                    <a:pt x="2" y="1144391"/>
                  </a:lnTo>
                  <a:lnTo>
                    <a:pt x="2" y="4798886"/>
                  </a:lnTo>
                  <a:lnTo>
                    <a:pt x="792165" y="4798886"/>
                  </a:lnTo>
                  <a:lnTo>
                    <a:pt x="792165" y="1117780"/>
                  </a:lnTo>
                  <a:lnTo>
                    <a:pt x="792163" y="1117780"/>
                  </a:lnTo>
                  <a:lnTo>
                    <a:pt x="792163" y="135733"/>
                  </a:lnTo>
                  <a:lnTo>
                    <a:pt x="571439" y="135733"/>
                  </a:lnTo>
                  <a:lnTo>
                    <a:pt x="410120" y="0"/>
                  </a:lnTo>
                  <a:lnTo>
                    <a:pt x="260707" y="135733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87" name="等腰三角形 1163"/>
            <p:cNvSpPr/>
            <p:nvPr/>
          </p:nvSpPr>
          <p:spPr>
            <a:xfrm rot="16200000" flipH="1">
              <a:off x="6188839" y="-4121431"/>
              <a:ext cx="729928" cy="4677350"/>
            </a:xfrm>
            <a:custGeom>
              <a:avLst/>
              <a:gdLst/>
              <a:ahLst/>
              <a:cxnLst/>
              <a:rect l="l" t="t" r="r" b="b"/>
              <a:pathLst>
                <a:path w="729928" h="4677350">
                  <a:moveTo>
                    <a:pt x="0" y="126577"/>
                  </a:moveTo>
                  <a:lnTo>
                    <a:pt x="0" y="1006585"/>
                  </a:lnTo>
                  <a:lnTo>
                    <a:pt x="0" y="1045374"/>
                  </a:lnTo>
                  <a:lnTo>
                    <a:pt x="0" y="4677350"/>
                  </a:lnTo>
                  <a:lnTo>
                    <a:pt x="729928" y="4677350"/>
                  </a:lnTo>
                  <a:lnTo>
                    <a:pt x="729928" y="1045374"/>
                  </a:lnTo>
                  <a:lnTo>
                    <a:pt x="729928" y="1006585"/>
                  </a:lnTo>
                  <a:lnTo>
                    <a:pt x="729928" y="126577"/>
                  </a:lnTo>
                  <a:lnTo>
                    <a:pt x="527843" y="126577"/>
                  </a:lnTo>
                  <a:lnTo>
                    <a:pt x="374542" y="0"/>
                  </a:lnTo>
                  <a:lnTo>
                    <a:pt x="234185" y="126577"/>
                  </a:lnTo>
                  <a:close/>
                </a:path>
              </a:pathLst>
            </a:custGeom>
            <a:solidFill>
              <a:srgbClr val="3DA5C1"/>
            </a:solidFill>
            <a:ln w="9525">
              <a:solidFill>
                <a:schemeClr val="bg1"/>
              </a:solidFill>
            </a:ln>
            <a:effectLst>
              <a:innerShdw blurRad="12700">
                <a:prstClr val="black">
                  <a:alpha val="8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88" name="TextBox 3"/>
            <p:cNvSpPr txBox="1">
              <a:spLocks noChangeArrowheads="1"/>
            </p:cNvSpPr>
            <p:nvPr/>
          </p:nvSpPr>
          <p:spPr bwMode="auto">
            <a:xfrm>
              <a:off x="5236465" y="-1998104"/>
              <a:ext cx="1678245" cy="338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sp>
          <p:nvSpPr>
            <p:cNvPr id="289" name="矩形 51"/>
            <p:cNvSpPr>
              <a:spLocks noChangeArrowheads="1"/>
            </p:cNvSpPr>
            <p:nvPr/>
          </p:nvSpPr>
          <p:spPr bwMode="auto">
            <a:xfrm>
              <a:off x="5261869" y="-1710590"/>
              <a:ext cx="1338468" cy="231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9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0" name="矩形 289"/>
            <p:cNvSpPr/>
            <p:nvPr/>
          </p:nvSpPr>
          <p:spPr>
            <a:xfrm>
              <a:off x="8176967" y="-2147421"/>
              <a:ext cx="716072" cy="312930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92" name="TextBox 291"/>
            <p:cNvSpPr txBox="1"/>
            <p:nvPr/>
          </p:nvSpPr>
          <p:spPr>
            <a:xfrm>
              <a:off x="8186493" y="-2131536"/>
              <a:ext cx="777995" cy="3383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NO.3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grpSp>
          <p:nvGrpSpPr>
            <p:cNvPr id="293" name="组合 292"/>
            <p:cNvGrpSpPr/>
            <p:nvPr/>
          </p:nvGrpSpPr>
          <p:grpSpPr>
            <a:xfrm>
              <a:off x="8177160" y="-1763748"/>
              <a:ext cx="574464" cy="36952"/>
              <a:chOff x="4157480" y="1795527"/>
              <a:chExt cx="574464" cy="36952"/>
            </a:xfrm>
            <a:solidFill>
              <a:srgbClr val="266678">
                <a:alpha val="43000"/>
              </a:srgbClr>
            </a:solidFill>
          </p:grpSpPr>
          <p:sp>
            <p:nvSpPr>
              <p:cNvPr id="294" name="椭圆 293"/>
              <p:cNvSpPr/>
              <p:nvPr/>
            </p:nvSpPr>
            <p:spPr>
              <a:xfrm>
                <a:off x="415748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5" name="椭圆 294"/>
              <p:cNvSpPr/>
              <p:nvPr/>
            </p:nvSpPr>
            <p:spPr>
              <a:xfrm>
                <a:off x="425521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6" name="椭圆 295"/>
              <p:cNvSpPr/>
              <p:nvPr/>
            </p:nvSpPr>
            <p:spPr>
              <a:xfrm>
                <a:off x="430407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7" name="椭圆 296"/>
              <p:cNvSpPr/>
              <p:nvPr/>
            </p:nvSpPr>
            <p:spPr>
              <a:xfrm>
                <a:off x="420634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8" name="椭圆 297"/>
              <p:cNvSpPr/>
              <p:nvPr/>
            </p:nvSpPr>
            <p:spPr>
              <a:xfrm>
                <a:off x="440180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9" name="椭圆 298"/>
              <p:cNvSpPr/>
              <p:nvPr/>
            </p:nvSpPr>
            <p:spPr>
              <a:xfrm>
                <a:off x="435294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0" name="椭圆 299"/>
              <p:cNvSpPr/>
              <p:nvPr/>
            </p:nvSpPr>
            <p:spPr>
              <a:xfrm>
                <a:off x="449953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1" name="椭圆 300"/>
              <p:cNvSpPr/>
              <p:nvPr/>
            </p:nvSpPr>
            <p:spPr>
              <a:xfrm>
                <a:off x="445067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2" name="椭圆 301"/>
              <p:cNvSpPr/>
              <p:nvPr/>
            </p:nvSpPr>
            <p:spPr>
              <a:xfrm>
                <a:off x="459726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3" name="椭圆 302"/>
              <p:cNvSpPr/>
              <p:nvPr/>
            </p:nvSpPr>
            <p:spPr>
              <a:xfrm>
                <a:off x="454840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4" name="椭圆 303"/>
              <p:cNvSpPr/>
              <p:nvPr/>
            </p:nvSpPr>
            <p:spPr>
              <a:xfrm>
                <a:off x="4694992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5" name="椭圆 304"/>
              <p:cNvSpPr/>
              <p:nvPr/>
            </p:nvSpPr>
            <p:spPr>
              <a:xfrm>
                <a:off x="464613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8712" name="组合 1165"/>
            <p:cNvGrpSpPr/>
            <p:nvPr/>
          </p:nvGrpSpPr>
          <p:grpSpPr bwMode="auto">
            <a:xfrm>
              <a:off x="4764451" y="-1942537"/>
              <a:ext cx="391102" cy="391102"/>
              <a:chOff x="4764451" y="-1942537"/>
              <a:chExt cx="391102" cy="391102"/>
            </a:xfrm>
          </p:grpSpPr>
          <p:sp>
            <p:nvSpPr>
              <p:cNvPr id="307" name="矩形 306"/>
              <p:cNvSpPr/>
              <p:nvPr/>
            </p:nvSpPr>
            <p:spPr>
              <a:xfrm>
                <a:off x="4764904" y="-1942507"/>
                <a:ext cx="390585" cy="390765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714" name="Freeform 152"/>
              <p:cNvSpPr>
                <a:spLocks noEditPoints="1"/>
              </p:cNvSpPr>
              <p:nvPr/>
            </p:nvSpPr>
            <p:spPr bwMode="auto">
              <a:xfrm>
                <a:off x="4819361" y="-1880337"/>
                <a:ext cx="300352" cy="261977"/>
              </a:xfrm>
              <a:custGeom>
                <a:avLst/>
                <a:gdLst>
                  <a:gd name="T0" fmla="*/ 2147483646 w 31"/>
                  <a:gd name="T1" fmla="*/ 2147483646 h 30"/>
                  <a:gd name="T2" fmla="*/ 2147483646 w 31"/>
                  <a:gd name="T3" fmla="*/ 2147483646 h 30"/>
                  <a:gd name="T4" fmla="*/ 2147483646 w 31"/>
                  <a:gd name="T5" fmla="*/ 2147483646 h 30"/>
                  <a:gd name="T6" fmla="*/ 2147483646 w 31"/>
                  <a:gd name="T7" fmla="*/ 2147483646 h 30"/>
                  <a:gd name="T8" fmla="*/ 2147483646 w 31"/>
                  <a:gd name="T9" fmla="*/ 2147483646 h 30"/>
                  <a:gd name="T10" fmla="*/ 2147483646 w 31"/>
                  <a:gd name="T11" fmla="*/ 2147483646 h 30"/>
                  <a:gd name="T12" fmla="*/ 2147483646 w 31"/>
                  <a:gd name="T13" fmla="*/ 2147483646 h 30"/>
                  <a:gd name="T14" fmla="*/ 2147483646 w 31"/>
                  <a:gd name="T15" fmla="*/ 2147483646 h 30"/>
                  <a:gd name="T16" fmla="*/ 2147483646 w 31"/>
                  <a:gd name="T17" fmla="*/ 2147483646 h 30"/>
                  <a:gd name="T18" fmla="*/ 2147483646 w 31"/>
                  <a:gd name="T19" fmla="*/ 2147483646 h 30"/>
                  <a:gd name="T20" fmla="*/ 2147483646 w 31"/>
                  <a:gd name="T21" fmla="*/ 2147483646 h 30"/>
                  <a:gd name="T22" fmla="*/ 2147483646 w 31"/>
                  <a:gd name="T23" fmla="*/ 2147483646 h 30"/>
                  <a:gd name="T24" fmla="*/ 2147483646 w 31"/>
                  <a:gd name="T25" fmla="*/ 2147483646 h 30"/>
                  <a:gd name="T26" fmla="*/ 2147483646 w 31"/>
                  <a:gd name="T27" fmla="*/ 2147483646 h 30"/>
                  <a:gd name="T28" fmla="*/ 2147483646 w 31"/>
                  <a:gd name="T29" fmla="*/ 2147483646 h 30"/>
                  <a:gd name="T30" fmla="*/ 2147483646 w 31"/>
                  <a:gd name="T31" fmla="*/ 2147483646 h 30"/>
                  <a:gd name="T32" fmla="*/ 2147483646 w 31"/>
                  <a:gd name="T33" fmla="*/ 2147483646 h 30"/>
                  <a:gd name="T34" fmla="*/ 2147483646 w 31"/>
                  <a:gd name="T35" fmla="*/ 2147483646 h 30"/>
                  <a:gd name="T36" fmla="*/ 2147483646 w 31"/>
                  <a:gd name="T37" fmla="*/ 2147483646 h 30"/>
                  <a:gd name="T38" fmla="*/ 2147483646 w 31"/>
                  <a:gd name="T39" fmla="*/ 2147483646 h 30"/>
                  <a:gd name="T40" fmla="*/ 2147483646 w 31"/>
                  <a:gd name="T41" fmla="*/ 2147483646 h 30"/>
                  <a:gd name="T42" fmla="*/ 2147483646 w 31"/>
                  <a:gd name="T43" fmla="*/ 2147483646 h 30"/>
                  <a:gd name="T44" fmla="*/ 2147483646 w 31"/>
                  <a:gd name="T45" fmla="*/ 2147483646 h 30"/>
                  <a:gd name="T46" fmla="*/ 2147483646 w 31"/>
                  <a:gd name="T47" fmla="*/ 2147483646 h 30"/>
                  <a:gd name="T48" fmla="*/ 2147483646 w 31"/>
                  <a:gd name="T49" fmla="*/ 2147483646 h 30"/>
                  <a:gd name="T50" fmla="*/ 2147483646 w 31"/>
                  <a:gd name="T51" fmla="*/ 2147483646 h 30"/>
                  <a:gd name="T52" fmla="*/ 2147483646 w 31"/>
                  <a:gd name="T53" fmla="*/ 2147483646 h 30"/>
                  <a:gd name="T54" fmla="*/ 2147483646 w 31"/>
                  <a:gd name="T55" fmla="*/ 2147483646 h 30"/>
                  <a:gd name="T56" fmla="*/ 2147483646 w 31"/>
                  <a:gd name="T57" fmla="*/ 2147483646 h 30"/>
                  <a:gd name="T58" fmla="*/ 2147483646 w 31"/>
                  <a:gd name="T59" fmla="*/ 2147483646 h 30"/>
                  <a:gd name="T60" fmla="*/ 2147483646 w 31"/>
                  <a:gd name="T61" fmla="*/ 2147483646 h 30"/>
                  <a:gd name="T62" fmla="*/ 2147483646 w 31"/>
                  <a:gd name="T63" fmla="*/ 2147483646 h 30"/>
                  <a:gd name="T64" fmla="*/ 2147483646 w 31"/>
                  <a:gd name="T65" fmla="*/ 2147483646 h 30"/>
                  <a:gd name="T66" fmla="*/ 2147483646 w 31"/>
                  <a:gd name="T67" fmla="*/ 2147483646 h 30"/>
                  <a:gd name="T68" fmla="*/ 2147483646 w 31"/>
                  <a:gd name="T69" fmla="*/ 2147483646 h 30"/>
                  <a:gd name="T70" fmla="*/ 2147483646 w 31"/>
                  <a:gd name="T71" fmla="*/ 2147483646 h 30"/>
                  <a:gd name="T72" fmla="*/ 2147483646 w 31"/>
                  <a:gd name="T73" fmla="*/ 2147483646 h 30"/>
                  <a:gd name="T74" fmla="*/ 2147483646 w 31"/>
                  <a:gd name="T75" fmla="*/ 2147483646 h 30"/>
                  <a:gd name="T76" fmla="*/ 2147483646 w 31"/>
                  <a:gd name="T77" fmla="*/ 2147483646 h 30"/>
                  <a:gd name="T78" fmla="*/ 2147483646 w 31"/>
                  <a:gd name="T79" fmla="*/ 2147483646 h 30"/>
                  <a:gd name="T80" fmla="*/ 2147483646 w 31"/>
                  <a:gd name="T81" fmla="*/ 2147483646 h 30"/>
                  <a:gd name="T82" fmla="*/ 2147483646 w 31"/>
                  <a:gd name="T83" fmla="*/ 2147483646 h 30"/>
                  <a:gd name="T84" fmla="*/ 2147483646 w 31"/>
                  <a:gd name="T85" fmla="*/ 2147483646 h 30"/>
                  <a:gd name="T86" fmla="*/ 2147483646 w 31"/>
                  <a:gd name="T87" fmla="*/ 2147483646 h 30"/>
                  <a:gd name="T88" fmla="*/ 2147483646 w 31"/>
                  <a:gd name="T89" fmla="*/ 2147483646 h 3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31" h="30">
                    <a:moveTo>
                      <a:pt x="21" y="8"/>
                    </a:moveTo>
                    <a:cubicBezTo>
                      <a:pt x="22" y="9"/>
                      <a:pt x="23" y="9"/>
                      <a:pt x="24" y="1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7" y="12"/>
                      <a:pt x="28" y="14"/>
                      <a:pt x="28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30" y="15"/>
                      <a:pt x="31" y="15"/>
                      <a:pt x="31" y="16"/>
                    </a:cubicBezTo>
                    <a:cubicBezTo>
                      <a:pt x="31" y="20"/>
                      <a:pt x="31" y="20"/>
                      <a:pt x="31" y="20"/>
                    </a:cubicBezTo>
                    <a:cubicBezTo>
                      <a:pt x="31" y="21"/>
                      <a:pt x="30" y="21"/>
                      <a:pt x="30" y="21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27" y="23"/>
                      <a:pt x="25" y="25"/>
                      <a:pt x="23" y="26"/>
                    </a:cubicBezTo>
                    <a:cubicBezTo>
                      <a:pt x="22" y="27"/>
                      <a:pt x="22" y="28"/>
                      <a:pt x="22" y="30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29"/>
                      <a:pt x="18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3" y="28"/>
                      <a:pt x="12" y="29"/>
                      <a:pt x="12" y="30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9" y="28"/>
                      <a:pt x="8" y="27"/>
                      <a:pt x="8" y="26"/>
                    </a:cubicBezTo>
                    <a:cubicBezTo>
                      <a:pt x="5" y="25"/>
                      <a:pt x="3" y="22"/>
                      <a:pt x="2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3"/>
                      <a:pt x="6" y="10"/>
                      <a:pt x="10" y="8"/>
                    </a:cubicBezTo>
                    <a:cubicBezTo>
                      <a:pt x="11" y="10"/>
                      <a:pt x="13" y="12"/>
                      <a:pt x="15" y="12"/>
                    </a:cubicBezTo>
                    <a:cubicBezTo>
                      <a:pt x="18" y="12"/>
                      <a:pt x="20" y="10"/>
                      <a:pt x="21" y="8"/>
                    </a:cubicBezTo>
                    <a:close/>
                    <a:moveTo>
                      <a:pt x="15" y="0"/>
                    </a:moveTo>
                    <a:cubicBezTo>
                      <a:pt x="13" y="0"/>
                      <a:pt x="10" y="2"/>
                      <a:pt x="10" y="5"/>
                    </a:cubicBezTo>
                    <a:cubicBezTo>
                      <a:pt x="10" y="8"/>
                      <a:pt x="13" y="10"/>
                      <a:pt x="15" y="10"/>
                    </a:cubicBezTo>
                    <a:cubicBezTo>
                      <a:pt x="18" y="10"/>
                      <a:pt x="21" y="8"/>
                      <a:pt x="21" y="5"/>
                    </a:cubicBezTo>
                    <a:cubicBezTo>
                      <a:pt x="21" y="2"/>
                      <a:pt x="18" y="0"/>
                      <a:pt x="15" y="0"/>
                    </a:cubicBezTo>
                    <a:close/>
                    <a:moveTo>
                      <a:pt x="14" y="8"/>
                    </a:moveTo>
                    <a:cubicBezTo>
                      <a:pt x="17" y="8"/>
                      <a:pt x="17" y="8"/>
                      <a:pt x="17" y="8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4" y="7"/>
                      <a:pt x="14" y="7"/>
                      <a:pt x="14" y="7"/>
                    </a:cubicBezTo>
                    <a:lnTo>
                      <a:pt x="14" y="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168" name="矩形 167"/>
          <p:cNvSpPr/>
          <p:nvPr/>
        </p:nvSpPr>
        <p:spPr>
          <a:xfrm>
            <a:off x="0" y="0"/>
            <a:ext cx="2700338" cy="5143500"/>
          </a:xfrm>
          <a:prstGeom prst="rect">
            <a:avLst/>
          </a:prstGeom>
          <a:solidFill>
            <a:srgbClr val="266678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219" name="组合 218"/>
          <p:cNvGrpSpPr/>
          <p:nvPr/>
        </p:nvGrpSpPr>
        <p:grpSpPr bwMode="auto">
          <a:xfrm>
            <a:off x="2705100" y="338138"/>
            <a:ext cx="1008063" cy="792162"/>
            <a:chOff x="1835150" y="319657"/>
            <a:chExt cx="1008658" cy="792163"/>
          </a:xfrm>
        </p:grpSpPr>
        <p:sp>
          <p:nvSpPr>
            <p:cNvPr id="220" name="矩形 219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21" name="任意多边形 220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22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23" name="组合 222"/>
          <p:cNvGrpSpPr/>
          <p:nvPr/>
        </p:nvGrpSpPr>
        <p:grpSpPr bwMode="auto">
          <a:xfrm>
            <a:off x="2705100" y="2170113"/>
            <a:ext cx="1149350" cy="792162"/>
            <a:chOff x="2983059" y="2169348"/>
            <a:chExt cx="1148609" cy="792163"/>
          </a:xfrm>
        </p:grpSpPr>
        <p:sp>
          <p:nvSpPr>
            <p:cNvPr id="224" name="等腰三角形 1164"/>
            <p:cNvSpPr/>
            <p:nvPr/>
          </p:nvSpPr>
          <p:spPr>
            <a:xfrm rot="5400000">
              <a:off x="3163662" y="1993504"/>
              <a:ext cx="792163" cy="1143849"/>
            </a:xfrm>
            <a:custGeom>
              <a:avLst/>
              <a:gdLst>
                <a:gd name="connsiteX0" fmla="*/ 0 w 792163"/>
                <a:gd name="connsiteY0" fmla="*/ 1144391 h 1144391"/>
                <a:gd name="connsiteX1" fmla="*/ 0 w 792163"/>
                <a:gd name="connsiteY1" fmla="*/ 135733 h 1144391"/>
                <a:gd name="connsiteX2" fmla="*/ 267851 w 792163"/>
                <a:gd name="connsiteY2" fmla="*/ 135733 h 1144391"/>
                <a:gd name="connsiteX3" fmla="*/ 410120 w 792163"/>
                <a:gd name="connsiteY3" fmla="*/ 0 h 1144391"/>
                <a:gd name="connsiteX4" fmla="*/ 571439 w 792163"/>
                <a:gd name="connsiteY4" fmla="*/ 135733 h 1144391"/>
                <a:gd name="connsiteX5" fmla="*/ 792163 w 792163"/>
                <a:gd name="connsiteY5" fmla="*/ 135733 h 1144391"/>
                <a:gd name="connsiteX6" fmla="*/ 792163 w 792163"/>
                <a:gd name="connsiteY6" fmla="*/ 1144391 h 1144391"/>
                <a:gd name="connsiteX7" fmla="*/ 0 w 792163"/>
                <a:gd name="connsiteY7" fmla="*/ 1144391 h 1144391"/>
                <a:gd name="connsiteX0-1" fmla="*/ 0 w 792163"/>
                <a:gd name="connsiteY0-2" fmla="*/ 1144391 h 1144391"/>
                <a:gd name="connsiteX1-3" fmla="*/ 0 w 792163"/>
                <a:gd name="connsiteY1-4" fmla="*/ 135733 h 1144391"/>
                <a:gd name="connsiteX2-5" fmla="*/ 260707 w 792163"/>
                <a:gd name="connsiteY2-6" fmla="*/ 135733 h 1144391"/>
                <a:gd name="connsiteX3-7" fmla="*/ 410120 w 792163"/>
                <a:gd name="connsiteY3-8" fmla="*/ 0 h 1144391"/>
                <a:gd name="connsiteX4-9" fmla="*/ 571439 w 792163"/>
                <a:gd name="connsiteY4-10" fmla="*/ 135733 h 1144391"/>
                <a:gd name="connsiteX5-11" fmla="*/ 792163 w 792163"/>
                <a:gd name="connsiteY5-12" fmla="*/ 135733 h 1144391"/>
                <a:gd name="connsiteX6-13" fmla="*/ 792163 w 792163"/>
                <a:gd name="connsiteY6-14" fmla="*/ 1144391 h 1144391"/>
                <a:gd name="connsiteX7-15" fmla="*/ 0 w 792163"/>
                <a:gd name="connsiteY7-16" fmla="*/ 1144391 h 114439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92163" h="1144391">
                  <a:moveTo>
                    <a:pt x="0" y="1144391"/>
                  </a:moveTo>
                  <a:lnTo>
                    <a:pt x="0" y="135733"/>
                  </a:lnTo>
                  <a:lnTo>
                    <a:pt x="260707" y="135733"/>
                  </a:lnTo>
                  <a:lnTo>
                    <a:pt x="410120" y="0"/>
                  </a:lnTo>
                  <a:lnTo>
                    <a:pt x="571439" y="135733"/>
                  </a:lnTo>
                  <a:lnTo>
                    <a:pt x="792163" y="135733"/>
                  </a:lnTo>
                  <a:lnTo>
                    <a:pt x="792163" y="1144391"/>
                  </a:lnTo>
                  <a:lnTo>
                    <a:pt x="0" y="1144391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25" name="任意多边形 224"/>
            <p:cNvSpPr/>
            <p:nvPr/>
          </p:nvSpPr>
          <p:spPr>
            <a:xfrm>
              <a:off x="2983059" y="2277298"/>
              <a:ext cx="923329" cy="608013"/>
            </a:xfrm>
            <a:custGeom>
              <a:avLst/>
              <a:gdLst>
                <a:gd name="connsiteX0" fmla="*/ 276473 w 750342"/>
                <a:gd name="connsiteY0" fmla="*/ 0 h 496951"/>
                <a:gd name="connsiteX1" fmla="*/ 731292 w 750342"/>
                <a:gd name="connsiteY1" fmla="*/ 4762 h 496951"/>
                <a:gd name="connsiteX2" fmla="*/ 750342 w 750342"/>
                <a:gd name="connsiteY2" fmla="*/ 54768 h 496951"/>
                <a:gd name="connsiteX3" fmla="*/ 743198 w 750342"/>
                <a:gd name="connsiteY3" fmla="*/ 321468 h 496951"/>
                <a:gd name="connsiteX4" fmla="*/ 425888 w 750342"/>
                <a:gd name="connsiteY4" fmla="*/ 496951 h 496951"/>
                <a:gd name="connsiteX5" fmla="*/ 0 w 750342"/>
                <a:gd name="connsiteY5" fmla="*/ 496951 h 496951"/>
                <a:gd name="connsiteX6" fmla="*/ 0 w 750342"/>
                <a:gd name="connsiteY6" fmla="*/ 232699 h 496951"/>
                <a:gd name="connsiteX7" fmla="*/ 276473 w 750342"/>
                <a:gd name="connsiteY7" fmla="*/ 0 h 496951"/>
                <a:gd name="connsiteX0-1" fmla="*/ 280365 w 754234"/>
                <a:gd name="connsiteY0-2" fmla="*/ 0 h 496951"/>
                <a:gd name="connsiteX1-3" fmla="*/ 735184 w 754234"/>
                <a:gd name="connsiteY1-4" fmla="*/ 4762 h 496951"/>
                <a:gd name="connsiteX2-5" fmla="*/ 754234 w 754234"/>
                <a:gd name="connsiteY2-6" fmla="*/ 54768 h 496951"/>
                <a:gd name="connsiteX3-7" fmla="*/ 747090 w 754234"/>
                <a:gd name="connsiteY3-8" fmla="*/ 321468 h 496951"/>
                <a:gd name="connsiteX4-9" fmla="*/ 429780 w 754234"/>
                <a:gd name="connsiteY4-10" fmla="*/ 496951 h 496951"/>
                <a:gd name="connsiteX5-11" fmla="*/ 3892 w 754234"/>
                <a:gd name="connsiteY5-12" fmla="*/ 496951 h 496951"/>
                <a:gd name="connsiteX6-13" fmla="*/ 0 w 754234"/>
                <a:gd name="connsiteY6-14" fmla="*/ 261887 h 496951"/>
                <a:gd name="connsiteX7-15" fmla="*/ 280365 w 754234"/>
                <a:gd name="connsiteY7-16" fmla="*/ 0 h 49695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54234" h="496951">
                  <a:moveTo>
                    <a:pt x="280365" y="0"/>
                  </a:moveTo>
                  <a:lnTo>
                    <a:pt x="735184" y="4762"/>
                  </a:lnTo>
                  <a:lnTo>
                    <a:pt x="754234" y="54768"/>
                  </a:lnTo>
                  <a:lnTo>
                    <a:pt x="747090" y="321468"/>
                  </a:lnTo>
                  <a:lnTo>
                    <a:pt x="429780" y="496951"/>
                  </a:lnTo>
                  <a:lnTo>
                    <a:pt x="3892" y="496951"/>
                  </a:lnTo>
                  <a:cubicBezTo>
                    <a:pt x="2595" y="418596"/>
                    <a:pt x="1297" y="340242"/>
                    <a:pt x="0" y="261887"/>
                  </a:cubicBezTo>
                  <a:lnTo>
                    <a:pt x="280365" y="0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8697" name="Freeform 6"/>
            <p:cNvSpPr>
              <a:spLocks noEditPoints="1"/>
            </p:cNvSpPr>
            <p:nvPr/>
          </p:nvSpPr>
          <p:spPr bwMode="auto">
            <a:xfrm>
              <a:off x="3282102" y="2275882"/>
              <a:ext cx="644475" cy="403450"/>
            </a:xfrm>
            <a:custGeom>
              <a:avLst/>
              <a:gdLst>
                <a:gd name="T0" fmla="*/ 2147483646 w 208"/>
                <a:gd name="T1" fmla="*/ 0 h 130"/>
                <a:gd name="T2" fmla="*/ 2147483646 w 208"/>
                <a:gd name="T3" fmla="*/ 0 h 130"/>
                <a:gd name="T4" fmla="*/ 0 w 208"/>
                <a:gd name="T5" fmla="*/ 2147483646 h 130"/>
                <a:gd name="T6" fmla="*/ 0 w 208"/>
                <a:gd name="T7" fmla="*/ 2147483646 h 130"/>
                <a:gd name="T8" fmla="*/ 2147483646 w 208"/>
                <a:gd name="T9" fmla="*/ 2147483646 h 130"/>
                <a:gd name="T10" fmla="*/ 2147483646 w 208"/>
                <a:gd name="T11" fmla="*/ 2147483646 h 130"/>
                <a:gd name="T12" fmla="*/ 2147483646 w 208"/>
                <a:gd name="T13" fmla="*/ 2147483646 h 130"/>
                <a:gd name="T14" fmla="*/ 2147483646 w 208"/>
                <a:gd name="T15" fmla="*/ 2147483646 h 130"/>
                <a:gd name="T16" fmla="*/ 2147483646 w 208"/>
                <a:gd name="T17" fmla="*/ 0 h 130"/>
                <a:gd name="T18" fmla="*/ 2147483646 w 208"/>
                <a:gd name="T19" fmla="*/ 2147483646 h 130"/>
                <a:gd name="T20" fmla="*/ 2147483646 w 208"/>
                <a:gd name="T21" fmla="*/ 2147483646 h 130"/>
                <a:gd name="T22" fmla="*/ 2147483646 w 208"/>
                <a:gd name="T23" fmla="*/ 2147483646 h 130"/>
                <a:gd name="T24" fmla="*/ 2147483646 w 208"/>
                <a:gd name="T25" fmla="*/ 2147483646 h 130"/>
                <a:gd name="T26" fmla="*/ 2147483646 w 208"/>
                <a:gd name="T27" fmla="*/ 2147483646 h 130"/>
                <a:gd name="T28" fmla="*/ 2147483646 w 208"/>
                <a:gd name="T29" fmla="*/ 2147483646 h 130"/>
                <a:gd name="T30" fmla="*/ 2147483646 w 208"/>
                <a:gd name="T31" fmla="*/ 2147483646 h 130"/>
                <a:gd name="T32" fmla="*/ 2147483646 w 208"/>
                <a:gd name="T33" fmla="*/ 2147483646 h 130"/>
                <a:gd name="T34" fmla="*/ 2147483646 w 208"/>
                <a:gd name="T35" fmla="*/ 2147483646 h 130"/>
                <a:gd name="T36" fmla="*/ 2147483646 w 208"/>
                <a:gd name="T37" fmla="*/ 2147483646 h 130"/>
                <a:gd name="T38" fmla="*/ 2147483646 w 208"/>
                <a:gd name="T39" fmla="*/ 2147483646 h 130"/>
                <a:gd name="T40" fmla="*/ 2147483646 w 208"/>
                <a:gd name="T41" fmla="*/ 2147483646 h 130"/>
                <a:gd name="T42" fmla="*/ 2147483646 w 208"/>
                <a:gd name="T43" fmla="*/ 2147483646 h 130"/>
                <a:gd name="T44" fmla="*/ 2147483646 w 208"/>
                <a:gd name="T45" fmla="*/ 2147483646 h 130"/>
                <a:gd name="T46" fmla="*/ 2147483646 w 208"/>
                <a:gd name="T47" fmla="*/ 2147483646 h 130"/>
                <a:gd name="T48" fmla="*/ 2147483646 w 208"/>
                <a:gd name="T49" fmla="*/ 2147483646 h 130"/>
                <a:gd name="T50" fmla="*/ 2147483646 w 208"/>
                <a:gd name="T51" fmla="*/ 2147483646 h 130"/>
                <a:gd name="T52" fmla="*/ 2147483646 w 208"/>
                <a:gd name="T53" fmla="*/ 2147483646 h 130"/>
                <a:gd name="T54" fmla="*/ 2147483646 w 208"/>
                <a:gd name="T55" fmla="*/ 2147483646 h 130"/>
                <a:gd name="T56" fmla="*/ 2147483646 w 208"/>
                <a:gd name="T57" fmla="*/ 2147483646 h 130"/>
                <a:gd name="T58" fmla="*/ 2147483646 w 208"/>
                <a:gd name="T59" fmla="*/ 2147483646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7" name="等腰三角形 1163"/>
            <p:cNvSpPr/>
            <p:nvPr/>
          </p:nvSpPr>
          <p:spPr>
            <a:xfrm rot="5400000">
              <a:off x="3194619" y="2045066"/>
              <a:ext cx="730251" cy="1045489"/>
            </a:xfrm>
            <a:custGeom>
              <a:avLst/>
              <a:gdLst/>
              <a:ahLst/>
              <a:cxnLst/>
              <a:rect l="l" t="t" r="r" b="b"/>
              <a:pathLst>
                <a:path w="729928" h="1045374">
                  <a:moveTo>
                    <a:pt x="0" y="1045374"/>
                  </a:moveTo>
                  <a:lnTo>
                    <a:pt x="0" y="126577"/>
                  </a:lnTo>
                  <a:lnTo>
                    <a:pt x="234185" y="126577"/>
                  </a:lnTo>
                  <a:lnTo>
                    <a:pt x="374542" y="0"/>
                  </a:lnTo>
                  <a:lnTo>
                    <a:pt x="527843" y="126577"/>
                  </a:lnTo>
                  <a:lnTo>
                    <a:pt x="729928" y="126577"/>
                  </a:lnTo>
                  <a:lnTo>
                    <a:pt x="729928" y="1045374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228" name="组合 227"/>
          <p:cNvGrpSpPr/>
          <p:nvPr/>
        </p:nvGrpSpPr>
        <p:grpSpPr bwMode="auto">
          <a:xfrm>
            <a:off x="2706688" y="1277938"/>
            <a:ext cx="1008062" cy="792162"/>
            <a:chOff x="1835150" y="319657"/>
            <a:chExt cx="1008658" cy="792163"/>
          </a:xfrm>
        </p:grpSpPr>
        <p:sp>
          <p:nvSpPr>
            <p:cNvPr id="229" name="矩形 228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30" name="任意多边形 229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33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49" name="组合 248"/>
          <p:cNvGrpSpPr/>
          <p:nvPr/>
        </p:nvGrpSpPr>
        <p:grpSpPr bwMode="auto">
          <a:xfrm>
            <a:off x="2705100" y="3121025"/>
            <a:ext cx="1008063" cy="792163"/>
            <a:chOff x="1835150" y="319657"/>
            <a:chExt cx="1008658" cy="792163"/>
          </a:xfrm>
        </p:grpSpPr>
        <p:sp>
          <p:nvSpPr>
            <p:cNvPr id="253" name="矩形 252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54" name="任意多边形 253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55" name="Freeform 6"/>
            <p:cNvSpPr>
              <a:spLocks noEditPoints="1"/>
            </p:cNvSpPr>
            <p:nvPr/>
          </p:nvSpPr>
          <p:spPr bwMode="auto">
            <a:xfrm>
              <a:off x="2086123" y="508570"/>
              <a:ext cx="643317" cy="403225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56" name="组合 255"/>
          <p:cNvGrpSpPr/>
          <p:nvPr/>
        </p:nvGrpSpPr>
        <p:grpSpPr bwMode="auto">
          <a:xfrm>
            <a:off x="2709863" y="4071938"/>
            <a:ext cx="1008062" cy="792162"/>
            <a:chOff x="1835150" y="319657"/>
            <a:chExt cx="1008658" cy="792163"/>
          </a:xfrm>
        </p:grpSpPr>
        <p:sp>
          <p:nvSpPr>
            <p:cNvPr id="257" name="矩形 256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59" name="任意多边形 258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0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67" name="组合 266"/>
          <p:cNvGrpSpPr/>
          <p:nvPr/>
        </p:nvGrpSpPr>
        <p:grpSpPr bwMode="auto">
          <a:xfrm>
            <a:off x="179388" y="1930400"/>
            <a:ext cx="1870075" cy="1562100"/>
            <a:chOff x="325535" y="1930204"/>
            <a:chExt cx="1870201" cy="1562295"/>
          </a:xfrm>
        </p:grpSpPr>
        <p:sp>
          <p:nvSpPr>
            <p:cNvPr id="282" name="矩形 257"/>
            <p:cNvSpPr/>
            <p:nvPr/>
          </p:nvSpPr>
          <p:spPr>
            <a:xfrm>
              <a:off x="638293" y="1931792"/>
              <a:ext cx="1557443" cy="1560707"/>
            </a:xfrm>
            <a:custGeom>
              <a:avLst/>
              <a:gdLst>
                <a:gd name="connsiteX0" fmla="*/ 129431 w 1564892"/>
                <a:gd name="connsiteY0" fmla="*/ 0 h 1563674"/>
                <a:gd name="connsiteX1" fmla="*/ 1562510 w 1564892"/>
                <a:gd name="connsiteY1" fmla="*/ 3034 h 1563674"/>
                <a:gd name="connsiteX2" fmla="*/ 1564892 w 1564892"/>
                <a:gd name="connsiteY2" fmla="*/ 1432510 h 1563674"/>
                <a:gd name="connsiteX3" fmla="*/ 1482392 w 1564892"/>
                <a:gd name="connsiteY3" fmla="*/ 1563674 h 1563674"/>
                <a:gd name="connsiteX4" fmla="*/ 1870 w 1564892"/>
                <a:gd name="connsiteY4" fmla="*/ 1563674 h 1563674"/>
                <a:gd name="connsiteX5" fmla="*/ 0 w 1564892"/>
                <a:gd name="connsiteY5" fmla="*/ 93158 h 1563674"/>
                <a:gd name="connsiteX6" fmla="*/ 129431 w 1564892"/>
                <a:gd name="connsiteY6" fmla="*/ 0 h 1563674"/>
                <a:gd name="connsiteX0-1" fmla="*/ 129431 w 1562510"/>
                <a:gd name="connsiteY0-2" fmla="*/ 0 h 1563674"/>
                <a:gd name="connsiteX1-3" fmla="*/ 1562510 w 1562510"/>
                <a:gd name="connsiteY1-4" fmla="*/ 3034 h 1563674"/>
                <a:gd name="connsiteX2-5" fmla="*/ 1557748 w 1562510"/>
                <a:gd name="connsiteY2-6" fmla="*/ 1434891 h 1563674"/>
                <a:gd name="connsiteX3-7" fmla="*/ 1482392 w 1562510"/>
                <a:gd name="connsiteY3-8" fmla="*/ 1563674 h 1563674"/>
                <a:gd name="connsiteX4-9" fmla="*/ 1870 w 1562510"/>
                <a:gd name="connsiteY4-10" fmla="*/ 1563674 h 1563674"/>
                <a:gd name="connsiteX5-11" fmla="*/ 0 w 1562510"/>
                <a:gd name="connsiteY5-12" fmla="*/ 93158 h 1563674"/>
                <a:gd name="connsiteX6-13" fmla="*/ 129431 w 1562510"/>
                <a:gd name="connsiteY6-14" fmla="*/ 0 h 1563674"/>
                <a:gd name="connsiteX0-15" fmla="*/ 129431 w 1558206"/>
                <a:gd name="connsiteY0-16" fmla="*/ 0 h 1563674"/>
                <a:gd name="connsiteX1-17" fmla="*/ 1557747 w 1558206"/>
                <a:gd name="connsiteY1-18" fmla="*/ 5415 h 1563674"/>
                <a:gd name="connsiteX2-19" fmla="*/ 1557748 w 1558206"/>
                <a:gd name="connsiteY2-20" fmla="*/ 1434891 h 1563674"/>
                <a:gd name="connsiteX3-21" fmla="*/ 1482392 w 1558206"/>
                <a:gd name="connsiteY3-22" fmla="*/ 1563674 h 1563674"/>
                <a:gd name="connsiteX4-23" fmla="*/ 1870 w 1558206"/>
                <a:gd name="connsiteY4-24" fmla="*/ 1563674 h 1563674"/>
                <a:gd name="connsiteX5-25" fmla="*/ 0 w 1558206"/>
                <a:gd name="connsiteY5-26" fmla="*/ 93158 h 1563674"/>
                <a:gd name="connsiteX6-27" fmla="*/ 129431 w 1558206"/>
                <a:gd name="connsiteY6-28" fmla="*/ 0 h 1563674"/>
                <a:gd name="connsiteX0-29" fmla="*/ 129431 w 1558206"/>
                <a:gd name="connsiteY0-30" fmla="*/ 0 h 1561293"/>
                <a:gd name="connsiteX1-31" fmla="*/ 1557747 w 1558206"/>
                <a:gd name="connsiteY1-32" fmla="*/ 3034 h 1561293"/>
                <a:gd name="connsiteX2-33" fmla="*/ 1557748 w 1558206"/>
                <a:gd name="connsiteY2-34" fmla="*/ 1432510 h 1561293"/>
                <a:gd name="connsiteX3-35" fmla="*/ 1482392 w 1558206"/>
                <a:gd name="connsiteY3-36" fmla="*/ 1561293 h 1561293"/>
                <a:gd name="connsiteX4-37" fmla="*/ 1870 w 1558206"/>
                <a:gd name="connsiteY4-38" fmla="*/ 1561293 h 1561293"/>
                <a:gd name="connsiteX5-39" fmla="*/ 0 w 1558206"/>
                <a:gd name="connsiteY5-40" fmla="*/ 90777 h 1561293"/>
                <a:gd name="connsiteX6-41" fmla="*/ 129431 w 1558206"/>
                <a:gd name="connsiteY6-42" fmla="*/ 0 h 156129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1558206" h="1561293">
                  <a:moveTo>
                    <a:pt x="129431" y="0"/>
                  </a:moveTo>
                  <a:lnTo>
                    <a:pt x="1557747" y="3034"/>
                  </a:lnTo>
                  <a:cubicBezTo>
                    <a:pt x="1556160" y="480320"/>
                    <a:pt x="1559335" y="955224"/>
                    <a:pt x="1557748" y="1432510"/>
                  </a:cubicBezTo>
                  <a:lnTo>
                    <a:pt x="1482392" y="1561293"/>
                  </a:lnTo>
                  <a:lnTo>
                    <a:pt x="1870" y="1561293"/>
                  </a:lnTo>
                  <a:cubicBezTo>
                    <a:pt x="1247" y="1071121"/>
                    <a:pt x="623" y="580949"/>
                    <a:pt x="0" y="90777"/>
                  </a:cubicBezTo>
                  <a:lnTo>
                    <a:pt x="129431" y="0"/>
                  </a:lnTo>
                  <a:close/>
                </a:path>
              </a:pathLst>
            </a:custGeom>
            <a:solidFill>
              <a:srgbClr val="26667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284" name="矩形 283"/>
            <p:cNvSpPr/>
            <p:nvPr/>
          </p:nvSpPr>
          <p:spPr>
            <a:xfrm>
              <a:off x="762126" y="1930204"/>
              <a:ext cx="1433610" cy="143369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91" name="TextBox 290"/>
            <p:cNvSpPr txBox="1"/>
            <p:nvPr/>
          </p:nvSpPr>
          <p:spPr bwMode="auto">
            <a:xfrm>
              <a:off x="749426" y="2120728"/>
              <a:ext cx="1408208" cy="6461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600" b="1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经典繁超宋" pitchFamily="49" charset="-122"/>
                </a:rPr>
                <a:t>目录</a:t>
              </a:r>
              <a:endParaRPr lang="zh-CN" altLang="en-US" sz="3600" b="1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繁超宋" pitchFamily="49" charset="-122"/>
              </a:endParaRPr>
            </a:p>
          </p:txBody>
        </p:sp>
        <p:sp>
          <p:nvSpPr>
            <p:cNvPr id="306" name="TextBox 179"/>
            <p:cNvSpPr txBox="1">
              <a:spLocks noChangeArrowheads="1"/>
            </p:cNvSpPr>
            <p:nvPr/>
          </p:nvSpPr>
          <p:spPr bwMode="auto">
            <a:xfrm>
              <a:off x="325535" y="2736755"/>
              <a:ext cx="1779707" cy="339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   CONTENTS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4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 tmFilter="0, 0; .2, .5; .8, .5; 1, 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250" autoRev="1" fill="hold"/>
                                        <p:tgtEl>
                                          <p:spTgt spid="2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4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98" name="组合 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29782" name="组合 2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7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8" name="矩形 7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9783" name="Freeform 152"/>
            <p:cNvSpPr>
              <a:spLocks noEditPoints="1"/>
            </p:cNvSpPr>
            <p:nvPr/>
          </p:nvSpPr>
          <p:spPr bwMode="auto">
            <a:xfrm>
              <a:off x="2093495" y="322945"/>
              <a:ext cx="225659" cy="216510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2147483646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1" h="30">
                  <a:moveTo>
                    <a:pt x="21" y="8"/>
                  </a:moveTo>
                  <a:cubicBezTo>
                    <a:pt x="22" y="9"/>
                    <a:pt x="23" y="9"/>
                    <a:pt x="24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4"/>
                    <a:pt x="28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5"/>
                    <a:pt x="31" y="16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3"/>
                    <a:pt x="25" y="25"/>
                    <a:pt x="23" y="26"/>
                  </a:cubicBezTo>
                  <a:cubicBezTo>
                    <a:pt x="22" y="27"/>
                    <a:pt x="22" y="28"/>
                    <a:pt x="22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9"/>
                    <a:pt x="18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2" y="29"/>
                    <a:pt x="12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5" y="25"/>
                    <a:pt x="3" y="22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3"/>
                    <a:pt x="6" y="10"/>
                    <a:pt x="10" y="8"/>
                  </a:cubicBezTo>
                  <a:cubicBezTo>
                    <a:pt x="11" y="10"/>
                    <a:pt x="13" y="12"/>
                    <a:pt x="15" y="12"/>
                  </a:cubicBezTo>
                  <a:cubicBezTo>
                    <a:pt x="18" y="12"/>
                    <a:pt x="20" y="10"/>
                    <a:pt x="21" y="8"/>
                  </a:cubicBezTo>
                  <a:close/>
                  <a:moveTo>
                    <a:pt x="15" y="0"/>
                  </a:moveTo>
                  <a:cubicBezTo>
                    <a:pt x="13" y="0"/>
                    <a:pt x="10" y="2"/>
                    <a:pt x="10" y="5"/>
                  </a:cubicBezTo>
                  <a:cubicBezTo>
                    <a:pt x="10" y="8"/>
                    <a:pt x="13" y="10"/>
                    <a:pt x="15" y="10"/>
                  </a:cubicBezTo>
                  <a:cubicBezTo>
                    <a:pt x="18" y="10"/>
                    <a:pt x="21" y="8"/>
                    <a:pt x="21" y="5"/>
                  </a:cubicBezTo>
                  <a:cubicBezTo>
                    <a:pt x="21" y="2"/>
                    <a:pt x="18" y="0"/>
                    <a:pt x="15" y="0"/>
                  </a:cubicBezTo>
                  <a:close/>
                  <a:moveTo>
                    <a:pt x="14" y="8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2" name="Rectangle 4"/>
          <p:cNvSpPr/>
          <p:nvPr/>
        </p:nvSpPr>
        <p:spPr bwMode="auto">
          <a:xfrm>
            <a:off x="2679700" y="1230313"/>
            <a:ext cx="6283325" cy="3206750"/>
          </a:xfrm>
          <a:custGeom>
            <a:avLst/>
            <a:gdLst/>
            <a:ahLst/>
            <a:cxnLst/>
            <a:rect l="l" t="t" r="r" b="b"/>
            <a:pathLst>
              <a:path w="6283168" h="3206678">
                <a:moveTo>
                  <a:pt x="4" y="1608494"/>
                </a:moveTo>
                <a:lnTo>
                  <a:pt x="6274128" y="1608494"/>
                </a:lnTo>
                <a:lnTo>
                  <a:pt x="6274128" y="3206678"/>
                </a:lnTo>
                <a:lnTo>
                  <a:pt x="4" y="3206678"/>
                </a:lnTo>
                <a:close/>
                <a:moveTo>
                  <a:pt x="0" y="0"/>
                </a:moveTo>
                <a:lnTo>
                  <a:pt x="6283168" y="0"/>
                </a:lnTo>
                <a:lnTo>
                  <a:pt x="6283168" y="1598184"/>
                </a:lnTo>
                <a:lnTo>
                  <a:pt x="0" y="1598184"/>
                </a:lnTo>
                <a:close/>
              </a:path>
            </a:pathLst>
          </a:custGeom>
          <a:solidFill>
            <a:srgbClr val="32879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/>
          <a:lstStyle/>
          <a:p>
            <a:pPr algn="ctr" defTabSz="913130" eaLnBrk="1" hangingPunct="1">
              <a:lnSpc>
                <a:spcPct val="90000"/>
              </a:lnSpc>
              <a:defRPr/>
            </a:pPr>
            <a:endParaRPr lang="en-US" sz="2000" dirty="0">
              <a:gradFill>
                <a:gsLst>
                  <a:gs pos="1250">
                    <a:srgbClr val="EFEFEF"/>
                  </a:gs>
                  <a:gs pos="10417">
                    <a:srgbClr val="EFEFE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tangle 5"/>
          <p:cNvSpPr/>
          <p:nvPr/>
        </p:nvSpPr>
        <p:spPr bwMode="auto">
          <a:xfrm>
            <a:off x="2701925" y="1614488"/>
            <a:ext cx="6334125" cy="2620962"/>
          </a:xfrm>
          <a:prstGeom prst="rect">
            <a:avLst/>
          </a:prstGeom>
          <a:solidFill>
            <a:srgbClr val="97373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30" name="Group 23"/>
          <p:cNvGrpSpPr/>
          <p:nvPr/>
        </p:nvGrpSpPr>
        <p:grpSpPr bwMode="auto">
          <a:xfrm>
            <a:off x="-36513" y="1716088"/>
            <a:ext cx="2735263" cy="2185987"/>
            <a:chOff x="352814" y="1680798"/>
            <a:chExt cx="3003850" cy="2448262"/>
          </a:xfrm>
        </p:grpSpPr>
        <p:pic>
          <p:nvPicPr>
            <p:cNvPr id="31" name="Picture 24" descr="businessagility.jpg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56645" y="1680798"/>
              <a:ext cx="2992893" cy="1997958"/>
            </a:xfrm>
            <a:prstGeom prst="rect">
              <a:avLst/>
            </a:prstGeom>
            <a:gradFill>
              <a:gsLst>
                <a:gs pos="11667">
                  <a:srgbClr val="000000"/>
                </a:gs>
                <a:gs pos="100000">
                  <a:srgbClr val="000000">
                    <a:alpha val="0"/>
                  </a:srgbClr>
                </a:gs>
              </a:gsLst>
              <a:lin ang="16200000" scaled="0"/>
            </a:gra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</p:pic>
        <p:sp>
          <p:nvSpPr>
            <p:cNvPr id="32" name="Rectangle 25"/>
            <p:cNvSpPr/>
            <p:nvPr/>
          </p:nvSpPr>
          <p:spPr bwMode="auto">
            <a:xfrm>
              <a:off x="352814" y="3679235"/>
              <a:ext cx="3003850" cy="449825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prstClr val="white"/>
                  </a:solidFill>
                </a:rPr>
                <a:t> </a:t>
              </a: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dirty="0">
                <a:solidFill>
                  <a:prstClr val="white"/>
                </a:solidFill>
              </a:endParaRPr>
            </a:p>
          </p:txBody>
        </p:sp>
      </p:grpSp>
      <p:cxnSp>
        <p:nvCxnSpPr>
          <p:cNvPr id="48" name="Straight Connector 42"/>
          <p:cNvCxnSpPr/>
          <p:nvPr/>
        </p:nvCxnSpPr>
        <p:spPr>
          <a:xfrm>
            <a:off x="2771800" y="2779713"/>
            <a:ext cx="6264695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cxnSp>
      <p:sp>
        <p:nvSpPr>
          <p:cNvPr id="15" name="Trapezoid 27"/>
          <p:cNvSpPr/>
          <p:nvPr/>
        </p:nvSpPr>
        <p:spPr bwMode="auto">
          <a:xfrm rot="5400000">
            <a:off x="944563" y="2735262"/>
            <a:ext cx="3824288" cy="328613"/>
          </a:xfrm>
          <a:custGeom>
            <a:avLst/>
            <a:gdLst/>
            <a:ahLst/>
            <a:cxnLst/>
            <a:rect l="l" t="t" r="r" b="b"/>
            <a:pathLst>
              <a:path w="3823707" h="328692">
                <a:moveTo>
                  <a:pt x="0" y="328692"/>
                </a:moveTo>
                <a:lnTo>
                  <a:pt x="599374" y="1883"/>
                </a:lnTo>
                <a:lnTo>
                  <a:pt x="1889864" y="65"/>
                </a:lnTo>
                <a:cubicBezTo>
                  <a:pt x="1889865" y="43"/>
                  <a:pt x="1889865" y="22"/>
                  <a:pt x="1889865" y="0"/>
                </a:cubicBezTo>
                <a:lnTo>
                  <a:pt x="1912743" y="32"/>
                </a:lnTo>
                <a:lnTo>
                  <a:pt x="1933843" y="3"/>
                </a:lnTo>
                <a:cubicBezTo>
                  <a:pt x="1933843" y="22"/>
                  <a:pt x="1933843" y="42"/>
                  <a:pt x="1933843" y="62"/>
                </a:cubicBezTo>
                <a:lnTo>
                  <a:pt x="3224334" y="1881"/>
                </a:lnTo>
                <a:lnTo>
                  <a:pt x="3823707" y="328690"/>
                </a:lnTo>
                <a:lnTo>
                  <a:pt x="1934649" y="328690"/>
                </a:lnTo>
                <a:lnTo>
                  <a:pt x="1934649" y="328692"/>
                </a:lnTo>
                <a:close/>
              </a:path>
            </a:pathLst>
          </a:cu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3197225" y="2238375"/>
            <a:ext cx="1589088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4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5099050" y="2238375"/>
            <a:ext cx="1590675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4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7024688" y="2238375"/>
            <a:ext cx="1589087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4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707" name="Freeform 51"/>
          <p:cNvSpPr>
            <a:spLocks noEditPoints="1"/>
          </p:cNvSpPr>
          <p:nvPr/>
        </p:nvSpPr>
        <p:spPr bwMode="auto">
          <a:xfrm rot="10800000" flipH="1" flipV="1">
            <a:off x="8550275" y="4249738"/>
            <a:ext cx="158750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5" name="组合 4"/>
          <p:cNvGrpSpPr/>
          <p:nvPr/>
        </p:nvGrpSpPr>
        <p:grpSpPr bwMode="auto">
          <a:xfrm>
            <a:off x="3197225" y="2979738"/>
            <a:ext cx="1589088" cy="1152525"/>
            <a:chOff x="3197208" y="2979990"/>
            <a:chExt cx="1589610" cy="1152456"/>
          </a:xfrm>
        </p:grpSpPr>
        <p:sp>
          <p:nvSpPr>
            <p:cNvPr id="72" name="矩形 71"/>
            <p:cNvSpPr/>
            <p:nvPr/>
          </p:nvSpPr>
          <p:spPr>
            <a:xfrm>
              <a:off x="3197208" y="3619714"/>
              <a:ext cx="1589610" cy="5127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772" name="组合 64"/>
            <p:cNvGrpSpPr/>
            <p:nvPr/>
          </p:nvGrpSpPr>
          <p:grpSpPr bwMode="auto">
            <a:xfrm>
              <a:off x="3712169" y="2979990"/>
              <a:ext cx="559688" cy="560725"/>
              <a:chOff x="-1816100" y="-3044825"/>
              <a:chExt cx="2571750" cy="2576512"/>
            </a:xfrm>
          </p:grpSpPr>
          <p:sp>
            <p:nvSpPr>
              <p:cNvPr id="11" name="Freeform 6"/>
              <p:cNvSpPr/>
              <p:nvPr/>
            </p:nvSpPr>
            <p:spPr bwMode="auto">
              <a:xfrm>
                <a:off x="-1818132" y="-3044825"/>
                <a:ext cx="2575813" cy="2574803"/>
              </a:xfrm>
              <a:custGeom>
                <a:avLst/>
                <a:gdLst>
                  <a:gd name="T0" fmla="*/ 0 w 686"/>
                  <a:gd name="T1" fmla="*/ 624 h 687"/>
                  <a:gd name="T2" fmla="*/ 62 w 686"/>
                  <a:gd name="T3" fmla="*/ 687 h 687"/>
                  <a:gd name="T4" fmla="*/ 624 w 686"/>
                  <a:gd name="T5" fmla="*/ 687 h 687"/>
                  <a:gd name="T6" fmla="*/ 686 w 686"/>
                  <a:gd name="T7" fmla="*/ 624 h 687"/>
                  <a:gd name="T8" fmla="*/ 686 w 686"/>
                  <a:gd name="T9" fmla="*/ 62 h 687"/>
                  <a:gd name="T10" fmla="*/ 624 w 686"/>
                  <a:gd name="T11" fmla="*/ 0 h 687"/>
                  <a:gd name="T12" fmla="*/ 62 w 686"/>
                  <a:gd name="T13" fmla="*/ 0 h 687"/>
                  <a:gd name="T14" fmla="*/ 0 w 686"/>
                  <a:gd name="T15" fmla="*/ 62 h 687"/>
                  <a:gd name="T16" fmla="*/ 0 w 686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6" y="659"/>
                      <a:pt x="686" y="624"/>
                    </a:cubicBezTo>
                    <a:cubicBezTo>
                      <a:pt x="686" y="62"/>
                      <a:pt x="686" y="62"/>
                      <a:pt x="686" y="62"/>
                    </a:cubicBezTo>
                    <a:cubicBezTo>
                      <a:pt x="686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75" name="Freeform 7"/>
              <p:cNvSpPr/>
              <p:nvPr/>
            </p:nvSpPr>
            <p:spPr bwMode="auto">
              <a:xfrm>
                <a:off x="-1606550" y="-2489200"/>
                <a:ext cx="2362200" cy="2020887"/>
              </a:xfrm>
              <a:custGeom>
                <a:avLst/>
                <a:gdLst>
                  <a:gd name="T0" fmla="*/ 2147483646 w 630"/>
                  <a:gd name="T1" fmla="*/ 2147483646 h 539"/>
                  <a:gd name="T2" fmla="*/ 2147483646 w 630"/>
                  <a:gd name="T3" fmla="*/ 2147483646 h 539"/>
                  <a:gd name="T4" fmla="*/ 2147483646 w 630"/>
                  <a:gd name="T5" fmla="*/ 2147483646 h 539"/>
                  <a:gd name="T6" fmla="*/ 2147483646 w 630"/>
                  <a:gd name="T7" fmla="*/ 0 h 539"/>
                  <a:gd name="T8" fmla="*/ 2147483646 w 630"/>
                  <a:gd name="T9" fmla="*/ 2147483646 h 539"/>
                  <a:gd name="T10" fmla="*/ 2147483646 w 630"/>
                  <a:gd name="T11" fmla="*/ 2147483646 h 539"/>
                  <a:gd name="T12" fmla="*/ 2147483646 w 630"/>
                  <a:gd name="T13" fmla="*/ 2147483646 h 539"/>
                  <a:gd name="T14" fmla="*/ 2147483646 w 630"/>
                  <a:gd name="T15" fmla="*/ 2147483646 h 539"/>
                  <a:gd name="T16" fmla="*/ 2147483646 w 630"/>
                  <a:gd name="T17" fmla="*/ 2147483646 h 539"/>
                  <a:gd name="T18" fmla="*/ 2147483646 w 630"/>
                  <a:gd name="T19" fmla="*/ 2147483646 h 539"/>
                  <a:gd name="T20" fmla="*/ 2147483646 w 630"/>
                  <a:gd name="T21" fmla="*/ 2147483646 h 539"/>
                  <a:gd name="T22" fmla="*/ 2147483646 w 630"/>
                  <a:gd name="T23" fmla="*/ 2147483646 h 539"/>
                  <a:gd name="T24" fmla="*/ 2147483646 w 630"/>
                  <a:gd name="T25" fmla="*/ 2147483646 h 539"/>
                  <a:gd name="T26" fmla="*/ 2147483646 w 630"/>
                  <a:gd name="T27" fmla="*/ 2147483646 h 53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30" h="539">
                    <a:moveTo>
                      <a:pt x="630" y="143"/>
                    </a:moveTo>
                    <a:cubicBezTo>
                      <a:pt x="555" y="68"/>
                      <a:pt x="555" y="68"/>
                      <a:pt x="555" y="68"/>
                    </a:cubicBezTo>
                    <a:cubicBezTo>
                      <a:pt x="134" y="82"/>
                      <a:pt x="134" y="82"/>
                      <a:pt x="134" y="82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3" y="6"/>
                      <a:pt x="11" y="2"/>
                      <a:pt x="6" y="17"/>
                    </a:cubicBezTo>
                    <a:cubicBezTo>
                      <a:pt x="0" y="32"/>
                      <a:pt x="10" y="41"/>
                      <a:pt x="10" y="41"/>
                    </a:cubicBezTo>
                    <a:cubicBezTo>
                      <a:pt x="205" y="235"/>
                      <a:pt x="205" y="235"/>
                      <a:pt x="205" y="235"/>
                    </a:cubicBezTo>
                    <a:cubicBezTo>
                      <a:pt x="232" y="297"/>
                      <a:pt x="232" y="297"/>
                      <a:pt x="232" y="297"/>
                    </a:cubicBezTo>
                    <a:cubicBezTo>
                      <a:pt x="234" y="418"/>
                      <a:pt x="234" y="418"/>
                      <a:pt x="234" y="418"/>
                    </a:cubicBezTo>
                    <a:cubicBezTo>
                      <a:pt x="355" y="539"/>
                      <a:pt x="355" y="539"/>
                      <a:pt x="355" y="539"/>
                    </a:cubicBezTo>
                    <a:cubicBezTo>
                      <a:pt x="568" y="539"/>
                      <a:pt x="568" y="539"/>
                      <a:pt x="568" y="539"/>
                    </a:cubicBezTo>
                    <a:cubicBezTo>
                      <a:pt x="603" y="539"/>
                      <a:pt x="630" y="511"/>
                      <a:pt x="630" y="476"/>
                    </a:cubicBezTo>
                    <a:lnTo>
                      <a:pt x="630" y="143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6" name="Freeform 8"/>
              <p:cNvSpPr>
                <a:spLocks noEditPoints="1"/>
              </p:cNvSpPr>
              <p:nvPr/>
            </p:nvSpPr>
            <p:spPr bwMode="auto">
              <a:xfrm>
                <a:off x="-1501775" y="-2516188"/>
                <a:ext cx="1998663" cy="1406525"/>
              </a:xfrm>
              <a:custGeom>
                <a:avLst/>
                <a:gdLst>
                  <a:gd name="T0" fmla="*/ 2147483646 w 533"/>
                  <a:gd name="T1" fmla="*/ 2147483646 h 375"/>
                  <a:gd name="T2" fmla="*/ 2147483646 w 533"/>
                  <a:gd name="T3" fmla="*/ 2147483646 h 375"/>
                  <a:gd name="T4" fmla="*/ 2147483646 w 533"/>
                  <a:gd name="T5" fmla="*/ 2147483646 h 375"/>
                  <a:gd name="T6" fmla="*/ 2147483646 w 533"/>
                  <a:gd name="T7" fmla="*/ 2147483646 h 375"/>
                  <a:gd name="T8" fmla="*/ 2147483646 w 533"/>
                  <a:gd name="T9" fmla="*/ 2147483646 h 375"/>
                  <a:gd name="T10" fmla="*/ 2147483646 w 533"/>
                  <a:gd name="T11" fmla="*/ 2147483646 h 375"/>
                  <a:gd name="T12" fmla="*/ 2147483646 w 533"/>
                  <a:gd name="T13" fmla="*/ 2147483646 h 375"/>
                  <a:gd name="T14" fmla="*/ 2147483646 w 533"/>
                  <a:gd name="T15" fmla="*/ 2147483646 h 375"/>
                  <a:gd name="T16" fmla="*/ 2147483646 w 533"/>
                  <a:gd name="T17" fmla="*/ 2147483646 h 375"/>
                  <a:gd name="T18" fmla="*/ 2147483646 w 533"/>
                  <a:gd name="T19" fmla="*/ 2147483646 h 375"/>
                  <a:gd name="T20" fmla="*/ 2147483646 w 533"/>
                  <a:gd name="T21" fmla="*/ 2147483646 h 375"/>
                  <a:gd name="T22" fmla="*/ 2147483646 w 533"/>
                  <a:gd name="T23" fmla="*/ 2147483646 h 375"/>
                  <a:gd name="T24" fmla="*/ 2147483646 w 533"/>
                  <a:gd name="T25" fmla="*/ 2147483646 h 375"/>
                  <a:gd name="T26" fmla="*/ 2147483646 w 533"/>
                  <a:gd name="T27" fmla="*/ 2147483646 h 375"/>
                  <a:gd name="T28" fmla="*/ 2147483646 w 533"/>
                  <a:gd name="T29" fmla="*/ 2147483646 h 375"/>
                  <a:gd name="T30" fmla="*/ 2147483646 w 533"/>
                  <a:gd name="T31" fmla="*/ 2147483646 h 375"/>
                  <a:gd name="T32" fmla="*/ 2147483646 w 533"/>
                  <a:gd name="T33" fmla="*/ 2147483646 h 375"/>
                  <a:gd name="T34" fmla="*/ 2147483646 w 533"/>
                  <a:gd name="T35" fmla="*/ 2147483646 h 375"/>
                  <a:gd name="T36" fmla="*/ 2147483646 w 533"/>
                  <a:gd name="T37" fmla="*/ 2147483646 h 375"/>
                  <a:gd name="T38" fmla="*/ 2147483646 w 533"/>
                  <a:gd name="T39" fmla="*/ 2147483646 h 375"/>
                  <a:gd name="T40" fmla="*/ 2147483646 w 533"/>
                  <a:gd name="T41" fmla="*/ 2147483646 h 375"/>
                  <a:gd name="T42" fmla="*/ 2147483646 w 533"/>
                  <a:gd name="T43" fmla="*/ 2147483646 h 375"/>
                  <a:gd name="T44" fmla="*/ 2147483646 w 533"/>
                  <a:gd name="T45" fmla="*/ 2147483646 h 375"/>
                  <a:gd name="T46" fmla="*/ 2147483646 w 533"/>
                  <a:gd name="T47" fmla="*/ 2147483646 h 375"/>
                  <a:gd name="T48" fmla="*/ 2147483646 w 533"/>
                  <a:gd name="T49" fmla="*/ 2147483646 h 375"/>
                  <a:gd name="T50" fmla="*/ 2147483646 w 533"/>
                  <a:gd name="T51" fmla="*/ 2147483646 h 375"/>
                  <a:gd name="T52" fmla="*/ 2147483646 w 533"/>
                  <a:gd name="T53" fmla="*/ 2147483646 h 375"/>
                  <a:gd name="T54" fmla="*/ 2147483646 w 533"/>
                  <a:gd name="T55" fmla="*/ 2147483646 h 375"/>
                  <a:gd name="T56" fmla="*/ 2147483646 w 533"/>
                  <a:gd name="T57" fmla="*/ 2147483646 h 375"/>
                  <a:gd name="T58" fmla="*/ 2147483646 w 533"/>
                  <a:gd name="T59" fmla="*/ 2147483646 h 375"/>
                  <a:gd name="T60" fmla="*/ 2147483646 w 533"/>
                  <a:gd name="T61" fmla="*/ 2147483646 h 375"/>
                  <a:gd name="T62" fmla="*/ 2147483646 w 533"/>
                  <a:gd name="T63" fmla="*/ 2147483646 h 375"/>
                  <a:gd name="T64" fmla="*/ 2147483646 w 533"/>
                  <a:gd name="T65" fmla="*/ 2147483646 h 375"/>
                  <a:gd name="T66" fmla="*/ 2147483646 w 533"/>
                  <a:gd name="T67" fmla="*/ 2147483646 h 375"/>
                  <a:gd name="T68" fmla="*/ 2147483646 w 533"/>
                  <a:gd name="T69" fmla="*/ 2147483646 h 375"/>
                  <a:gd name="T70" fmla="*/ 2147483646 w 533"/>
                  <a:gd name="T71" fmla="*/ 2147483646 h 375"/>
                  <a:gd name="T72" fmla="*/ 2147483646 w 533"/>
                  <a:gd name="T73" fmla="*/ 2147483646 h 375"/>
                  <a:gd name="T74" fmla="*/ 2147483646 w 533"/>
                  <a:gd name="T75" fmla="*/ 2147483646 h 375"/>
                  <a:gd name="T76" fmla="*/ 2147483646 w 533"/>
                  <a:gd name="T77" fmla="*/ 2147483646 h 375"/>
                  <a:gd name="T78" fmla="*/ 2147483646 w 533"/>
                  <a:gd name="T79" fmla="*/ 2147483646 h 375"/>
                  <a:gd name="T80" fmla="*/ 2147483646 w 533"/>
                  <a:gd name="T81" fmla="*/ 2147483646 h 375"/>
                  <a:gd name="T82" fmla="*/ 2147483646 w 533"/>
                  <a:gd name="T83" fmla="*/ 2147483646 h 375"/>
                  <a:gd name="T84" fmla="*/ 2147483646 w 533"/>
                  <a:gd name="T85" fmla="*/ 2147483646 h 375"/>
                  <a:gd name="T86" fmla="*/ 2147483646 w 533"/>
                  <a:gd name="T87" fmla="*/ 2147483646 h 375"/>
                  <a:gd name="T88" fmla="*/ 2147483646 w 533"/>
                  <a:gd name="T89" fmla="*/ 2147483646 h 375"/>
                  <a:gd name="T90" fmla="*/ 2147483646 w 533"/>
                  <a:gd name="T91" fmla="*/ 2147483646 h 375"/>
                  <a:gd name="T92" fmla="*/ 2147483646 w 533"/>
                  <a:gd name="T93" fmla="*/ 2147483646 h 375"/>
                  <a:gd name="T94" fmla="*/ 2147483646 w 533"/>
                  <a:gd name="T95" fmla="*/ 2147483646 h 375"/>
                  <a:gd name="T96" fmla="*/ 2147483646 w 533"/>
                  <a:gd name="T97" fmla="*/ 2147483646 h 375"/>
                  <a:gd name="T98" fmla="*/ 2147483646 w 533"/>
                  <a:gd name="T99" fmla="*/ 2147483646 h 375"/>
                  <a:gd name="T100" fmla="*/ 2147483646 w 533"/>
                  <a:gd name="T101" fmla="*/ 2147483646 h 375"/>
                  <a:gd name="T102" fmla="*/ 2147483646 w 533"/>
                  <a:gd name="T103" fmla="*/ 2147483646 h 375"/>
                  <a:gd name="T104" fmla="*/ 2147483646 w 533"/>
                  <a:gd name="T105" fmla="*/ 2147483646 h 375"/>
                  <a:gd name="T106" fmla="*/ 2147483646 w 533"/>
                  <a:gd name="T107" fmla="*/ 2147483646 h 375"/>
                  <a:gd name="T108" fmla="*/ 2147483646 w 533"/>
                  <a:gd name="T109" fmla="*/ 2147483646 h 375"/>
                  <a:gd name="T110" fmla="*/ 2147483646 w 533"/>
                  <a:gd name="T111" fmla="*/ 2147483646 h 375"/>
                  <a:gd name="T112" fmla="*/ 2147483646 w 533"/>
                  <a:gd name="T113" fmla="*/ 2147483646 h 375"/>
                  <a:gd name="T114" fmla="*/ 2147483646 w 533"/>
                  <a:gd name="T115" fmla="*/ 2147483646 h 375"/>
                  <a:gd name="T116" fmla="*/ 2147483646 w 533"/>
                  <a:gd name="T117" fmla="*/ 2147483646 h 375"/>
                  <a:gd name="T118" fmla="*/ 2147483646 w 533"/>
                  <a:gd name="T119" fmla="*/ 2147483646 h 375"/>
                  <a:gd name="T120" fmla="*/ 2147483646 w 533"/>
                  <a:gd name="T121" fmla="*/ 2147483646 h 37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533" h="375">
                    <a:moveTo>
                      <a:pt x="518" y="73"/>
                    </a:moveTo>
                    <a:cubicBezTo>
                      <a:pt x="100" y="73"/>
                      <a:pt x="100" y="73"/>
                      <a:pt x="100" y="73"/>
                    </a:cubicBezTo>
                    <a:cubicBezTo>
                      <a:pt x="80" y="32"/>
                      <a:pt x="42" y="0"/>
                      <a:pt x="0" y="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36" y="26"/>
                      <a:pt x="63" y="50"/>
                      <a:pt x="79" y="81"/>
                    </a:cubicBezTo>
                    <a:cubicBezTo>
                      <a:pt x="79" y="81"/>
                      <a:pt x="79" y="81"/>
                      <a:pt x="79" y="82"/>
                    </a:cubicBezTo>
                    <a:cubicBezTo>
                      <a:pt x="195" y="304"/>
                      <a:pt x="195" y="304"/>
                      <a:pt x="195" y="304"/>
                    </a:cubicBezTo>
                    <a:cubicBezTo>
                      <a:pt x="195" y="304"/>
                      <a:pt x="195" y="304"/>
                      <a:pt x="195" y="304"/>
                    </a:cubicBezTo>
                    <a:cubicBezTo>
                      <a:pt x="188" y="311"/>
                      <a:pt x="184" y="321"/>
                      <a:pt x="184" y="332"/>
                    </a:cubicBezTo>
                    <a:cubicBezTo>
                      <a:pt x="184" y="355"/>
                      <a:pt x="204" y="375"/>
                      <a:pt x="227" y="375"/>
                    </a:cubicBezTo>
                    <a:cubicBezTo>
                      <a:pt x="419" y="375"/>
                      <a:pt x="419" y="375"/>
                      <a:pt x="419" y="375"/>
                    </a:cubicBezTo>
                    <a:cubicBezTo>
                      <a:pt x="419" y="352"/>
                      <a:pt x="419" y="352"/>
                      <a:pt x="419" y="352"/>
                    </a:cubicBezTo>
                    <a:cubicBezTo>
                      <a:pt x="227" y="352"/>
                      <a:pt x="227" y="352"/>
                      <a:pt x="227" y="352"/>
                    </a:cubicBezTo>
                    <a:cubicBezTo>
                      <a:pt x="216" y="352"/>
                      <a:pt x="207" y="343"/>
                      <a:pt x="207" y="332"/>
                    </a:cubicBezTo>
                    <a:cubicBezTo>
                      <a:pt x="207" y="326"/>
                      <a:pt x="209" y="321"/>
                      <a:pt x="213" y="317"/>
                    </a:cubicBezTo>
                    <a:cubicBezTo>
                      <a:pt x="215" y="315"/>
                      <a:pt x="218" y="313"/>
                      <a:pt x="222" y="312"/>
                    </a:cubicBezTo>
                    <a:cubicBezTo>
                      <a:pt x="461" y="312"/>
                      <a:pt x="461" y="312"/>
                      <a:pt x="461" y="312"/>
                    </a:cubicBezTo>
                    <a:cubicBezTo>
                      <a:pt x="469" y="312"/>
                      <a:pt x="476" y="308"/>
                      <a:pt x="476" y="304"/>
                    </a:cubicBezTo>
                    <a:cubicBezTo>
                      <a:pt x="533" y="82"/>
                      <a:pt x="533" y="82"/>
                      <a:pt x="533" y="82"/>
                    </a:cubicBezTo>
                    <a:cubicBezTo>
                      <a:pt x="533" y="77"/>
                      <a:pt x="527" y="73"/>
                      <a:pt x="518" y="73"/>
                    </a:cubicBezTo>
                    <a:close/>
                    <a:moveTo>
                      <a:pt x="144" y="131"/>
                    </a:move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2"/>
                      <a:pt x="146" y="100"/>
                      <a:pt x="148" y="100"/>
                    </a:cubicBezTo>
                    <a:cubicBezTo>
                      <a:pt x="175" y="100"/>
                      <a:pt x="175" y="100"/>
                      <a:pt x="175" y="100"/>
                    </a:cubicBezTo>
                    <a:cubicBezTo>
                      <a:pt x="178" y="100"/>
                      <a:pt x="180" y="102"/>
                      <a:pt x="180" y="104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0" y="134"/>
                      <a:pt x="178" y="136"/>
                      <a:pt x="175" y="136"/>
                    </a:cubicBezTo>
                    <a:cubicBezTo>
                      <a:pt x="148" y="136"/>
                      <a:pt x="148" y="136"/>
                      <a:pt x="148" y="136"/>
                    </a:cubicBezTo>
                    <a:cubicBezTo>
                      <a:pt x="146" y="136"/>
                      <a:pt x="144" y="134"/>
                      <a:pt x="144" y="131"/>
                    </a:cubicBezTo>
                    <a:close/>
                    <a:moveTo>
                      <a:pt x="146" y="151"/>
                    </a:moveTo>
                    <a:cubicBezTo>
                      <a:pt x="146" y="151"/>
                      <a:pt x="147" y="151"/>
                      <a:pt x="148" y="151"/>
                    </a:cubicBezTo>
                    <a:cubicBezTo>
                      <a:pt x="175" y="151"/>
                      <a:pt x="175" y="151"/>
                      <a:pt x="175" y="151"/>
                    </a:cubicBezTo>
                    <a:cubicBezTo>
                      <a:pt x="177" y="151"/>
                      <a:pt x="179" y="153"/>
                      <a:pt x="179" y="155"/>
                    </a:cubicBezTo>
                    <a:cubicBezTo>
                      <a:pt x="179" y="182"/>
                      <a:pt x="179" y="182"/>
                      <a:pt x="179" y="182"/>
                    </a:cubicBezTo>
                    <a:cubicBezTo>
                      <a:pt x="179" y="185"/>
                      <a:pt x="177" y="187"/>
                      <a:pt x="175" y="187"/>
                    </a:cubicBezTo>
                    <a:cubicBezTo>
                      <a:pt x="165" y="187"/>
                      <a:pt x="165" y="187"/>
                      <a:pt x="165" y="187"/>
                    </a:cubicBezTo>
                    <a:cubicBezTo>
                      <a:pt x="171" y="199"/>
                      <a:pt x="177" y="211"/>
                      <a:pt x="183" y="222"/>
                    </a:cubicBezTo>
                    <a:cubicBezTo>
                      <a:pt x="171" y="199"/>
                      <a:pt x="158" y="174"/>
                      <a:pt x="146" y="151"/>
                    </a:cubicBezTo>
                    <a:close/>
                    <a:moveTo>
                      <a:pt x="192" y="239"/>
                    </a:moveTo>
                    <a:cubicBezTo>
                      <a:pt x="192" y="240"/>
                      <a:pt x="193" y="241"/>
                      <a:pt x="194" y="242"/>
                    </a:cubicBezTo>
                    <a:cubicBezTo>
                      <a:pt x="193" y="241"/>
                      <a:pt x="192" y="240"/>
                      <a:pt x="192" y="239"/>
                    </a:cubicBezTo>
                    <a:close/>
                    <a:moveTo>
                      <a:pt x="233" y="285"/>
                    </a:moveTo>
                    <a:cubicBezTo>
                      <a:pt x="233" y="287"/>
                      <a:pt x="231" y="288"/>
                      <a:pt x="229" y="289"/>
                    </a:cubicBezTo>
                    <a:cubicBezTo>
                      <a:pt x="218" y="289"/>
                      <a:pt x="218" y="289"/>
                      <a:pt x="218" y="289"/>
                    </a:cubicBezTo>
                    <a:cubicBezTo>
                      <a:pt x="217" y="287"/>
                      <a:pt x="210" y="273"/>
                      <a:pt x="199" y="253"/>
                    </a:cubicBezTo>
                    <a:cubicBezTo>
                      <a:pt x="200" y="253"/>
                      <a:pt x="200" y="253"/>
                      <a:pt x="201" y="253"/>
                    </a:cubicBezTo>
                    <a:cubicBezTo>
                      <a:pt x="228" y="253"/>
                      <a:pt x="228" y="253"/>
                      <a:pt x="228" y="253"/>
                    </a:cubicBezTo>
                    <a:cubicBezTo>
                      <a:pt x="231" y="253"/>
                      <a:pt x="233" y="255"/>
                      <a:pt x="233" y="258"/>
                    </a:cubicBezTo>
                    <a:lnTo>
                      <a:pt x="233" y="285"/>
                    </a:lnTo>
                    <a:close/>
                    <a:moveTo>
                      <a:pt x="233" y="233"/>
                    </a:moveTo>
                    <a:cubicBezTo>
                      <a:pt x="233" y="236"/>
                      <a:pt x="231" y="238"/>
                      <a:pt x="229" y="238"/>
                    </a:cubicBezTo>
                    <a:cubicBezTo>
                      <a:pt x="202" y="238"/>
                      <a:pt x="202" y="238"/>
                      <a:pt x="202" y="238"/>
                    </a:cubicBezTo>
                    <a:cubicBezTo>
                      <a:pt x="199" y="238"/>
                      <a:pt x="197" y="236"/>
                      <a:pt x="197" y="233"/>
                    </a:cubicBezTo>
                    <a:cubicBezTo>
                      <a:pt x="197" y="206"/>
                      <a:pt x="197" y="206"/>
                      <a:pt x="197" y="206"/>
                    </a:cubicBezTo>
                    <a:cubicBezTo>
                      <a:pt x="197" y="204"/>
                      <a:pt x="199" y="202"/>
                      <a:pt x="202" y="202"/>
                    </a:cubicBezTo>
                    <a:cubicBezTo>
                      <a:pt x="229" y="202"/>
                      <a:pt x="229" y="202"/>
                      <a:pt x="229" y="202"/>
                    </a:cubicBezTo>
                    <a:cubicBezTo>
                      <a:pt x="231" y="202"/>
                      <a:pt x="233" y="204"/>
                      <a:pt x="233" y="206"/>
                    </a:cubicBezTo>
                    <a:lnTo>
                      <a:pt x="233" y="233"/>
                    </a:lnTo>
                    <a:close/>
                    <a:moveTo>
                      <a:pt x="234" y="182"/>
                    </a:moveTo>
                    <a:cubicBezTo>
                      <a:pt x="234" y="185"/>
                      <a:pt x="232" y="187"/>
                      <a:pt x="230" y="187"/>
                    </a:cubicBezTo>
                    <a:cubicBezTo>
                      <a:pt x="203" y="187"/>
                      <a:pt x="203" y="187"/>
                      <a:pt x="203" y="187"/>
                    </a:cubicBezTo>
                    <a:cubicBezTo>
                      <a:pt x="200" y="187"/>
                      <a:pt x="198" y="185"/>
                      <a:pt x="198" y="182"/>
                    </a:cubicBezTo>
                    <a:cubicBezTo>
                      <a:pt x="198" y="155"/>
                      <a:pt x="198" y="155"/>
                      <a:pt x="198" y="155"/>
                    </a:cubicBezTo>
                    <a:cubicBezTo>
                      <a:pt x="198" y="153"/>
                      <a:pt x="200" y="151"/>
                      <a:pt x="203" y="151"/>
                    </a:cubicBezTo>
                    <a:cubicBezTo>
                      <a:pt x="230" y="151"/>
                      <a:pt x="230" y="151"/>
                      <a:pt x="230" y="151"/>
                    </a:cubicBezTo>
                    <a:cubicBezTo>
                      <a:pt x="232" y="151"/>
                      <a:pt x="234" y="153"/>
                      <a:pt x="234" y="155"/>
                    </a:cubicBezTo>
                    <a:lnTo>
                      <a:pt x="234" y="182"/>
                    </a:lnTo>
                    <a:close/>
                    <a:moveTo>
                      <a:pt x="235" y="131"/>
                    </a:moveTo>
                    <a:cubicBezTo>
                      <a:pt x="235" y="134"/>
                      <a:pt x="233" y="136"/>
                      <a:pt x="230" y="136"/>
                    </a:cubicBezTo>
                    <a:cubicBezTo>
                      <a:pt x="203" y="136"/>
                      <a:pt x="203" y="136"/>
                      <a:pt x="203" y="136"/>
                    </a:cubicBezTo>
                    <a:cubicBezTo>
                      <a:pt x="201" y="136"/>
                      <a:pt x="199" y="134"/>
                      <a:pt x="199" y="131"/>
                    </a:cubicBezTo>
                    <a:cubicBezTo>
                      <a:pt x="199" y="104"/>
                      <a:pt x="199" y="104"/>
                      <a:pt x="199" y="104"/>
                    </a:cubicBezTo>
                    <a:cubicBezTo>
                      <a:pt x="199" y="102"/>
                      <a:pt x="201" y="100"/>
                      <a:pt x="203" y="100"/>
                    </a:cubicBezTo>
                    <a:cubicBezTo>
                      <a:pt x="230" y="100"/>
                      <a:pt x="230" y="100"/>
                      <a:pt x="230" y="100"/>
                    </a:cubicBezTo>
                    <a:cubicBezTo>
                      <a:pt x="233" y="100"/>
                      <a:pt x="235" y="102"/>
                      <a:pt x="235" y="104"/>
                    </a:cubicBezTo>
                    <a:lnTo>
                      <a:pt x="235" y="131"/>
                    </a:lnTo>
                    <a:close/>
                    <a:moveTo>
                      <a:pt x="288" y="285"/>
                    </a:moveTo>
                    <a:cubicBezTo>
                      <a:pt x="288" y="287"/>
                      <a:pt x="286" y="288"/>
                      <a:pt x="284" y="289"/>
                    </a:cubicBezTo>
                    <a:cubicBezTo>
                      <a:pt x="255" y="289"/>
                      <a:pt x="255" y="289"/>
                      <a:pt x="255" y="289"/>
                    </a:cubicBezTo>
                    <a:cubicBezTo>
                      <a:pt x="253" y="288"/>
                      <a:pt x="251" y="287"/>
                      <a:pt x="251" y="285"/>
                    </a:cubicBezTo>
                    <a:cubicBezTo>
                      <a:pt x="251" y="258"/>
                      <a:pt x="251" y="258"/>
                      <a:pt x="251" y="258"/>
                    </a:cubicBezTo>
                    <a:cubicBezTo>
                      <a:pt x="251" y="255"/>
                      <a:pt x="253" y="253"/>
                      <a:pt x="256" y="253"/>
                    </a:cubicBezTo>
                    <a:cubicBezTo>
                      <a:pt x="283" y="253"/>
                      <a:pt x="283" y="253"/>
                      <a:pt x="283" y="253"/>
                    </a:cubicBezTo>
                    <a:cubicBezTo>
                      <a:pt x="286" y="253"/>
                      <a:pt x="288" y="285"/>
                      <a:pt x="288" y="285"/>
                    </a:cubicBezTo>
                    <a:close/>
                    <a:moveTo>
                      <a:pt x="288" y="233"/>
                    </a:moveTo>
                    <a:cubicBezTo>
                      <a:pt x="288" y="236"/>
                      <a:pt x="286" y="238"/>
                      <a:pt x="284" y="238"/>
                    </a:cubicBezTo>
                    <a:cubicBezTo>
                      <a:pt x="257" y="238"/>
                      <a:pt x="257" y="238"/>
                      <a:pt x="257" y="238"/>
                    </a:cubicBezTo>
                    <a:cubicBezTo>
                      <a:pt x="254" y="238"/>
                      <a:pt x="252" y="236"/>
                      <a:pt x="252" y="233"/>
                    </a:cubicBezTo>
                    <a:cubicBezTo>
                      <a:pt x="252" y="206"/>
                      <a:pt x="252" y="206"/>
                      <a:pt x="252" y="206"/>
                    </a:cubicBezTo>
                    <a:cubicBezTo>
                      <a:pt x="252" y="204"/>
                      <a:pt x="254" y="202"/>
                      <a:pt x="257" y="202"/>
                    </a:cubicBezTo>
                    <a:cubicBezTo>
                      <a:pt x="284" y="202"/>
                      <a:pt x="284" y="202"/>
                      <a:pt x="284" y="202"/>
                    </a:cubicBezTo>
                    <a:cubicBezTo>
                      <a:pt x="286" y="202"/>
                      <a:pt x="288" y="204"/>
                      <a:pt x="288" y="206"/>
                    </a:cubicBezTo>
                    <a:lnTo>
                      <a:pt x="288" y="233"/>
                    </a:lnTo>
                    <a:close/>
                    <a:moveTo>
                      <a:pt x="289" y="182"/>
                    </a:moveTo>
                    <a:cubicBezTo>
                      <a:pt x="289" y="185"/>
                      <a:pt x="287" y="187"/>
                      <a:pt x="285" y="187"/>
                    </a:cubicBezTo>
                    <a:cubicBezTo>
                      <a:pt x="257" y="187"/>
                      <a:pt x="257" y="187"/>
                      <a:pt x="257" y="187"/>
                    </a:cubicBezTo>
                    <a:cubicBezTo>
                      <a:pt x="255" y="187"/>
                      <a:pt x="253" y="185"/>
                      <a:pt x="253" y="182"/>
                    </a:cubicBezTo>
                    <a:cubicBezTo>
                      <a:pt x="253" y="155"/>
                      <a:pt x="253" y="155"/>
                      <a:pt x="253" y="155"/>
                    </a:cubicBezTo>
                    <a:cubicBezTo>
                      <a:pt x="253" y="153"/>
                      <a:pt x="255" y="151"/>
                      <a:pt x="257" y="151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7" y="151"/>
                      <a:pt x="289" y="153"/>
                      <a:pt x="289" y="155"/>
                    </a:cubicBezTo>
                    <a:lnTo>
                      <a:pt x="289" y="182"/>
                    </a:lnTo>
                    <a:close/>
                    <a:moveTo>
                      <a:pt x="290" y="131"/>
                    </a:moveTo>
                    <a:cubicBezTo>
                      <a:pt x="290" y="134"/>
                      <a:pt x="288" y="136"/>
                      <a:pt x="285" y="136"/>
                    </a:cubicBezTo>
                    <a:cubicBezTo>
                      <a:pt x="258" y="136"/>
                      <a:pt x="258" y="136"/>
                      <a:pt x="258" y="136"/>
                    </a:cubicBezTo>
                    <a:cubicBezTo>
                      <a:pt x="256" y="136"/>
                      <a:pt x="254" y="134"/>
                      <a:pt x="254" y="131"/>
                    </a:cubicBezTo>
                    <a:cubicBezTo>
                      <a:pt x="254" y="104"/>
                      <a:pt x="254" y="104"/>
                      <a:pt x="254" y="104"/>
                    </a:cubicBezTo>
                    <a:cubicBezTo>
                      <a:pt x="254" y="102"/>
                      <a:pt x="256" y="100"/>
                      <a:pt x="258" y="100"/>
                    </a:cubicBezTo>
                    <a:cubicBezTo>
                      <a:pt x="285" y="100"/>
                      <a:pt x="285" y="100"/>
                      <a:pt x="285" y="100"/>
                    </a:cubicBezTo>
                    <a:cubicBezTo>
                      <a:pt x="288" y="100"/>
                      <a:pt x="290" y="102"/>
                      <a:pt x="290" y="104"/>
                    </a:cubicBezTo>
                    <a:lnTo>
                      <a:pt x="290" y="131"/>
                    </a:lnTo>
                    <a:close/>
                    <a:moveTo>
                      <a:pt x="343" y="285"/>
                    </a:moveTo>
                    <a:cubicBezTo>
                      <a:pt x="343" y="287"/>
                      <a:pt x="341" y="288"/>
                      <a:pt x="339" y="289"/>
                    </a:cubicBezTo>
                    <a:cubicBezTo>
                      <a:pt x="310" y="289"/>
                      <a:pt x="310" y="289"/>
                      <a:pt x="310" y="289"/>
                    </a:cubicBezTo>
                    <a:cubicBezTo>
                      <a:pt x="308" y="288"/>
                      <a:pt x="306" y="287"/>
                      <a:pt x="306" y="285"/>
                    </a:cubicBezTo>
                    <a:cubicBezTo>
                      <a:pt x="306" y="258"/>
                      <a:pt x="306" y="258"/>
                      <a:pt x="306" y="258"/>
                    </a:cubicBezTo>
                    <a:cubicBezTo>
                      <a:pt x="306" y="255"/>
                      <a:pt x="308" y="253"/>
                      <a:pt x="311" y="253"/>
                    </a:cubicBezTo>
                    <a:cubicBezTo>
                      <a:pt x="338" y="253"/>
                      <a:pt x="338" y="253"/>
                      <a:pt x="338" y="253"/>
                    </a:cubicBezTo>
                    <a:cubicBezTo>
                      <a:pt x="341" y="253"/>
                      <a:pt x="343" y="255"/>
                      <a:pt x="343" y="258"/>
                    </a:cubicBezTo>
                    <a:lnTo>
                      <a:pt x="343" y="285"/>
                    </a:lnTo>
                    <a:close/>
                    <a:moveTo>
                      <a:pt x="343" y="233"/>
                    </a:moveTo>
                    <a:cubicBezTo>
                      <a:pt x="343" y="236"/>
                      <a:pt x="341" y="238"/>
                      <a:pt x="339" y="238"/>
                    </a:cubicBezTo>
                    <a:cubicBezTo>
                      <a:pt x="312" y="238"/>
                      <a:pt x="312" y="238"/>
                      <a:pt x="312" y="238"/>
                    </a:cubicBezTo>
                    <a:cubicBezTo>
                      <a:pt x="309" y="238"/>
                      <a:pt x="307" y="236"/>
                      <a:pt x="307" y="233"/>
                    </a:cubicBezTo>
                    <a:cubicBezTo>
                      <a:pt x="307" y="206"/>
                      <a:pt x="307" y="206"/>
                      <a:pt x="307" y="206"/>
                    </a:cubicBezTo>
                    <a:cubicBezTo>
                      <a:pt x="307" y="204"/>
                      <a:pt x="309" y="202"/>
                      <a:pt x="312" y="202"/>
                    </a:cubicBezTo>
                    <a:cubicBezTo>
                      <a:pt x="339" y="202"/>
                      <a:pt x="339" y="202"/>
                      <a:pt x="339" y="202"/>
                    </a:cubicBezTo>
                    <a:cubicBezTo>
                      <a:pt x="341" y="202"/>
                      <a:pt x="343" y="204"/>
                      <a:pt x="343" y="206"/>
                    </a:cubicBezTo>
                    <a:lnTo>
                      <a:pt x="343" y="233"/>
                    </a:lnTo>
                    <a:close/>
                    <a:moveTo>
                      <a:pt x="344" y="182"/>
                    </a:moveTo>
                    <a:cubicBezTo>
                      <a:pt x="344" y="185"/>
                      <a:pt x="342" y="187"/>
                      <a:pt x="340" y="187"/>
                    </a:cubicBezTo>
                    <a:cubicBezTo>
                      <a:pt x="312" y="187"/>
                      <a:pt x="312" y="187"/>
                      <a:pt x="312" y="187"/>
                    </a:cubicBezTo>
                    <a:cubicBezTo>
                      <a:pt x="310" y="187"/>
                      <a:pt x="308" y="185"/>
                      <a:pt x="308" y="182"/>
                    </a:cubicBezTo>
                    <a:cubicBezTo>
                      <a:pt x="308" y="155"/>
                      <a:pt x="308" y="155"/>
                      <a:pt x="308" y="155"/>
                    </a:cubicBezTo>
                    <a:cubicBezTo>
                      <a:pt x="308" y="153"/>
                      <a:pt x="310" y="151"/>
                      <a:pt x="312" y="151"/>
                    </a:cubicBezTo>
                    <a:cubicBezTo>
                      <a:pt x="340" y="151"/>
                      <a:pt x="340" y="151"/>
                      <a:pt x="340" y="151"/>
                    </a:cubicBezTo>
                    <a:cubicBezTo>
                      <a:pt x="342" y="151"/>
                      <a:pt x="344" y="153"/>
                      <a:pt x="344" y="155"/>
                    </a:cubicBezTo>
                    <a:lnTo>
                      <a:pt x="344" y="182"/>
                    </a:lnTo>
                    <a:close/>
                    <a:moveTo>
                      <a:pt x="345" y="131"/>
                    </a:moveTo>
                    <a:cubicBezTo>
                      <a:pt x="345" y="134"/>
                      <a:pt x="343" y="136"/>
                      <a:pt x="340" y="136"/>
                    </a:cubicBezTo>
                    <a:cubicBezTo>
                      <a:pt x="313" y="136"/>
                      <a:pt x="313" y="136"/>
                      <a:pt x="313" y="136"/>
                    </a:cubicBezTo>
                    <a:cubicBezTo>
                      <a:pt x="311" y="136"/>
                      <a:pt x="309" y="134"/>
                      <a:pt x="309" y="131"/>
                    </a:cubicBezTo>
                    <a:cubicBezTo>
                      <a:pt x="309" y="104"/>
                      <a:pt x="309" y="104"/>
                      <a:pt x="309" y="104"/>
                    </a:cubicBezTo>
                    <a:cubicBezTo>
                      <a:pt x="309" y="102"/>
                      <a:pt x="311" y="100"/>
                      <a:pt x="313" y="100"/>
                    </a:cubicBezTo>
                    <a:cubicBezTo>
                      <a:pt x="340" y="100"/>
                      <a:pt x="340" y="100"/>
                      <a:pt x="340" y="100"/>
                    </a:cubicBezTo>
                    <a:cubicBezTo>
                      <a:pt x="343" y="100"/>
                      <a:pt x="345" y="102"/>
                      <a:pt x="345" y="104"/>
                    </a:cubicBezTo>
                    <a:lnTo>
                      <a:pt x="345" y="131"/>
                    </a:lnTo>
                    <a:close/>
                    <a:moveTo>
                      <a:pt x="397" y="285"/>
                    </a:moveTo>
                    <a:cubicBezTo>
                      <a:pt x="397" y="287"/>
                      <a:pt x="396" y="288"/>
                      <a:pt x="394" y="289"/>
                    </a:cubicBezTo>
                    <a:cubicBezTo>
                      <a:pt x="365" y="289"/>
                      <a:pt x="365" y="289"/>
                      <a:pt x="365" y="289"/>
                    </a:cubicBezTo>
                    <a:cubicBezTo>
                      <a:pt x="363" y="288"/>
                      <a:pt x="361" y="287"/>
                      <a:pt x="361" y="285"/>
                    </a:cubicBezTo>
                    <a:cubicBezTo>
                      <a:pt x="361" y="258"/>
                      <a:pt x="361" y="258"/>
                      <a:pt x="361" y="258"/>
                    </a:cubicBezTo>
                    <a:cubicBezTo>
                      <a:pt x="361" y="255"/>
                      <a:pt x="363" y="253"/>
                      <a:pt x="366" y="253"/>
                    </a:cubicBezTo>
                    <a:cubicBezTo>
                      <a:pt x="393" y="253"/>
                      <a:pt x="393" y="253"/>
                      <a:pt x="393" y="253"/>
                    </a:cubicBezTo>
                    <a:cubicBezTo>
                      <a:pt x="395" y="253"/>
                      <a:pt x="397" y="255"/>
                      <a:pt x="397" y="258"/>
                    </a:cubicBezTo>
                    <a:lnTo>
                      <a:pt x="397" y="285"/>
                    </a:lnTo>
                    <a:close/>
                    <a:moveTo>
                      <a:pt x="398" y="233"/>
                    </a:moveTo>
                    <a:cubicBezTo>
                      <a:pt x="398" y="236"/>
                      <a:pt x="396" y="238"/>
                      <a:pt x="394" y="238"/>
                    </a:cubicBezTo>
                    <a:cubicBezTo>
                      <a:pt x="367" y="238"/>
                      <a:pt x="367" y="238"/>
                      <a:pt x="367" y="238"/>
                    </a:cubicBezTo>
                    <a:cubicBezTo>
                      <a:pt x="364" y="238"/>
                      <a:pt x="362" y="236"/>
                      <a:pt x="362" y="233"/>
                    </a:cubicBezTo>
                    <a:cubicBezTo>
                      <a:pt x="362" y="206"/>
                      <a:pt x="362" y="206"/>
                      <a:pt x="362" y="206"/>
                    </a:cubicBezTo>
                    <a:cubicBezTo>
                      <a:pt x="362" y="204"/>
                      <a:pt x="364" y="202"/>
                      <a:pt x="367" y="202"/>
                    </a:cubicBezTo>
                    <a:cubicBezTo>
                      <a:pt x="394" y="202"/>
                      <a:pt x="394" y="202"/>
                      <a:pt x="394" y="202"/>
                    </a:cubicBezTo>
                    <a:cubicBezTo>
                      <a:pt x="396" y="202"/>
                      <a:pt x="398" y="204"/>
                      <a:pt x="398" y="206"/>
                    </a:cubicBezTo>
                    <a:lnTo>
                      <a:pt x="398" y="233"/>
                    </a:lnTo>
                    <a:close/>
                    <a:moveTo>
                      <a:pt x="399" y="182"/>
                    </a:moveTo>
                    <a:cubicBezTo>
                      <a:pt x="399" y="185"/>
                      <a:pt x="397" y="187"/>
                      <a:pt x="394" y="187"/>
                    </a:cubicBezTo>
                    <a:cubicBezTo>
                      <a:pt x="367" y="187"/>
                      <a:pt x="367" y="187"/>
                      <a:pt x="367" y="187"/>
                    </a:cubicBezTo>
                    <a:cubicBezTo>
                      <a:pt x="365" y="187"/>
                      <a:pt x="363" y="185"/>
                      <a:pt x="363" y="182"/>
                    </a:cubicBezTo>
                    <a:cubicBezTo>
                      <a:pt x="363" y="155"/>
                      <a:pt x="363" y="155"/>
                      <a:pt x="363" y="155"/>
                    </a:cubicBezTo>
                    <a:cubicBezTo>
                      <a:pt x="363" y="153"/>
                      <a:pt x="365" y="151"/>
                      <a:pt x="367" y="151"/>
                    </a:cubicBezTo>
                    <a:cubicBezTo>
                      <a:pt x="394" y="151"/>
                      <a:pt x="394" y="151"/>
                      <a:pt x="394" y="151"/>
                    </a:cubicBezTo>
                    <a:cubicBezTo>
                      <a:pt x="397" y="151"/>
                      <a:pt x="399" y="153"/>
                      <a:pt x="399" y="155"/>
                    </a:cubicBezTo>
                    <a:lnTo>
                      <a:pt x="399" y="182"/>
                    </a:lnTo>
                    <a:close/>
                    <a:moveTo>
                      <a:pt x="400" y="131"/>
                    </a:moveTo>
                    <a:cubicBezTo>
                      <a:pt x="400" y="134"/>
                      <a:pt x="398" y="136"/>
                      <a:pt x="395" y="136"/>
                    </a:cubicBezTo>
                    <a:cubicBezTo>
                      <a:pt x="368" y="136"/>
                      <a:pt x="368" y="136"/>
                      <a:pt x="368" y="136"/>
                    </a:cubicBezTo>
                    <a:cubicBezTo>
                      <a:pt x="366" y="136"/>
                      <a:pt x="364" y="134"/>
                      <a:pt x="364" y="131"/>
                    </a:cubicBezTo>
                    <a:cubicBezTo>
                      <a:pt x="364" y="104"/>
                      <a:pt x="364" y="104"/>
                      <a:pt x="364" y="104"/>
                    </a:cubicBezTo>
                    <a:cubicBezTo>
                      <a:pt x="364" y="102"/>
                      <a:pt x="366" y="100"/>
                      <a:pt x="368" y="100"/>
                    </a:cubicBezTo>
                    <a:cubicBezTo>
                      <a:pt x="395" y="100"/>
                      <a:pt x="395" y="100"/>
                      <a:pt x="395" y="100"/>
                    </a:cubicBezTo>
                    <a:cubicBezTo>
                      <a:pt x="398" y="100"/>
                      <a:pt x="400" y="102"/>
                      <a:pt x="400" y="104"/>
                    </a:cubicBezTo>
                    <a:lnTo>
                      <a:pt x="400" y="131"/>
                    </a:lnTo>
                    <a:close/>
                    <a:moveTo>
                      <a:pt x="452" y="285"/>
                    </a:moveTo>
                    <a:cubicBezTo>
                      <a:pt x="452" y="287"/>
                      <a:pt x="451" y="288"/>
                      <a:pt x="449" y="289"/>
                    </a:cubicBezTo>
                    <a:cubicBezTo>
                      <a:pt x="420" y="289"/>
                      <a:pt x="420" y="289"/>
                      <a:pt x="420" y="289"/>
                    </a:cubicBezTo>
                    <a:cubicBezTo>
                      <a:pt x="418" y="288"/>
                      <a:pt x="416" y="287"/>
                      <a:pt x="416" y="285"/>
                    </a:cubicBezTo>
                    <a:cubicBezTo>
                      <a:pt x="416" y="258"/>
                      <a:pt x="416" y="258"/>
                      <a:pt x="416" y="258"/>
                    </a:cubicBezTo>
                    <a:cubicBezTo>
                      <a:pt x="416" y="255"/>
                      <a:pt x="418" y="253"/>
                      <a:pt x="421" y="253"/>
                    </a:cubicBezTo>
                    <a:cubicBezTo>
                      <a:pt x="448" y="253"/>
                      <a:pt x="448" y="253"/>
                      <a:pt x="448" y="253"/>
                    </a:cubicBezTo>
                    <a:cubicBezTo>
                      <a:pt x="450" y="253"/>
                      <a:pt x="452" y="255"/>
                      <a:pt x="452" y="258"/>
                    </a:cubicBezTo>
                    <a:lnTo>
                      <a:pt x="452" y="285"/>
                    </a:lnTo>
                    <a:close/>
                    <a:moveTo>
                      <a:pt x="453" y="233"/>
                    </a:moveTo>
                    <a:cubicBezTo>
                      <a:pt x="453" y="236"/>
                      <a:pt x="451" y="238"/>
                      <a:pt x="449" y="238"/>
                    </a:cubicBezTo>
                    <a:cubicBezTo>
                      <a:pt x="422" y="238"/>
                      <a:pt x="422" y="238"/>
                      <a:pt x="422" y="238"/>
                    </a:cubicBezTo>
                    <a:cubicBezTo>
                      <a:pt x="419" y="238"/>
                      <a:pt x="417" y="236"/>
                      <a:pt x="417" y="233"/>
                    </a:cubicBezTo>
                    <a:cubicBezTo>
                      <a:pt x="417" y="206"/>
                      <a:pt x="417" y="206"/>
                      <a:pt x="417" y="206"/>
                    </a:cubicBezTo>
                    <a:cubicBezTo>
                      <a:pt x="417" y="204"/>
                      <a:pt x="419" y="202"/>
                      <a:pt x="422" y="202"/>
                    </a:cubicBezTo>
                    <a:cubicBezTo>
                      <a:pt x="449" y="202"/>
                      <a:pt x="449" y="202"/>
                      <a:pt x="449" y="202"/>
                    </a:cubicBezTo>
                    <a:cubicBezTo>
                      <a:pt x="451" y="202"/>
                      <a:pt x="453" y="204"/>
                      <a:pt x="453" y="206"/>
                    </a:cubicBezTo>
                    <a:lnTo>
                      <a:pt x="453" y="233"/>
                    </a:lnTo>
                    <a:close/>
                    <a:moveTo>
                      <a:pt x="454" y="182"/>
                    </a:moveTo>
                    <a:cubicBezTo>
                      <a:pt x="454" y="185"/>
                      <a:pt x="452" y="187"/>
                      <a:pt x="449" y="187"/>
                    </a:cubicBezTo>
                    <a:cubicBezTo>
                      <a:pt x="422" y="187"/>
                      <a:pt x="422" y="187"/>
                      <a:pt x="422" y="187"/>
                    </a:cubicBezTo>
                    <a:cubicBezTo>
                      <a:pt x="420" y="187"/>
                      <a:pt x="418" y="185"/>
                      <a:pt x="418" y="182"/>
                    </a:cubicBezTo>
                    <a:cubicBezTo>
                      <a:pt x="418" y="155"/>
                      <a:pt x="418" y="155"/>
                      <a:pt x="418" y="155"/>
                    </a:cubicBezTo>
                    <a:cubicBezTo>
                      <a:pt x="418" y="153"/>
                      <a:pt x="420" y="151"/>
                      <a:pt x="422" y="151"/>
                    </a:cubicBezTo>
                    <a:cubicBezTo>
                      <a:pt x="449" y="151"/>
                      <a:pt x="449" y="151"/>
                      <a:pt x="449" y="151"/>
                    </a:cubicBezTo>
                    <a:cubicBezTo>
                      <a:pt x="452" y="151"/>
                      <a:pt x="454" y="153"/>
                      <a:pt x="454" y="155"/>
                    </a:cubicBezTo>
                    <a:lnTo>
                      <a:pt x="454" y="182"/>
                    </a:lnTo>
                    <a:close/>
                    <a:moveTo>
                      <a:pt x="455" y="131"/>
                    </a:moveTo>
                    <a:cubicBezTo>
                      <a:pt x="455" y="134"/>
                      <a:pt x="453" y="136"/>
                      <a:pt x="450" y="136"/>
                    </a:cubicBezTo>
                    <a:cubicBezTo>
                      <a:pt x="423" y="136"/>
                      <a:pt x="423" y="136"/>
                      <a:pt x="423" y="136"/>
                    </a:cubicBezTo>
                    <a:cubicBezTo>
                      <a:pt x="421" y="136"/>
                      <a:pt x="419" y="134"/>
                      <a:pt x="419" y="131"/>
                    </a:cubicBezTo>
                    <a:cubicBezTo>
                      <a:pt x="419" y="104"/>
                      <a:pt x="419" y="104"/>
                      <a:pt x="419" y="104"/>
                    </a:cubicBezTo>
                    <a:cubicBezTo>
                      <a:pt x="419" y="102"/>
                      <a:pt x="421" y="100"/>
                      <a:pt x="423" y="100"/>
                    </a:cubicBezTo>
                    <a:cubicBezTo>
                      <a:pt x="450" y="100"/>
                      <a:pt x="450" y="100"/>
                      <a:pt x="450" y="100"/>
                    </a:cubicBezTo>
                    <a:cubicBezTo>
                      <a:pt x="453" y="100"/>
                      <a:pt x="455" y="102"/>
                      <a:pt x="455" y="104"/>
                    </a:cubicBezTo>
                    <a:lnTo>
                      <a:pt x="455" y="131"/>
                    </a:lnTo>
                    <a:close/>
                    <a:moveTo>
                      <a:pt x="461" y="289"/>
                    </a:moveTo>
                    <a:cubicBezTo>
                      <a:pt x="461" y="288"/>
                      <a:pt x="462" y="286"/>
                      <a:pt x="462" y="284"/>
                    </a:cubicBezTo>
                    <a:cubicBezTo>
                      <a:pt x="462" y="286"/>
                      <a:pt x="461" y="288"/>
                      <a:pt x="461" y="289"/>
                    </a:cubicBezTo>
                    <a:close/>
                    <a:moveTo>
                      <a:pt x="474" y="240"/>
                    </a:moveTo>
                    <a:cubicBezTo>
                      <a:pt x="474" y="239"/>
                      <a:pt x="474" y="238"/>
                      <a:pt x="474" y="237"/>
                    </a:cubicBezTo>
                    <a:cubicBezTo>
                      <a:pt x="473" y="237"/>
                      <a:pt x="472" y="235"/>
                      <a:pt x="472" y="233"/>
                    </a:cubicBezTo>
                    <a:cubicBezTo>
                      <a:pt x="472" y="206"/>
                      <a:pt x="472" y="206"/>
                      <a:pt x="472" y="206"/>
                    </a:cubicBezTo>
                    <a:cubicBezTo>
                      <a:pt x="472" y="204"/>
                      <a:pt x="474" y="202"/>
                      <a:pt x="477" y="202"/>
                    </a:cubicBezTo>
                    <a:cubicBezTo>
                      <a:pt x="484" y="202"/>
                      <a:pt x="484" y="202"/>
                      <a:pt x="484" y="202"/>
                    </a:cubicBezTo>
                    <a:cubicBezTo>
                      <a:pt x="480" y="215"/>
                      <a:pt x="477" y="228"/>
                      <a:pt x="474" y="240"/>
                    </a:cubicBezTo>
                    <a:close/>
                    <a:moveTo>
                      <a:pt x="488" y="187"/>
                    </a:moveTo>
                    <a:cubicBezTo>
                      <a:pt x="477" y="187"/>
                      <a:pt x="477" y="187"/>
                      <a:pt x="477" y="187"/>
                    </a:cubicBezTo>
                    <a:cubicBezTo>
                      <a:pt x="475" y="187"/>
                      <a:pt x="473" y="185"/>
                      <a:pt x="473" y="182"/>
                    </a:cubicBezTo>
                    <a:cubicBezTo>
                      <a:pt x="473" y="155"/>
                      <a:pt x="473" y="155"/>
                      <a:pt x="473" y="155"/>
                    </a:cubicBezTo>
                    <a:cubicBezTo>
                      <a:pt x="473" y="153"/>
                      <a:pt x="475" y="151"/>
                      <a:pt x="477" y="151"/>
                    </a:cubicBezTo>
                    <a:cubicBezTo>
                      <a:pt x="497" y="151"/>
                      <a:pt x="497" y="151"/>
                      <a:pt x="497" y="151"/>
                    </a:cubicBezTo>
                    <a:cubicBezTo>
                      <a:pt x="497" y="148"/>
                      <a:pt x="498" y="146"/>
                      <a:pt x="499" y="144"/>
                    </a:cubicBezTo>
                    <a:cubicBezTo>
                      <a:pt x="495" y="157"/>
                      <a:pt x="491" y="172"/>
                      <a:pt x="488" y="187"/>
                    </a:cubicBezTo>
                    <a:close/>
                    <a:moveTo>
                      <a:pt x="501" y="136"/>
                    </a:moveTo>
                    <a:cubicBezTo>
                      <a:pt x="478" y="136"/>
                      <a:pt x="478" y="136"/>
                      <a:pt x="478" y="136"/>
                    </a:cubicBezTo>
                    <a:cubicBezTo>
                      <a:pt x="476" y="136"/>
                      <a:pt x="474" y="134"/>
                      <a:pt x="474" y="131"/>
                    </a:cubicBezTo>
                    <a:cubicBezTo>
                      <a:pt x="474" y="104"/>
                      <a:pt x="474" y="104"/>
                      <a:pt x="474" y="104"/>
                    </a:cubicBezTo>
                    <a:cubicBezTo>
                      <a:pt x="474" y="102"/>
                      <a:pt x="476" y="100"/>
                      <a:pt x="478" y="100"/>
                    </a:cubicBezTo>
                    <a:cubicBezTo>
                      <a:pt x="505" y="100"/>
                      <a:pt x="505" y="100"/>
                      <a:pt x="505" y="100"/>
                    </a:cubicBezTo>
                    <a:cubicBezTo>
                      <a:pt x="507" y="100"/>
                      <a:pt x="509" y="101"/>
                      <a:pt x="509" y="103"/>
                    </a:cubicBezTo>
                    <a:cubicBezTo>
                      <a:pt x="507" y="111"/>
                      <a:pt x="504" y="122"/>
                      <a:pt x="501" y="1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7" name="Freeform 9"/>
              <p:cNvSpPr>
                <a:spLocks noEditPoints="1"/>
              </p:cNvSpPr>
              <p:nvPr/>
            </p:nvSpPr>
            <p:spPr bwMode="auto">
              <a:xfrm>
                <a:off x="-1617663" y="-2493963"/>
                <a:ext cx="179388" cy="180975"/>
              </a:xfrm>
              <a:custGeom>
                <a:avLst/>
                <a:gdLst>
                  <a:gd name="T0" fmla="*/ 2147483646 w 48"/>
                  <a:gd name="T1" fmla="*/ 0 h 48"/>
                  <a:gd name="T2" fmla="*/ 0 w 48"/>
                  <a:gd name="T3" fmla="*/ 2147483646 h 48"/>
                  <a:gd name="T4" fmla="*/ 2147483646 w 48"/>
                  <a:gd name="T5" fmla="*/ 2147483646 h 48"/>
                  <a:gd name="T6" fmla="*/ 2147483646 w 48"/>
                  <a:gd name="T7" fmla="*/ 2147483646 h 48"/>
                  <a:gd name="T8" fmla="*/ 2147483646 w 48"/>
                  <a:gd name="T9" fmla="*/ 0 h 48"/>
                  <a:gd name="T10" fmla="*/ 2147483646 w 48"/>
                  <a:gd name="T11" fmla="*/ 2147483646 h 48"/>
                  <a:gd name="T12" fmla="*/ 2147483646 w 48"/>
                  <a:gd name="T13" fmla="*/ 2147483646 h 48"/>
                  <a:gd name="T14" fmla="*/ 2147483646 w 48"/>
                  <a:gd name="T15" fmla="*/ 2147483646 h 48"/>
                  <a:gd name="T16" fmla="*/ 2147483646 w 48"/>
                  <a:gd name="T17" fmla="*/ 2147483646 h 48"/>
                  <a:gd name="T18" fmla="*/ 2147483646 w 48"/>
                  <a:gd name="T19" fmla="*/ 2147483646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cubicBezTo>
                      <a:pt x="11" y="0"/>
                      <a:pt x="0" y="10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37" y="48"/>
                      <a:pt x="48" y="37"/>
                      <a:pt x="48" y="24"/>
                    </a:cubicBezTo>
                    <a:cubicBezTo>
                      <a:pt x="48" y="10"/>
                      <a:pt x="37" y="0"/>
                      <a:pt x="24" y="0"/>
                    </a:cubicBezTo>
                    <a:close/>
                    <a:moveTo>
                      <a:pt x="23" y="36"/>
                    </a:moveTo>
                    <a:cubicBezTo>
                      <a:pt x="16" y="36"/>
                      <a:pt x="10" y="30"/>
                      <a:pt x="10" y="23"/>
                    </a:cubicBezTo>
                    <a:cubicBezTo>
                      <a:pt x="10" y="16"/>
                      <a:pt x="16" y="10"/>
                      <a:pt x="23" y="10"/>
                    </a:cubicBezTo>
                    <a:cubicBezTo>
                      <a:pt x="30" y="10"/>
                      <a:pt x="36" y="16"/>
                      <a:pt x="36" y="23"/>
                    </a:cubicBezTo>
                    <a:cubicBezTo>
                      <a:pt x="36" y="30"/>
                      <a:pt x="30" y="36"/>
                      <a:pt x="23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8" name="Freeform 10"/>
              <p:cNvSpPr>
                <a:spLocks noEditPoints="1"/>
              </p:cNvSpPr>
              <p:nvPr/>
            </p:nvSpPr>
            <p:spPr bwMode="auto">
              <a:xfrm>
                <a:off x="-781050" y="-1233488"/>
                <a:ext cx="393700" cy="390525"/>
              </a:xfrm>
              <a:custGeom>
                <a:avLst/>
                <a:gdLst>
                  <a:gd name="T0" fmla="*/ 2147483646 w 105"/>
                  <a:gd name="T1" fmla="*/ 0 h 104"/>
                  <a:gd name="T2" fmla="*/ 0 w 105"/>
                  <a:gd name="T3" fmla="*/ 2147483646 h 104"/>
                  <a:gd name="T4" fmla="*/ 2147483646 w 105"/>
                  <a:gd name="T5" fmla="*/ 2147483646 h 104"/>
                  <a:gd name="T6" fmla="*/ 2147483646 w 105"/>
                  <a:gd name="T7" fmla="*/ 2147483646 h 104"/>
                  <a:gd name="T8" fmla="*/ 2147483646 w 105"/>
                  <a:gd name="T9" fmla="*/ 0 h 104"/>
                  <a:gd name="T10" fmla="*/ 2147483646 w 105"/>
                  <a:gd name="T11" fmla="*/ 2147483646 h 104"/>
                  <a:gd name="T12" fmla="*/ 2147483646 w 105"/>
                  <a:gd name="T13" fmla="*/ 2147483646 h 104"/>
                  <a:gd name="T14" fmla="*/ 2147483646 w 105"/>
                  <a:gd name="T15" fmla="*/ 2147483646 h 104"/>
                  <a:gd name="T16" fmla="*/ 2147483646 w 105"/>
                  <a:gd name="T17" fmla="*/ 2147483646 h 104"/>
                  <a:gd name="T18" fmla="*/ 2147483646 w 105"/>
                  <a:gd name="T19" fmla="*/ 2147483646 h 10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05" h="104">
                    <a:moveTo>
                      <a:pt x="52" y="0"/>
                    </a:moveTo>
                    <a:cubicBezTo>
                      <a:pt x="23" y="0"/>
                      <a:pt x="0" y="23"/>
                      <a:pt x="0" y="52"/>
                    </a:cubicBezTo>
                    <a:cubicBezTo>
                      <a:pt x="0" y="81"/>
                      <a:pt x="23" y="104"/>
                      <a:pt x="52" y="104"/>
                    </a:cubicBezTo>
                    <a:cubicBezTo>
                      <a:pt x="81" y="104"/>
                      <a:pt x="105" y="81"/>
                      <a:pt x="105" y="52"/>
                    </a:cubicBezTo>
                    <a:cubicBezTo>
                      <a:pt x="105" y="23"/>
                      <a:pt x="81" y="0"/>
                      <a:pt x="52" y="0"/>
                    </a:cubicBezTo>
                    <a:close/>
                    <a:moveTo>
                      <a:pt x="52" y="72"/>
                    </a:moveTo>
                    <a:cubicBezTo>
                      <a:pt x="41" y="72"/>
                      <a:pt x="32" y="63"/>
                      <a:pt x="32" y="52"/>
                    </a:cubicBezTo>
                    <a:cubicBezTo>
                      <a:pt x="32" y="41"/>
                      <a:pt x="41" y="31"/>
                      <a:pt x="52" y="31"/>
                    </a:cubicBezTo>
                    <a:cubicBezTo>
                      <a:pt x="64" y="31"/>
                      <a:pt x="73" y="41"/>
                      <a:pt x="73" y="52"/>
                    </a:cubicBezTo>
                    <a:cubicBezTo>
                      <a:pt x="73" y="63"/>
                      <a:pt x="64" y="72"/>
                      <a:pt x="52" y="7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9" name="Freeform 11"/>
              <p:cNvSpPr>
                <a:spLocks noEditPoints="1"/>
              </p:cNvSpPr>
              <p:nvPr/>
            </p:nvSpPr>
            <p:spPr bwMode="auto">
              <a:xfrm>
                <a:off x="-53975" y="-1233488"/>
                <a:ext cx="393700" cy="390525"/>
              </a:xfrm>
              <a:custGeom>
                <a:avLst/>
                <a:gdLst>
                  <a:gd name="T0" fmla="*/ 2147483646 w 105"/>
                  <a:gd name="T1" fmla="*/ 0 h 104"/>
                  <a:gd name="T2" fmla="*/ 0 w 105"/>
                  <a:gd name="T3" fmla="*/ 2147483646 h 104"/>
                  <a:gd name="T4" fmla="*/ 2147483646 w 105"/>
                  <a:gd name="T5" fmla="*/ 2147483646 h 104"/>
                  <a:gd name="T6" fmla="*/ 2147483646 w 105"/>
                  <a:gd name="T7" fmla="*/ 2147483646 h 104"/>
                  <a:gd name="T8" fmla="*/ 2147483646 w 105"/>
                  <a:gd name="T9" fmla="*/ 0 h 104"/>
                  <a:gd name="T10" fmla="*/ 2147483646 w 105"/>
                  <a:gd name="T11" fmla="*/ 2147483646 h 104"/>
                  <a:gd name="T12" fmla="*/ 2147483646 w 105"/>
                  <a:gd name="T13" fmla="*/ 2147483646 h 104"/>
                  <a:gd name="T14" fmla="*/ 2147483646 w 105"/>
                  <a:gd name="T15" fmla="*/ 2147483646 h 104"/>
                  <a:gd name="T16" fmla="*/ 2147483646 w 105"/>
                  <a:gd name="T17" fmla="*/ 2147483646 h 104"/>
                  <a:gd name="T18" fmla="*/ 2147483646 w 105"/>
                  <a:gd name="T19" fmla="*/ 2147483646 h 10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05" h="104">
                    <a:moveTo>
                      <a:pt x="52" y="0"/>
                    </a:moveTo>
                    <a:cubicBezTo>
                      <a:pt x="24" y="0"/>
                      <a:pt x="0" y="23"/>
                      <a:pt x="0" y="52"/>
                    </a:cubicBezTo>
                    <a:cubicBezTo>
                      <a:pt x="0" y="81"/>
                      <a:pt x="24" y="104"/>
                      <a:pt x="52" y="104"/>
                    </a:cubicBezTo>
                    <a:cubicBezTo>
                      <a:pt x="81" y="104"/>
                      <a:pt x="105" y="81"/>
                      <a:pt x="105" y="52"/>
                    </a:cubicBezTo>
                    <a:cubicBezTo>
                      <a:pt x="105" y="23"/>
                      <a:pt x="81" y="0"/>
                      <a:pt x="52" y="0"/>
                    </a:cubicBezTo>
                    <a:close/>
                    <a:moveTo>
                      <a:pt x="52" y="72"/>
                    </a:moveTo>
                    <a:cubicBezTo>
                      <a:pt x="41" y="72"/>
                      <a:pt x="32" y="63"/>
                      <a:pt x="32" y="52"/>
                    </a:cubicBezTo>
                    <a:cubicBezTo>
                      <a:pt x="32" y="41"/>
                      <a:pt x="41" y="31"/>
                      <a:pt x="52" y="31"/>
                    </a:cubicBezTo>
                    <a:cubicBezTo>
                      <a:pt x="64" y="31"/>
                      <a:pt x="73" y="41"/>
                      <a:pt x="73" y="52"/>
                    </a:cubicBezTo>
                    <a:cubicBezTo>
                      <a:pt x="73" y="63"/>
                      <a:pt x="64" y="72"/>
                      <a:pt x="52" y="7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cxnSp>
          <p:nvCxnSpPr>
            <p:cNvPr id="11265" name="直接连接符 11264"/>
            <p:cNvCxnSpPr/>
            <p:nvPr/>
          </p:nvCxnSpPr>
          <p:spPr>
            <a:xfrm>
              <a:off x="3298841" y="3619714"/>
              <a:ext cx="1386343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组合 8"/>
          <p:cNvGrpSpPr/>
          <p:nvPr/>
        </p:nvGrpSpPr>
        <p:grpSpPr bwMode="auto">
          <a:xfrm>
            <a:off x="5099050" y="2979738"/>
            <a:ext cx="1590675" cy="1152525"/>
            <a:chOff x="5099383" y="2979990"/>
            <a:chExt cx="1589610" cy="1152456"/>
          </a:xfrm>
        </p:grpSpPr>
        <p:sp>
          <p:nvSpPr>
            <p:cNvPr id="71" name="矩形 70"/>
            <p:cNvSpPr/>
            <p:nvPr/>
          </p:nvSpPr>
          <p:spPr>
            <a:xfrm>
              <a:off x="5099383" y="3619714"/>
              <a:ext cx="1589610" cy="5127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764" name="组合 65"/>
            <p:cNvGrpSpPr/>
            <p:nvPr/>
          </p:nvGrpSpPr>
          <p:grpSpPr bwMode="auto">
            <a:xfrm>
              <a:off x="5613826" y="2979990"/>
              <a:ext cx="560725" cy="560725"/>
              <a:chOff x="8347991" y="-1832190"/>
              <a:chExt cx="820957" cy="820957"/>
            </a:xfrm>
          </p:grpSpPr>
          <p:sp>
            <p:nvSpPr>
              <p:cNvPr id="44" name="Freeform 12"/>
              <p:cNvSpPr/>
              <p:nvPr/>
            </p:nvSpPr>
            <p:spPr bwMode="auto">
              <a:xfrm>
                <a:off x="8347350" y="-1832190"/>
                <a:ext cx="822236" cy="820412"/>
              </a:xfrm>
              <a:custGeom>
                <a:avLst/>
                <a:gdLst>
                  <a:gd name="T0" fmla="*/ 0 w 687"/>
                  <a:gd name="T1" fmla="*/ 624 h 687"/>
                  <a:gd name="T2" fmla="*/ 62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67" name="Freeform 13"/>
              <p:cNvSpPr/>
              <p:nvPr/>
            </p:nvSpPr>
            <p:spPr bwMode="auto">
              <a:xfrm>
                <a:off x="8447133" y="-1587370"/>
                <a:ext cx="721815" cy="576137"/>
              </a:xfrm>
              <a:custGeom>
                <a:avLst/>
                <a:gdLst>
                  <a:gd name="T0" fmla="*/ 2147483646 w 604"/>
                  <a:gd name="T1" fmla="*/ 2147483646 h 482"/>
                  <a:gd name="T2" fmla="*/ 2147483646 w 604"/>
                  <a:gd name="T3" fmla="*/ 0 h 482"/>
                  <a:gd name="T4" fmla="*/ 2147483646 w 604"/>
                  <a:gd name="T5" fmla="*/ 2147483646 h 482"/>
                  <a:gd name="T6" fmla="*/ 2147483646 w 604"/>
                  <a:gd name="T7" fmla="*/ 2147483646 h 482"/>
                  <a:gd name="T8" fmla="*/ 2147483646 w 604"/>
                  <a:gd name="T9" fmla="*/ 2147483646 h 482"/>
                  <a:gd name="T10" fmla="*/ 2147483646 w 604"/>
                  <a:gd name="T11" fmla="*/ 2147483646 h 482"/>
                  <a:gd name="T12" fmla="*/ 0 w 604"/>
                  <a:gd name="T13" fmla="*/ 2147483646 h 482"/>
                  <a:gd name="T14" fmla="*/ 2147483646 w 604"/>
                  <a:gd name="T15" fmla="*/ 2147483646 h 482"/>
                  <a:gd name="T16" fmla="*/ 2147483646 w 604"/>
                  <a:gd name="T17" fmla="*/ 2147483646 h 482"/>
                  <a:gd name="T18" fmla="*/ 2147483646 w 604"/>
                  <a:gd name="T19" fmla="*/ 2147483646 h 482"/>
                  <a:gd name="T20" fmla="*/ 2147483646 w 604"/>
                  <a:gd name="T21" fmla="*/ 2147483646 h 482"/>
                  <a:gd name="T22" fmla="*/ 2147483646 w 604"/>
                  <a:gd name="T23" fmla="*/ 2147483646 h 482"/>
                  <a:gd name="T24" fmla="*/ 2147483646 w 604"/>
                  <a:gd name="T25" fmla="*/ 2147483646 h 482"/>
                  <a:gd name="T26" fmla="*/ 2147483646 w 604"/>
                  <a:gd name="T27" fmla="*/ 2147483646 h 48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04" h="482">
                    <a:moveTo>
                      <a:pt x="507" y="3"/>
                    </a:moveTo>
                    <a:cubicBezTo>
                      <a:pt x="231" y="0"/>
                      <a:pt x="231" y="0"/>
                      <a:pt x="231" y="0"/>
                    </a:cubicBezTo>
                    <a:cubicBezTo>
                      <a:pt x="220" y="105"/>
                      <a:pt x="220" y="105"/>
                      <a:pt x="220" y="105"/>
                    </a:cubicBezTo>
                    <a:cubicBezTo>
                      <a:pt x="172" y="56"/>
                      <a:pt x="172" y="56"/>
                      <a:pt x="172" y="56"/>
                    </a:cubicBezTo>
                    <a:cubicBezTo>
                      <a:pt x="172" y="56"/>
                      <a:pt x="62" y="75"/>
                      <a:pt x="61" y="72"/>
                    </a:cubicBezTo>
                    <a:cubicBezTo>
                      <a:pt x="60" y="70"/>
                      <a:pt x="16" y="190"/>
                      <a:pt x="16" y="190"/>
                    </a:cubicBezTo>
                    <a:cubicBezTo>
                      <a:pt x="0" y="302"/>
                      <a:pt x="0" y="302"/>
                      <a:pt x="0" y="302"/>
                    </a:cubicBezTo>
                    <a:cubicBezTo>
                      <a:pt x="55" y="357"/>
                      <a:pt x="55" y="357"/>
                      <a:pt x="55" y="357"/>
                    </a:cubicBezTo>
                    <a:cubicBezTo>
                      <a:pt x="52" y="360"/>
                      <a:pt x="52" y="360"/>
                      <a:pt x="52" y="360"/>
                    </a:cubicBezTo>
                    <a:cubicBezTo>
                      <a:pt x="173" y="482"/>
                      <a:pt x="173" y="482"/>
                      <a:pt x="173" y="482"/>
                    </a:cubicBezTo>
                    <a:cubicBezTo>
                      <a:pt x="542" y="482"/>
                      <a:pt x="542" y="482"/>
                      <a:pt x="542" y="482"/>
                    </a:cubicBezTo>
                    <a:cubicBezTo>
                      <a:pt x="576" y="482"/>
                      <a:pt x="604" y="454"/>
                      <a:pt x="604" y="419"/>
                    </a:cubicBezTo>
                    <a:cubicBezTo>
                      <a:pt x="604" y="100"/>
                      <a:pt x="604" y="100"/>
                      <a:pt x="604" y="100"/>
                    </a:cubicBezTo>
                    <a:lnTo>
                      <a:pt x="507" y="3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8" name="Freeform 14"/>
              <p:cNvSpPr>
                <a:spLocks noEditPoints="1"/>
              </p:cNvSpPr>
              <p:nvPr/>
            </p:nvSpPr>
            <p:spPr bwMode="auto">
              <a:xfrm>
                <a:off x="8834090" y="-1288426"/>
                <a:ext cx="157818" cy="157818"/>
              </a:xfrm>
              <a:custGeom>
                <a:avLst/>
                <a:gdLst>
                  <a:gd name="T0" fmla="*/ 2147483646 w 132"/>
                  <a:gd name="T1" fmla="*/ 0 h 132"/>
                  <a:gd name="T2" fmla="*/ 0 w 132"/>
                  <a:gd name="T3" fmla="*/ 2147483646 h 132"/>
                  <a:gd name="T4" fmla="*/ 2147483646 w 132"/>
                  <a:gd name="T5" fmla="*/ 2147483646 h 132"/>
                  <a:gd name="T6" fmla="*/ 2147483646 w 132"/>
                  <a:gd name="T7" fmla="*/ 2147483646 h 132"/>
                  <a:gd name="T8" fmla="*/ 2147483646 w 132"/>
                  <a:gd name="T9" fmla="*/ 0 h 132"/>
                  <a:gd name="T10" fmla="*/ 2147483646 w 132"/>
                  <a:gd name="T11" fmla="*/ 2147483646 h 132"/>
                  <a:gd name="T12" fmla="*/ 2147483646 w 132"/>
                  <a:gd name="T13" fmla="*/ 2147483646 h 132"/>
                  <a:gd name="T14" fmla="*/ 2147483646 w 132"/>
                  <a:gd name="T15" fmla="*/ 2147483646 h 132"/>
                  <a:gd name="T16" fmla="*/ 2147483646 w 132"/>
                  <a:gd name="T17" fmla="*/ 2147483646 h 132"/>
                  <a:gd name="T18" fmla="*/ 2147483646 w 132"/>
                  <a:gd name="T19" fmla="*/ 2147483646 h 1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32" h="132">
                    <a:moveTo>
                      <a:pt x="66" y="0"/>
                    </a:moveTo>
                    <a:cubicBezTo>
                      <a:pt x="30" y="0"/>
                      <a:pt x="0" y="29"/>
                      <a:pt x="0" y="66"/>
                    </a:cubicBezTo>
                    <a:cubicBezTo>
                      <a:pt x="0" y="102"/>
                      <a:pt x="30" y="132"/>
                      <a:pt x="66" y="132"/>
                    </a:cubicBezTo>
                    <a:cubicBezTo>
                      <a:pt x="103" y="132"/>
                      <a:pt x="132" y="102"/>
                      <a:pt x="132" y="66"/>
                    </a:cubicBezTo>
                    <a:cubicBezTo>
                      <a:pt x="132" y="29"/>
                      <a:pt x="103" y="0"/>
                      <a:pt x="66" y="0"/>
                    </a:cubicBezTo>
                    <a:close/>
                    <a:moveTo>
                      <a:pt x="66" y="97"/>
                    </a:moveTo>
                    <a:cubicBezTo>
                      <a:pt x="49" y="97"/>
                      <a:pt x="35" y="83"/>
                      <a:pt x="35" y="66"/>
                    </a:cubicBezTo>
                    <a:cubicBezTo>
                      <a:pt x="35" y="49"/>
                      <a:pt x="49" y="35"/>
                      <a:pt x="66" y="35"/>
                    </a:cubicBezTo>
                    <a:cubicBezTo>
                      <a:pt x="84" y="35"/>
                      <a:pt x="98" y="49"/>
                      <a:pt x="98" y="66"/>
                    </a:cubicBezTo>
                    <a:cubicBezTo>
                      <a:pt x="98" y="83"/>
                      <a:pt x="84" y="97"/>
                      <a:pt x="66" y="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9" name="Freeform 15"/>
              <p:cNvSpPr>
                <a:spLocks noEditPoints="1"/>
              </p:cNvSpPr>
              <p:nvPr/>
            </p:nvSpPr>
            <p:spPr bwMode="auto">
              <a:xfrm>
                <a:off x="8432970" y="-1594451"/>
                <a:ext cx="624696" cy="382405"/>
              </a:xfrm>
              <a:custGeom>
                <a:avLst/>
                <a:gdLst>
                  <a:gd name="T0" fmla="*/ 2147483646 w 523"/>
                  <a:gd name="T1" fmla="*/ 0 h 320"/>
                  <a:gd name="T2" fmla="*/ 2147483646 w 523"/>
                  <a:gd name="T3" fmla="*/ 0 h 320"/>
                  <a:gd name="T4" fmla="*/ 2147483646 w 523"/>
                  <a:gd name="T5" fmla="*/ 2147483646 h 320"/>
                  <a:gd name="T6" fmla="*/ 2147483646 w 523"/>
                  <a:gd name="T7" fmla="*/ 2147483646 h 320"/>
                  <a:gd name="T8" fmla="*/ 2147483646 w 523"/>
                  <a:gd name="T9" fmla="*/ 2147483646 h 320"/>
                  <a:gd name="T10" fmla="*/ 2147483646 w 523"/>
                  <a:gd name="T11" fmla="*/ 2147483646 h 320"/>
                  <a:gd name="T12" fmla="*/ 2147483646 w 523"/>
                  <a:gd name="T13" fmla="*/ 2147483646 h 320"/>
                  <a:gd name="T14" fmla="*/ 2147483646 w 523"/>
                  <a:gd name="T15" fmla="*/ 2147483646 h 320"/>
                  <a:gd name="T16" fmla="*/ 2147483646 w 523"/>
                  <a:gd name="T17" fmla="*/ 2147483646 h 320"/>
                  <a:gd name="T18" fmla="*/ 2147483646 w 523"/>
                  <a:gd name="T19" fmla="*/ 2147483646 h 320"/>
                  <a:gd name="T20" fmla="*/ 2147483646 w 523"/>
                  <a:gd name="T21" fmla="*/ 2147483646 h 320"/>
                  <a:gd name="T22" fmla="*/ 2147483646 w 523"/>
                  <a:gd name="T23" fmla="*/ 2147483646 h 320"/>
                  <a:gd name="T24" fmla="*/ 2147483646 w 523"/>
                  <a:gd name="T25" fmla="*/ 2147483646 h 320"/>
                  <a:gd name="T26" fmla="*/ 2147483646 w 523"/>
                  <a:gd name="T27" fmla="*/ 2147483646 h 320"/>
                  <a:gd name="T28" fmla="*/ 2147483646 w 523"/>
                  <a:gd name="T29" fmla="*/ 2147483646 h 320"/>
                  <a:gd name="T30" fmla="*/ 2147483646 w 523"/>
                  <a:gd name="T31" fmla="*/ 2147483646 h 320"/>
                  <a:gd name="T32" fmla="*/ 2147483646 w 523"/>
                  <a:gd name="T33" fmla="*/ 2147483646 h 320"/>
                  <a:gd name="T34" fmla="*/ 2147483646 w 523"/>
                  <a:gd name="T35" fmla="*/ 2147483646 h 320"/>
                  <a:gd name="T36" fmla="*/ 2147483646 w 523"/>
                  <a:gd name="T37" fmla="*/ 2147483646 h 320"/>
                  <a:gd name="T38" fmla="*/ 2147483646 w 523"/>
                  <a:gd name="T39" fmla="*/ 2147483646 h 320"/>
                  <a:gd name="T40" fmla="*/ 2147483646 w 523"/>
                  <a:gd name="T41" fmla="*/ 0 h 320"/>
                  <a:gd name="T42" fmla="*/ 2147483646 w 523"/>
                  <a:gd name="T43" fmla="*/ 2147483646 h 320"/>
                  <a:gd name="T44" fmla="*/ 2147483646 w 523"/>
                  <a:gd name="T45" fmla="*/ 2147483646 h 320"/>
                  <a:gd name="T46" fmla="*/ 2147483646 w 523"/>
                  <a:gd name="T47" fmla="*/ 2147483646 h 320"/>
                  <a:gd name="T48" fmla="*/ 2147483646 w 523"/>
                  <a:gd name="T49" fmla="*/ 2147483646 h 320"/>
                  <a:gd name="T50" fmla="*/ 2147483646 w 523"/>
                  <a:gd name="T51" fmla="*/ 2147483646 h 320"/>
                  <a:gd name="T52" fmla="*/ 2147483646 w 523"/>
                  <a:gd name="T53" fmla="*/ 2147483646 h 32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523" h="320">
                    <a:moveTo>
                      <a:pt x="505" y="0"/>
                    </a:moveTo>
                    <a:cubicBezTo>
                      <a:pt x="242" y="0"/>
                      <a:pt x="242" y="0"/>
                      <a:pt x="242" y="0"/>
                    </a:cubicBezTo>
                    <a:cubicBezTo>
                      <a:pt x="232" y="0"/>
                      <a:pt x="224" y="6"/>
                      <a:pt x="224" y="14"/>
                    </a:cubicBezTo>
                    <a:cubicBezTo>
                      <a:pt x="224" y="203"/>
                      <a:pt x="224" y="203"/>
                      <a:pt x="224" y="203"/>
                    </a:cubicBezTo>
                    <a:cubicBezTo>
                      <a:pt x="189" y="200"/>
                      <a:pt x="189" y="200"/>
                      <a:pt x="189" y="200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9" y="63"/>
                      <a:pt x="185" y="59"/>
                      <a:pt x="180" y="59"/>
                    </a:cubicBezTo>
                    <a:cubicBezTo>
                      <a:pt x="78" y="59"/>
                      <a:pt x="78" y="59"/>
                      <a:pt x="78" y="59"/>
                    </a:cubicBezTo>
                    <a:cubicBezTo>
                      <a:pt x="74" y="59"/>
                      <a:pt x="13" y="170"/>
                      <a:pt x="13" y="174"/>
                    </a:cubicBezTo>
                    <a:cubicBezTo>
                      <a:pt x="13" y="174"/>
                      <a:pt x="6" y="234"/>
                      <a:pt x="5" y="241"/>
                    </a:cubicBezTo>
                    <a:cubicBezTo>
                      <a:pt x="0" y="280"/>
                      <a:pt x="0" y="306"/>
                      <a:pt x="15" y="314"/>
                    </a:cubicBezTo>
                    <a:cubicBezTo>
                      <a:pt x="15" y="314"/>
                      <a:pt x="17" y="315"/>
                      <a:pt x="18" y="315"/>
                    </a:cubicBezTo>
                    <a:cubicBezTo>
                      <a:pt x="21" y="268"/>
                      <a:pt x="61" y="231"/>
                      <a:pt x="109" y="231"/>
                    </a:cubicBezTo>
                    <a:cubicBezTo>
                      <a:pt x="158" y="231"/>
                      <a:pt x="198" y="270"/>
                      <a:pt x="200" y="319"/>
                    </a:cubicBezTo>
                    <a:cubicBezTo>
                      <a:pt x="311" y="320"/>
                      <a:pt x="311" y="320"/>
                      <a:pt x="311" y="320"/>
                    </a:cubicBezTo>
                    <a:cubicBezTo>
                      <a:pt x="312" y="270"/>
                      <a:pt x="353" y="231"/>
                      <a:pt x="402" y="231"/>
                    </a:cubicBezTo>
                    <a:cubicBezTo>
                      <a:pt x="452" y="231"/>
                      <a:pt x="493" y="271"/>
                      <a:pt x="494" y="320"/>
                    </a:cubicBezTo>
                    <a:cubicBezTo>
                      <a:pt x="502" y="320"/>
                      <a:pt x="502" y="320"/>
                      <a:pt x="502" y="320"/>
                    </a:cubicBezTo>
                    <a:cubicBezTo>
                      <a:pt x="513" y="320"/>
                      <a:pt x="522" y="311"/>
                      <a:pt x="522" y="300"/>
                    </a:cubicBezTo>
                    <a:cubicBezTo>
                      <a:pt x="523" y="14"/>
                      <a:pt x="523" y="14"/>
                      <a:pt x="523" y="14"/>
                    </a:cubicBezTo>
                    <a:cubicBezTo>
                      <a:pt x="523" y="6"/>
                      <a:pt x="515" y="0"/>
                      <a:pt x="505" y="0"/>
                    </a:cubicBezTo>
                    <a:close/>
                    <a:moveTo>
                      <a:pt x="58" y="162"/>
                    </a:moveTo>
                    <a:cubicBezTo>
                      <a:pt x="58" y="159"/>
                      <a:pt x="91" y="92"/>
                      <a:pt x="94" y="92"/>
                    </a:cubicBezTo>
                    <a:cubicBezTo>
                      <a:pt x="151" y="92"/>
                      <a:pt x="151" y="92"/>
                      <a:pt x="151" y="92"/>
                    </a:cubicBezTo>
                    <a:cubicBezTo>
                      <a:pt x="153" y="92"/>
                      <a:pt x="156" y="95"/>
                      <a:pt x="156" y="98"/>
                    </a:cubicBezTo>
                    <a:cubicBezTo>
                      <a:pt x="156" y="162"/>
                      <a:pt x="156" y="162"/>
                      <a:pt x="156" y="162"/>
                    </a:cubicBezTo>
                    <a:lnTo>
                      <a:pt x="5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0" name="Freeform 16"/>
              <p:cNvSpPr>
                <a:spLocks noEditPoints="1"/>
              </p:cNvSpPr>
              <p:nvPr/>
            </p:nvSpPr>
            <p:spPr bwMode="auto">
              <a:xfrm>
                <a:off x="8483047" y="-1288426"/>
                <a:ext cx="158830" cy="157818"/>
              </a:xfrm>
              <a:custGeom>
                <a:avLst/>
                <a:gdLst>
                  <a:gd name="T0" fmla="*/ 2147483646 w 133"/>
                  <a:gd name="T1" fmla="*/ 0 h 132"/>
                  <a:gd name="T2" fmla="*/ 0 w 133"/>
                  <a:gd name="T3" fmla="*/ 2147483646 h 132"/>
                  <a:gd name="T4" fmla="*/ 2147483646 w 133"/>
                  <a:gd name="T5" fmla="*/ 2147483646 h 132"/>
                  <a:gd name="T6" fmla="*/ 2147483646 w 133"/>
                  <a:gd name="T7" fmla="*/ 2147483646 h 132"/>
                  <a:gd name="T8" fmla="*/ 2147483646 w 133"/>
                  <a:gd name="T9" fmla="*/ 0 h 132"/>
                  <a:gd name="T10" fmla="*/ 2147483646 w 133"/>
                  <a:gd name="T11" fmla="*/ 2147483646 h 132"/>
                  <a:gd name="T12" fmla="*/ 2147483646 w 133"/>
                  <a:gd name="T13" fmla="*/ 2147483646 h 132"/>
                  <a:gd name="T14" fmla="*/ 2147483646 w 133"/>
                  <a:gd name="T15" fmla="*/ 2147483646 h 132"/>
                  <a:gd name="T16" fmla="*/ 2147483646 w 133"/>
                  <a:gd name="T17" fmla="*/ 2147483646 h 132"/>
                  <a:gd name="T18" fmla="*/ 2147483646 w 133"/>
                  <a:gd name="T19" fmla="*/ 2147483646 h 1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33" h="132">
                    <a:moveTo>
                      <a:pt x="67" y="0"/>
                    </a:moveTo>
                    <a:cubicBezTo>
                      <a:pt x="30" y="0"/>
                      <a:pt x="0" y="29"/>
                      <a:pt x="0" y="66"/>
                    </a:cubicBezTo>
                    <a:cubicBezTo>
                      <a:pt x="0" y="102"/>
                      <a:pt x="30" y="132"/>
                      <a:pt x="67" y="132"/>
                    </a:cubicBezTo>
                    <a:cubicBezTo>
                      <a:pt x="103" y="132"/>
                      <a:pt x="133" y="102"/>
                      <a:pt x="133" y="66"/>
                    </a:cubicBezTo>
                    <a:cubicBezTo>
                      <a:pt x="133" y="29"/>
                      <a:pt x="103" y="0"/>
                      <a:pt x="67" y="0"/>
                    </a:cubicBezTo>
                    <a:close/>
                    <a:moveTo>
                      <a:pt x="67" y="97"/>
                    </a:moveTo>
                    <a:cubicBezTo>
                      <a:pt x="49" y="97"/>
                      <a:pt x="35" y="83"/>
                      <a:pt x="35" y="66"/>
                    </a:cubicBezTo>
                    <a:cubicBezTo>
                      <a:pt x="35" y="49"/>
                      <a:pt x="49" y="35"/>
                      <a:pt x="67" y="35"/>
                    </a:cubicBezTo>
                    <a:cubicBezTo>
                      <a:pt x="84" y="35"/>
                      <a:pt x="98" y="49"/>
                      <a:pt x="98" y="66"/>
                    </a:cubicBezTo>
                    <a:cubicBezTo>
                      <a:pt x="98" y="83"/>
                      <a:pt x="84" y="97"/>
                      <a:pt x="67" y="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cxnSp>
          <p:nvCxnSpPr>
            <p:cNvPr id="113" name="直接连接符 112"/>
            <p:cNvCxnSpPr/>
            <p:nvPr/>
          </p:nvCxnSpPr>
          <p:spPr>
            <a:xfrm>
              <a:off x="5202502" y="3619714"/>
              <a:ext cx="1383373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组合 9"/>
          <p:cNvGrpSpPr/>
          <p:nvPr/>
        </p:nvGrpSpPr>
        <p:grpSpPr bwMode="auto">
          <a:xfrm>
            <a:off x="7024688" y="2979738"/>
            <a:ext cx="1589087" cy="1152525"/>
            <a:chOff x="7024879" y="2979990"/>
            <a:chExt cx="1589610" cy="1152456"/>
          </a:xfrm>
        </p:grpSpPr>
        <p:sp>
          <p:nvSpPr>
            <p:cNvPr id="70" name="矩形 69"/>
            <p:cNvSpPr/>
            <p:nvPr/>
          </p:nvSpPr>
          <p:spPr>
            <a:xfrm>
              <a:off x="7024879" y="3619714"/>
              <a:ext cx="1589610" cy="5127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754" name="组合 66"/>
            <p:cNvGrpSpPr/>
            <p:nvPr/>
          </p:nvGrpSpPr>
          <p:grpSpPr bwMode="auto">
            <a:xfrm>
              <a:off x="7539322" y="2979990"/>
              <a:ext cx="560725" cy="560725"/>
              <a:chOff x="11884941" y="-1832190"/>
              <a:chExt cx="820957" cy="820957"/>
            </a:xfrm>
          </p:grpSpPr>
          <p:sp>
            <p:nvSpPr>
              <p:cNvPr id="51" name="Freeform 17"/>
              <p:cNvSpPr/>
              <p:nvPr/>
            </p:nvSpPr>
            <p:spPr bwMode="auto">
              <a:xfrm>
                <a:off x="11885052" y="-1832190"/>
                <a:ext cx="820731" cy="820412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57" name="Freeform 18"/>
              <p:cNvSpPr/>
              <p:nvPr/>
            </p:nvSpPr>
            <p:spPr bwMode="auto">
              <a:xfrm>
                <a:off x="12090307" y="-1696123"/>
                <a:ext cx="615591" cy="684890"/>
              </a:xfrm>
              <a:custGeom>
                <a:avLst/>
                <a:gdLst>
                  <a:gd name="T0" fmla="*/ 2147483646 w 515"/>
                  <a:gd name="T1" fmla="*/ 0 h 573"/>
                  <a:gd name="T2" fmla="*/ 2147483646 w 515"/>
                  <a:gd name="T3" fmla="*/ 2147483646 h 573"/>
                  <a:gd name="T4" fmla="*/ 2147483646 w 515"/>
                  <a:gd name="T5" fmla="*/ 2147483646 h 573"/>
                  <a:gd name="T6" fmla="*/ 2147483646 w 515"/>
                  <a:gd name="T7" fmla="*/ 2147483646 h 573"/>
                  <a:gd name="T8" fmla="*/ 2147483646 w 515"/>
                  <a:gd name="T9" fmla="*/ 2147483646 h 573"/>
                  <a:gd name="T10" fmla="*/ 2147483646 w 515"/>
                  <a:gd name="T11" fmla="*/ 2147483646 h 573"/>
                  <a:gd name="T12" fmla="*/ 2147483646 w 515"/>
                  <a:gd name="T13" fmla="*/ 2147483646 h 573"/>
                  <a:gd name="T14" fmla="*/ 2147483646 w 515"/>
                  <a:gd name="T15" fmla="*/ 2147483646 h 573"/>
                  <a:gd name="T16" fmla="*/ 2147483646 w 515"/>
                  <a:gd name="T17" fmla="*/ 0 h 57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15" h="573">
                    <a:moveTo>
                      <a:pt x="191" y="0"/>
                    </a:moveTo>
                    <a:cubicBezTo>
                      <a:pt x="138" y="5"/>
                      <a:pt x="138" y="5"/>
                      <a:pt x="138" y="5"/>
                    </a:cubicBezTo>
                    <a:cubicBezTo>
                      <a:pt x="138" y="5"/>
                      <a:pt x="120" y="119"/>
                      <a:pt x="60" y="183"/>
                    </a:cubicBezTo>
                    <a:cubicBezTo>
                      <a:pt x="0" y="247"/>
                      <a:pt x="51" y="442"/>
                      <a:pt x="51" y="442"/>
                    </a:cubicBezTo>
                    <a:cubicBezTo>
                      <a:pt x="181" y="573"/>
                      <a:pt x="181" y="573"/>
                      <a:pt x="181" y="573"/>
                    </a:cubicBezTo>
                    <a:cubicBezTo>
                      <a:pt x="453" y="573"/>
                      <a:pt x="453" y="573"/>
                      <a:pt x="453" y="573"/>
                    </a:cubicBezTo>
                    <a:cubicBezTo>
                      <a:pt x="487" y="573"/>
                      <a:pt x="515" y="545"/>
                      <a:pt x="515" y="510"/>
                    </a:cubicBezTo>
                    <a:cubicBezTo>
                      <a:pt x="515" y="324"/>
                      <a:pt x="515" y="324"/>
                      <a:pt x="515" y="324"/>
                    </a:cubicBezTo>
                    <a:lnTo>
                      <a:pt x="191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58" name="Freeform 19"/>
              <p:cNvSpPr>
                <a:spLocks noEditPoints="1"/>
              </p:cNvSpPr>
              <p:nvPr/>
            </p:nvSpPr>
            <p:spPr bwMode="auto">
              <a:xfrm>
                <a:off x="12099917" y="-1716356"/>
                <a:ext cx="260501" cy="586759"/>
              </a:xfrm>
              <a:custGeom>
                <a:avLst/>
                <a:gdLst>
                  <a:gd name="T0" fmla="*/ 2147483646 w 218"/>
                  <a:gd name="T1" fmla="*/ 2147483646 h 491"/>
                  <a:gd name="T2" fmla="*/ 2147483646 w 218"/>
                  <a:gd name="T3" fmla="*/ 2147483646 h 491"/>
                  <a:gd name="T4" fmla="*/ 2147483646 w 218"/>
                  <a:gd name="T5" fmla="*/ 2147483646 h 491"/>
                  <a:gd name="T6" fmla="*/ 2147483646 w 218"/>
                  <a:gd name="T7" fmla="*/ 2147483646 h 491"/>
                  <a:gd name="T8" fmla="*/ 2147483646 w 218"/>
                  <a:gd name="T9" fmla="*/ 2147483646 h 491"/>
                  <a:gd name="T10" fmla="*/ 2147483646 w 218"/>
                  <a:gd name="T11" fmla="*/ 2147483646 h 491"/>
                  <a:gd name="T12" fmla="*/ 2147483646 w 218"/>
                  <a:gd name="T13" fmla="*/ 2147483646 h 491"/>
                  <a:gd name="T14" fmla="*/ 2147483646 w 218"/>
                  <a:gd name="T15" fmla="*/ 2147483646 h 491"/>
                  <a:gd name="T16" fmla="*/ 2147483646 w 218"/>
                  <a:gd name="T17" fmla="*/ 2147483646 h 491"/>
                  <a:gd name="T18" fmla="*/ 2147483646 w 218"/>
                  <a:gd name="T19" fmla="*/ 2147483646 h 491"/>
                  <a:gd name="T20" fmla="*/ 2147483646 w 218"/>
                  <a:gd name="T21" fmla="*/ 2147483646 h 491"/>
                  <a:gd name="T22" fmla="*/ 2147483646 w 218"/>
                  <a:gd name="T23" fmla="*/ 2147483646 h 491"/>
                  <a:gd name="T24" fmla="*/ 2147483646 w 218"/>
                  <a:gd name="T25" fmla="*/ 2147483646 h 491"/>
                  <a:gd name="T26" fmla="*/ 2147483646 w 218"/>
                  <a:gd name="T27" fmla="*/ 2147483646 h 491"/>
                  <a:gd name="T28" fmla="*/ 2147483646 w 218"/>
                  <a:gd name="T29" fmla="*/ 2147483646 h 491"/>
                  <a:gd name="T30" fmla="*/ 2147483646 w 218"/>
                  <a:gd name="T31" fmla="*/ 2147483646 h 491"/>
                  <a:gd name="T32" fmla="*/ 2147483646 w 218"/>
                  <a:gd name="T33" fmla="*/ 2147483646 h 491"/>
                  <a:gd name="T34" fmla="*/ 2147483646 w 218"/>
                  <a:gd name="T35" fmla="*/ 2147483646 h 491"/>
                  <a:gd name="T36" fmla="*/ 2147483646 w 218"/>
                  <a:gd name="T37" fmla="*/ 2147483646 h 491"/>
                  <a:gd name="T38" fmla="*/ 2147483646 w 218"/>
                  <a:gd name="T39" fmla="*/ 2147483646 h 491"/>
                  <a:gd name="T40" fmla="*/ 2147483646 w 218"/>
                  <a:gd name="T41" fmla="*/ 2147483646 h 491"/>
                  <a:gd name="T42" fmla="*/ 2147483646 w 218"/>
                  <a:gd name="T43" fmla="*/ 2147483646 h 491"/>
                  <a:gd name="T44" fmla="*/ 2147483646 w 218"/>
                  <a:gd name="T45" fmla="*/ 2147483646 h 491"/>
                  <a:gd name="T46" fmla="*/ 2147483646 w 218"/>
                  <a:gd name="T47" fmla="*/ 2147483646 h 491"/>
                  <a:gd name="T48" fmla="*/ 2147483646 w 218"/>
                  <a:gd name="T49" fmla="*/ 2147483646 h 491"/>
                  <a:gd name="T50" fmla="*/ 2147483646 w 218"/>
                  <a:gd name="T51" fmla="*/ 2147483646 h 491"/>
                  <a:gd name="T52" fmla="*/ 2147483646 w 218"/>
                  <a:gd name="T53" fmla="*/ 2147483646 h 491"/>
                  <a:gd name="T54" fmla="*/ 2147483646 w 218"/>
                  <a:gd name="T55" fmla="*/ 2147483646 h 491"/>
                  <a:gd name="T56" fmla="*/ 2147483646 w 218"/>
                  <a:gd name="T57" fmla="*/ 2147483646 h 491"/>
                  <a:gd name="T58" fmla="*/ 2147483646 w 218"/>
                  <a:gd name="T59" fmla="*/ 2147483646 h 491"/>
                  <a:gd name="T60" fmla="*/ 2147483646 w 218"/>
                  <a:gd name="T61" fmla="*/ 2147483646 h 491"/>
                  <a:gd name="T62" fmla="*/ 2147483646 w 218"/>
                  <a:gd name="T63" fmla="*/ 2147483646 h 491"/>
                  <a:gd name="T64" fmla="*/ 2147483646 w 218"/>
                  <a:gd name="T65" fmla="*/ 2147483646 h 491"/>
                  <a:gd name="T66" fmla="*/ 2147483646 w 218"/>
                  <a:gd name="T67" fmla="*/ 2147483646 h 49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18" h="491">
                    <a:moveTo>
                      <a:pt x="102" y="490"/>
                    </a:moveTo>
                    <a:cubicBezTo>
                      <a:pt x="189" y="489"/>
                      <a:pt x="189" y="489"/>
                      <a:pt x="189" y="489"/>
                    </a:cubicBezTo>
                    <a:cubicBezTo>
                      <a:pt x="195" y="489"/>
                      <a:pt x="201" y="486"/>
                      <a:pt x="204" y="480"/>
                    </a:cubicBezTo>
                    <a:cubicBezTo>
                      <a:pt x="206" y="475"/>
                      <a:pt x="205" y="468"/>
                      <a:pt x="201" y="463"/>
                    </a:cubicBezTo>
                    <a:cubicBezTo>
                      <a:pt x="197" y="458"/>
                      <a:pt x="194" y="449"/>
                      <a:pt x="194" y="439"/>
                    </a:cubicBezTo>
                    <a:cubicBezTo>
                      <a:pt x="194" y="431"/>
                      <a:pt x="196" y="423"/>
                      <a:pt x="200" y="417"/>
                    </a:cubicBezTo>
                    <a:cubicBezTo>
                      <a:pt x="203" y="413"/>
                      <a:pt x="203" y="407"/>
                      <a:pt x="201" y="402"/>
                    </a:cubicBezTo>
                    <a:cubicBezTo>
                      <a:pt x="199" y="397"/>
                      <a:pt x="194" y="393"/>
                      <a:pt x="188" y="393"/>
                    </a:cubicBezTo>
                    <a:cubicBezTo>
                      <a:pt x="183" y="392"/>
                      <a:pt x="178" y="389"/>
                      <a:pt x="174" y="385"/>
                    </a:cubicBezTo>
                    <a:cubicBezTo>
                      <a:pt x="170" y="379"/>
                      <a:pt x="167" y="372"/>
                      <a:pt x="167" y="365"/>
                    </a:cubicBezTo>
                    <a:cubicBezTo>
                      <a:pt x="167" y="357"/>
                      <a:pt x="170" y="350"/>
                      <a:pt x="174" y="344"/>
                    </a:cubicBezTo>
                    <a:cubicBezTo>
                      <a:pt x="174" y="344"/>
                      <a:pt x="179" y="340"/>
                      <a:pt x="179" y="340"/>
                    </a:cubicBezTo>
                    <a:cubicBezTo>
                      <a:pt x="182" y="337"/>
                      <a:pt x="185" y="332"/>
                      <a:pt x="185" y="327"/>
                    </a:cubicBezTo>
                    <a:cubicBezTo>
                      <a:pt x="185" y="322"/>
                      <a:pt x="183" y="317"/>
                      <a:pt x="179" y="314"/>
                    </a:cubicBezTo>
                    <a:cubicBezTo>
                      <a:pt x="172" y="309"/>
                      <a:pt x="167" y="300"/>
                      <a:pt x="167" y="290"/>
                    </a:cubicBezTo>
                    <a:cubicBezTo>
                      <a:pt x="167" y="282"/>
                      <a:pt x="170" y="275"/>
                      <a:pt x="174" y="270"/>
                    </a:cubicBezTo>
                    <a:cubicBezTo>
                      <a:pt x="178" y="265"/>
                      <a:pt x="183" y="262"/>
                      <a:pt x="188" y="262"/>
                    </a:cubicBezTo>
                    <a:cubicBezTo>
                      <a:pt x="194" y="261"/>
                      <a:pt x="199" y="258"/>
                      <a:pt x="201" y="253"/>
                    </a:cubicBezTo>
                    <a:cubicBezTo>
                      <a:pt x="203" y="248"/>
                      <a:pt x="203" y="242"/>
                      <a:pt x="200" y="237"/>
                    </a:cubicBezTo>
                    <a:cubicBezTo>
                      <a:pt x="196" y="232"/>
                      <a:pt x="194" y="224"/>
                      <a:pt x="194" y="215"/>
                    </a:cubicBezTo>
                    <a:cubicBezTo>
                      <a:pt x="194" y="207"/>
                      <a:pt x="196" y="200"/>
                      <a:pt x="199" y="194"/>
                    </a:cubicBezTo>
                    <a:cubicBezTo>
                      <a:pt x="199" y="194"/>
                      <a:pt x="202" y="191"/>
                      <a:pt x="202" y="191"/>
                    </a:cubicBezTo>
                    <a:cubicBezTo>
                      <a:pt x="205" y="187"/>
                      <a:pt x="206" y="181"/>
                      <a:pt x="205" y="176"/>
                    </a:cubicBezTo>
                    <a:cubicBezTo>
                      <a:pt x="204" y="172"/>
                      <a:pt x="200" y="167"/>
                      <a:pt x="196" y="165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193" y="163"/>
                      <a:pt x="192" y="162"/>
                      <a:pt x="192" y="162"/>
                    </a:cubicBezTo>
                    <a:cubicBezTo>
                      <a:pt x="192" y="160"/>
                      <a:pt x="195" y="152"/>
                      <a:pt x="198" y="147"/>
                    </a:cubicBezTo>
                    <a:cubicBezTo>
                      <a:pt x="201" y="138"/>
                      <a:pt x="206" y="129"/>
                      <a:pt x="208" y="118"/>
                    </a:cubicBezTo>
                    <a:cubicBezTo>
                      <a:pt x="218" y="61"/>
                      <a:pt x="204" y="20"/>
                      <a:pt x="167" y="5"/>
                    </a:cubicBezTo>
                    <a:cubicBezTo>
                      <a:pt x="154" y="0"/>
                      <a:pt x="144" y="3"/>
                      <a:pt x="138" y="6"/>
                    </a:cubicBezTo>
                    <a:cubicBezTo>
                      <a:pt x="119" y="16"/>
                      <a:pt x="114" y="42"/>
                      <a:pt x="108" y="72"/>
                    </a:cubicBezTo>
                    <a:cubicBezTo>
                      <a:pt x="105" y="90"/>
                      <a:pt x="101" y="108"/>
                      <a:pt x="94" y="120"/>
                    </a:cubicBezTo>
                    <a:cubicBezTo>
                      <a:pt x="74" y="158"/>
                      <a:pt x="67" y="169"/>
                      <a:pt x="43" y="192"/>
                    </a:cubicBezTo>
                    <a:cubicBezTo>
                      <a:pt x="15" y="218"/>
                      <a:pt x="0" y="234"/>
                      <a:pt x="2" y="280"/>
                    </a:cubicBezTo>
                    <a:cubicBezTo>
                      <a:pt x="2" y="294"/>
                      <a:pt x="6" y="303"/>
                      <a:pt x="9" y="311"/>
                    </a:cubicBezTo>
                    <a:cubicBezTo>
                      <a:pt x="13" y="319"/>
                      <a:pt x="16" y="326"/>
                      <a:pt x="16" y="337"/>
                    </a:cubicBezTo>
                    <a:cubicBezTo>
                      <a:pt x="16" y="348"/>
                      <a:pt x="14" y="355"/>
                      <a:pt x="11" y="363"/>
                    </a:cubicBezTo>
                    <a:cubicBezTo>
                      <a:pt x="8" y="371"/>
                      <a:pt x="4" y="380"/>
                      <a:pt x="5" y="394"/>
                    </a:cubicBezTo>
                    <a:cubicBezTo>
                      <a:pt x="5" y="421"/>
                      <a:pt x="16" y="446"/>
                      <a:pt x="35" y="464"/>
                    </a:cubicBezTo>
                    <a:cubicBezTo>
                      <a:pt x="54" y="481"/>
                      <a:pt x="77" y="491"/>
                      <a:pt x="102" y="490"/>
                    </a:cubicBezTo>
                    <a:close/>
                    <a:moveTo>
                      <a:pt x="101" y="458"/>
                    </a:moveTo>
                    <a:cubicBezTo>
                      <a:pt x="85" y="459"/>
                      <a:pt x="69" y="453"/>
                      <a:pt x="57" y="441"/>
                    </a:cubicBezTo>
                    <a:cubicBezTo>
                      <a:pt x="44" y="429"/>
                      <a:pt x="37" y="412"/>
                      <a:pt x="36" y="393"/>
                    </a:cubicBezTo>
                    <a:cubicBezTo>
                      <a:pt x="36" y="386"/>
                      <a:pt x="38" y="381"/>
                      <a:pt x="40" y="374"/>
                    </a:cubicBezTo>
                    <a:cubicBezTo>
                      <a:pt x="44" y="365"/>
                      <a:pt x="48" y="353"/>
                      <a:pt x="48" y="336"/>
                    </a:cubicBezTo>
                    <a:cubicBezTo>
                      <a:pt x="47" y="318"/>
                      <a:pt x="42" y="308"/>
                      <a:pt x="38" y="299"/>
                    </a:cubicBezTo>
                    <a:cubicBezTo>
                      <a:pt x="35" y="292"/>
                      <a:pt x="33" y="287"/>
                      <a:pt x="33" y="279"/>
                    </a:cubicBezTo>
                    <a:cubicBezTo>
                      <a:pt x="32" y="245"/>
                      <a:pt x="40" y="237"/>
                      <a:pt x="65" y="215"/>
                    </a:cubicBezTo>
                    <a:cubicBezTo>
                      <a:pt x="92" y="189"/>
                      <a:pt x="100" y="175"/>
                      <a:pt x="122" y="135"/>
                    </a:cubicBezTo>
                    <a:cubicBezTo>
                      <a:pt x="131" y="119"/>
                      <a:pt x="135" y="98"/>
                      <a:pt x="139" y="78"/>
                    </a:cubicBezTo>
                    <a:cubicBezTo>
                      <a:pt x="142" y="64"/>
                      <a:pt x="147" y="37"/>
                      <a:pt x="153" y="34"/>
                    </a:cubicBezTo>
                    <a:cubicBezTo>
                      <a:pt x="153" y="34"/>
                      <a:pt x="153" y="34"/>
                      <a:pt x="153" y="34"/>
                    </a:cubicBezTo>
                    <a:cubicBezTo>
                      <a:pt x="153" y="34"/>
                      <a:pt x="154" y="34"/>
                      <a:pt x="156" y="35"/>
                    </a:cubicBezTo>
                    <a:cubicBezTo>
                      <a:pt x="175" y="42"/>
                      <a:pt x="179" y="64"/>
                      <a:pt x="179" y="84"/>
                    </a:cubicBezTo>
                    <a:cubicBezTo>
                      <a:pt x="179" y="95"/>
                      <a:pt x="178" y="106"/>
                      <a:pt x="177" y="113"/>
                    </a:cubicBezTo>
                    <a:cubicBezTo>
                      <a:pt x="175" y="120"/>
                      <a:pt x="172" y="127"/>
                      <a:pt x="169" y="134"/>
                    </a:cubicBezTo>
                    <a:cubicBezTo>
                      <a:pt x="166" y="141"/>
                      <a:pt x="161" y="152"/>
                      <a:pt x="161" y="162"/>
                    </a:cubicBezTo>
                    <a:cubicBezTo>
                      <a:pt x="161" y="170"/>
                      <a:pt x="163" y="177"/>
                      <a:pt x="170" y="184"/>
                    </a:cubicBezTo>
                    <a:cubicBezTo>
                      <a:pt x="165" y="193"/>
                      <a:pt x="162" y="204"/>
                      <a:pt x="162" y="215"/>
                    </a:cubicBezTo>
                    <a:cubicBezTo>
                      <a:pt x="162" y="223"/>
                      <a:pt x="163" y="230"/>
                      <a:pt x="165" y="237"/>
                    </a:cubicBezTo>
                    <a:cubicBezTo>
                      <a:pt x="160" y="240"/>
                      <a:pt x="154" y="244"/>
                      <a:pt x="150" y="249"/>
                    </a:cubicBezTo>
                    <a:cubicBezTo>
                      <a:pt x="141" y="260"/>
                      <a:pt x="136" y="275"/>
                      <a:pt x="136" y="290"/>
                    </a:cubicBezTo>
                    <a:cubicBezTo>
                      <a:pt x="136" y="304"/>
                      <a:pt x="140" y="317"/>
                      <a:pt x="148" y="327"/>
                    </a:cubicBezTo>
                    <a:cubicBezTo>
                      <a:pt x="140" y="338"/>
                      <a:pt x="136" y="351"/>
                      <a:pt x="136" y="365"/>
                    </a:cubicBezTo>
                    <a:cubicBezTo>
                      <a:pt x="136" y="380"/>
                      <a:pt x="141" y="394"/>
                      <a:pt x="150" y="405"/>
                    </a:cubicBezTo>
                    <a:cubicBezTo>
                      <a:pt x="154" y="410"/>
                      <a:pt x="160" y="415"/>
                      <a:pt x="165" y="418"/>
                    </a:cubicBezTo>
                    <a:cubicBezTo>
                      <a:pt x="163" y="424"/>
                      <a:pt x="162" y="432"/>
                      <a:pt x="162" y="439"/>
                    </a:cubicBezTo>
                    <a:cubicBezTo>
                      <a:pt x="162" y="446"/>
                      <a:pt x="164" y="452"/>
                      <a:pt x="165" y="458"/>
                    </a:cubicBezTo>
                    <a:cubicBezTo>
                      <a:pt x="140" y="458"/>
                      <a:pt x="101" y="458"/>
                      <a:pt x="101" y="45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59" name="Freeform 20"/>
              <p:cNvSpPr/>
              <p:nvPr/>
            </p:nvSpPr>
            <p:spPr bwMode="auto">
              <a:xfrm>
                <a:off x="12363959" y="-1497333"/>
                <a:ext cx="147196" cy="76380"/>
              </a:xfrm>
              <a:custGeom>
                <a:avLst/>
                <a:gdLst>
                  <a:gd name="T0" fmla="*/ 2147483646 w 123"/>
                  <a:gd name="T1" fmla="*/ 2147483646 h 64"/>
                  <a:gd name="T2" fmla="*/ 0 w 123"/>
                  <a:gd name="T3" fmla="*/ 2147483646 h 64"/>
                  <a:gd name="T4" fmla="*/ 0 w 123"/>
                  <a:gd name="T5" fmla="*/ 2147483646 h 64"/>
                  <a:gd name="T6" fmla="*/ 2147483646 w 123"/>
                  <a:gd name="T7" fmla="*/ 0 h 64"/>
                  <a:gd name="T8" fmla="*/ 2147483646 w 123"/>
                  <a:gd name="T9" fmla="*/ 0 h 64"/>
                  <a:gd name="T10" fmla="*/ 2147483646 w 123"/>
                  <a:gd name="T11" fmla="*/ 2147483646 h 64"/>
                  <a:gd name="T12" fmla="*/ 2147483646 w 123"/>
                  <a:gd name="T13" fmla="*/ 2147483646 h 64"/>
                  <a:gd name="T14" fmla="*/ 2147483646 w 123"/>
                  <a:gd name="T15" fmla="*/ 2147483646 h 64"/>
                  <a:gd name="T16" fmla="*/ 2147483646 w 123"/>
                  <a:gd name="T17" fmla="*/ 2147483646 h 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3" h="64">
                    <a:moveTo>
                      <a:pt x="19" y="64"/>
                    </a:moveTo>
                    <a:cubicBezTo>
                      <a:pt x="9" y="64"/>
                      <a:pt x="0" y="50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9" y="0"/>
                      <a:pt x="19" y="0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115" y="0"/>
                      <a:pt x="123" y="14"/>
                      <a:pt x="123" y="32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123" y="50"/>
                      <a:pt x="115" y="64"/>
                      <a:pt x="104" y="64"/>
                    </a:cubicBezTo>
                    <a:lnTo>
                      <a:pt x="19" y="6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0" name="Freeform 21"/>
              <p:cNvSpPr/>
              <p:nvPr/>
            </p:nvSpPr>
            <p:spPr bwMode="auto">
              <a:xfrm>
                <a:off x="12333104" y="-1407801"/>
                <a:ext cx="209918" cy="76380"/>
              </a:xfrm>
              <a:custGeom>
                <a:avLst/>
                <a:gdLst>
                  <a:gd name="T0" fmla="*/ 2147483646 w 176"/>
                  <a:gd name="T1" fmla="*/ 2147483646 h 64"/>
                  <a:gd name="T2" fmla="*/ 0 w 176"/>
                  <a:gd name="T3" fmla="*/ 2147483646 h 64"/>
                  <a:gd name="T4" fmla="*/ 0 w 176"/>
                  <a:gd name="T5" fmla="*/ 2147483646 h 64"/>
                  <a:gd name="T6" fmla="*/ 2147483646 w 176"/>
                  <a:gd name="T7" fmla="*/ 0 h 64"/>
                  <a:gd name="T8" fmla="*/ 2147483646 w 176"/>
                  <a:gd name="T9" fmla="*/ 0 h 64"/>
                  <a:gd name="T10" fmla="*/ 2147483646 w 176"/>
                  <a:gd name="T11" fmla="*/ 2147483646 h 64"/>
                  <a:gd name="T12" fmla="*/ 2147483646 w 176"/>
                  <a:gd name="T13" fmla="*/ 2147483646 h 64"/>
                  <a:gd name="T14" fmla="*/ 2147483646 w 176"/>
                  <a:gd name="T15" fmla="*/ 2147483646 h 64"/>
                  <a:gd name="T16" fmla="*/ 2147483646 w 176"/>
                  <a:gd name="T17" fmla="*/ 2147483646 h 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6" h="64">
                    <a:moveTo>
                      <a:pt x="27" y="64"/>
                    </a:moveTo>
                    <a:cubicBezTo>
                      <a:pt x="12" y="64"/>
                      <a:pt x="0" y="50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2" y="0"/>
                      <a:pt x="27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64" y="0"/>
                      <a:pt x="176" y="14"/>
                      <a:pt x="176" y="32"/>
                    </a:cubicBezTo>
                    <a:cubicBezTo>
                      <a:pt x="176" y="32"/>
                      <a:pt x="176" y="32"/>
                      <a:pt x="176" y="32"/>
                    </a:cubicBezTo>
                    <a:cubicBezTo>
                      <a:pt x="176" y="50"/>
                      <a:pt x="164" y="64"/>
                      <a:pt x="149" y="64"/>
                    </a:cubicBezTo>
                    <a:lnTo>
                      <a:pt x="27" y="6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1" name="Freeform 22"/>
              <p:cNvSpPr/>
              <p:nvPr/>
            </p:nvSpPr>
            <p:spPr bwMode="auto">
              <a:xfrm>
                <a:off x="12333104" y="-1319281"/>
                <a:ext cx="209918" cy="77391"/>
              </a:xfrm>
              <a:custGeom>
                <a:avLst/>
                <a:gdLst>
                  <a:gd name="T0" fmla="*/ 2147483646 w 176"/>
                  <a:gd name="T1" fmla="*/ 2147483646 h 65"/>
                  <a:gd name="T2" fmla="*/ 0 w 176"/>
                  <a:gd name="T3" fmla="*/ 2147483646 h 65"/>
                  <a:gd name="T4" fmla="*/ 0 w 176"/>
                  <a:gd name="T5" fmla="*/ 2147483646 h 65"/>
                  <a:gd name="T6" fmla="*/ 2147483646 w 176"/>
                  <a:gd name="T7" fmla="*/ 0 h 65"/>
                  <a:gd name="T8" fmla="*/ 2147483646 w 176"/>
                  <a:gd name="T9" fmla="*/ 0 h 65"/>
                  <a:gd name="T10" fmla="*/ 2147483646 w 176"/>
                  <a:gd name="T11" fmla="*/ 2147483646 h 65"/>
                  <a:gd name="T12" fmla="*/ 2147483646 w 176"/>
                  <a:gd name="T13" fmla="*/ 2147483646 h 65"/>
                  <a:gd name="T14" fmla="*/ 2147483646 w 176"/>
                  <a:gd name="T15" fmla="*/ 2147483646 h 65"/>
                  <a:gd name="T16" fmla="*/ 2147483646 w 176"/>
                  <a:gd name="T17" fmla="*/ 2147483646 h 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6" h="65">
                    <a:moveTo>
                      <a:pt x="27" y="65"/>
                    </a:moveTo>
                    <a:cubicBezTo>
                      <a:pt x="12" y="65"/>
                      <a:pt x="0" y="50"/>
                      <a:pt x="0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2" y="0"/>
                      <a:pt x="27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64" y="0"/>
                      <a:pt x="176" y="15"/>
                      <a:pt x="176" y="33"/>
                    </a:cubicBezTo>
                    <a:cubicBezTo>
                      <a:pt x="176" y="33"/>
                      <a:pt x="176" y="33"/>
                      <a:pt x="176" y="33"/>
                    </a:cubicBezTo>
                    <a:cubicBezTo>
                      <a:pt x="176" y="50"/>
                      <a:pt x="164" y="65"/>
                      <a:pt x="149" y="65"/>
                    </a:cubicBezTo>
                    <a:lnTo>
                      <a:pt x="27" y="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2" name="Freeform 23"/>
              <p:cNvSpPr/>
              <p:nvPr/>
            </p:nvSpPr>
            <p:spPr bwMode="auto">
              <a:xfrm>
                <a:off x="12363959" y="-1229750"/>
                <a:ext cx="147196" cy="77391"/>
              </a:xfrm>
              <a:custGeom>
                <a:avLst/>
                <a:gdLst>
                  <a:gd name="T0" fmla="*/ 2147483646 w 123"/>
                  <a:gd name="T1" fmla="*/ 2147483646 h 65"/>
                  <a:gd name="T2" fmla="*/ 0 w 123"/>
                  <a:gd name="T3" fmla="*/ 2147483646 h 65"/>
                  <a:gd name="T4" fmla="*/ 0 w 123"/>
                  <a:gd name="T5" fmla="*/ 2147483646 h 65"/>
                  <a:gd name="T6" fmla="*/ 2147483646 w 123"/>
                  <a:gd name="T7" fmla="*/ 0 h 65"/>
                  <a:gd name="T8" fmla="*/ 2147483646 w 123"/>
                  <a:gd name="T9" fmla="*/ 0 h 65"/>
                  <a:gd name="T10" fmla="*/ 2147483646 w 123"/>
                  <a:gd name="T11" fmla="*/ 2147483646 h 65"/>
                  <a:gd name="T12" fmla="*/ 2147483646 w 123"/>
                  <a:gd name="T13" fmla="*/ 2147483646 h 65"/>
                  <a:gd name="T14" fmla="*/ 2147483646 w 123"/>
                  <a:gd name="T15" fmla="*/ 2147483646 h 65"/>
                  <a:gd name="T16" fmla="*/ 2147483646 w 123"/>
                  <a:gd name="T17" fmla="*/ 2147483646 h 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3" h="65">
                    <a:moveTo>
                      <a:pt x="19" y="65"/>
                    </a:moveTo>
                    <a:cubicBezTo>
                      <a:pt x="9" y="65"/>
                      <a:pt x="0" y="50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5"/>
                      <a:pt x="9" y="0"/>
                      <a:pt x="19" y="0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115" y="0"/>
                      <a:pt x="123" y="15"/>
                      <a:pt x="123" y="32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123" y="50"/>
                      <a:pt x="115" y="65"/>
                      <a:pt x="104" y="65"/>
                    </a:cubicBezTo>
                    <a:lnTo>
                      <a:pt x="19" y="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cxnSp>
          <p:nvCxnSpPr>
            <p:cNvPr id="114" name="直接连接符 113"/>
            <p:cNvCxnSpPr/>
            <p:nvPr/>
          </p:nvCxnSpPr>
          <p:spPr>
            <a:xfrm>
              <a:off x="7126512" y="3619714"/>
              <a:ext cx="1386343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5" name="组合 114"/>
          <p:cNvGrpSpPr/>
          <p:nvPr/>
        </p:nvGrpSpPr>
        <p:grpSpPr bwMode="auto">
          <a:xfrm rot="16200000" flipH="1">
            <a:off x="3848100" y="1844675"/>
            <a:ext cx="287338" cy="287338"/>
            <a:chOff x="7129657" y="-1531645"/>
            <a:chExt cx="564454" cy="561216"/>
          </a:xfrm>
        </p:grpSpPr>
        <p:sp>
          <p:nvSpPr>
            <p:cNvPr id="116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44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5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6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7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8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9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50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4" name="Freeform 128"/>
            <p:cNvSpPr/>
            <p:nvPr/>
          </p:nvSpPr>
          <p:spPr bwMode="auto">
            <a:xfrm>
              <a:off x="7329242" y="-1249485"/>
              <a:ext cx="187111" cy="930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52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26" name="组合 125"/>
          <p:cNvGrpSpPr/>
          <p:nvPr/>
        </p:nvGrpSpPr>
        <p:grpSpPr bwMode="auto">
          <a:xfrm rot="16200000" flipH="1">
            <a:off x="5750719" y="1845469"/>
            <a:ext cx="287338" cy="285750"/>
            <a:chOff x="7129657" y="-1531645"/>
            <a:chExt cx="564454" cy="561216"/>
          </a:xfrm>
        </p:grpSpPr>
        <p:sp>
          <p:nvSpPr>
            <p:cNvPr id="127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32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3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4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5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6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7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8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" name="Freeform 128"/>
            <p:cNvSpPr/>
            <p:nvPr/>
          </p:nvSpPr>
          <p:spPr bwMode="auto">
            <a:xfrm>
              <a:off x="7329243" y="-1247920"/>
              <a:ext cx="187111" cy="904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40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7" name="组合 136"/>
          <p:cNvGrpSpPr/>
          <p:nvPr/>
        </p:nvGrpSpPr>
        <p:grpSpPr bwMode="auto">
          <a:xfrm rot="16200000" flipH="1">
            <a:off x="7676356" y="1845469"/>
            <a:ext cx="287338" cy="285750"/>
            <a:chOff x="7129657" y="-1531645"/>
            <a:chExt cx="564454" cy="561216"/>
          </a:xfrm>
        </p:grpSpPr>
        <p:sp>
          <p:nvSpPr>
            <p:cNvPr id="138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20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1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2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3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4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5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6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6" name="Freeform 128"/>
            <p:cNvSpPr/>
            <p:nvPr/>
          </p:nvSpPr>
          <p:spPr bwMode="auto">
            <a:xfrm>
              <a:off x="7329242" y="-1247917"/>
              <a:ext cx="187111" cy="90417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28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48" name="Freeform 51"/>
          <p:cNvSpPr>
            <a:spLocks noEditPoints="1"/>
          </p:cNvSpPr>
          <p:nvPr/>
        </p:nvSpPr>
        <p:spPr bwMode="auto">
          <a:xfrm rot="10800000" flipH="1" flipV="1">
            <a:off x="4829175" y="3270250"/>
            <a:ext cx="157163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49" name="Freeform 51"/>
          <p:cNvSpPr>
            <a:spLocks noEditPoints="1"/>
          </p:cNvSpPr>
          <p:nvPr/>
        </p:nvSpPr>
        <p:spPr bwMode="auto">
          <a:xfrm rot="10800000" flipH="1" flipV="1">
            <a:off x="3046413" y="3270250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50" name="Freeform 51"/>
          <p:cNvSpPr>
            <a:spLocks noEditPoints="1"/>
          </p:cNvSpPr>
          <p:nvPr/>
        </p:nvSpPr>
        <p:spPr bwMode="auto">
          <a:xfrm rot="10800000" flipH="1" flipV="1">
            <a:off x="6786563" y="3270250"/>
            <a:ext cx="158750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4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4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4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4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4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4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4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4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4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4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5" dur="4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4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9" dur="4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4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3" dur="4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4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4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4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58" grpId="0"/>
      <p:bldP spid="59" grpId="0"/>
      <p:bldP spid="6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22" name="组合 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0811" name="组合 2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7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8" name="矩形 7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0812" name="Freeform 152"/>
            <p:cNvSpPr>
              <a:spLocks noEditPoints="1"/>
            </p:cNvSpPr>
            <p:nvPr/>
          </p:nvSpPr>
          <p:spPr bwMode="auto">
            <a:xfrm>
              <a:off x="2093495" y="322945"/>
              <a:ext cx="225659" cy="216510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2147483646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1" h="30">
                  <a:moveTo>
                    <a:pt x="21" y="8"/>
                  </a:moveTo>
                  <a:cubicBezTo>
                    <a:pt x="22" y="9"/>
                    <a:pt x="23" y="9"/>
                    <a:pt x="24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4"/>
                    <a:pt x="28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5"/>
                    <a:pt x="31" y="16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3"/>
                    <a:pt x="25" y="25"/>
                    <a:pt x="23" y="26"/>
                  </a:cubicBezTo>
                  <a:cubicBezTo>
                    <a:pt x="22" y="27"/>
                    <a:pt x="22" y="28"/>
                    <a:pt x="22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9"/>
                    <a:pt x="18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2" y="29"/>
                    <a:pt x="12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5" y="25"/>
                    <a:pt x="3" y="22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3"/>
                    <a:pt x="6" y="10"/>
                    <a:pt x="10" y="8"/>
                  </a:cubicBezTo>
                  <a:cubicBezTo>
                    <a:pt x="11" y="10"/>
                    <a:pt x="13" y="12"/>
                    <a:pt x="15" y="12"/>
                  </a:cubicBezTo>
                  <a:cubicBezTo>
                    <a:pt x="18" y="12"/>
                    <a:pt x="20" y="10"/>
                    <a:pt x="21" y="8"/>
                  </a:cubicBezTo>
                  <a:close/>
                  <a:moveTo>
                    <a:pt x="15" y="0"/>
                  </a:moveTo>
                  <a:cubicBezTo>
                    <a:pt x="13" y="0"/>
                    <a:pt x="10" y="2"/>
                    <a:pt x="10" y="5"/>
                  </a:cubicBezTo>
                  <a:cubicBezTo>
                    <a:pt x="10" y="8"/>
                    <a:pt x="13" y="10"/>
                    <a:pt x="15" y="10"/>
                  </a:cubicBezTo>
                  <a:cubicBezTo>
                    <a:pt x="18" y="10"/>
                    <a:pt x="21" y="8"/>
                    <a:pt x="21" y="5"/>
                  </a:cubicBezTo>
                  <a:cubicBezTo>
                    <a:pt x="21" y="2"/>
                    <a:pt x="18" y="0"/>
                    <a:pt x="15" y="0"/>
                  </a:cubicBezTo>
                  <a:close/>
                  <a:moveTo>
                    <a:pt x="14" y="8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1" name="AutoShape 1290"/>
          <p:cNvSpPr>
            <a:spLocks noChangeArrowheads="1"/>
          </p:cNvSpPr>
          <p:nvPr/>
        </p:nvSpPr>
        <p:spPr bwMode="auto">
          <a:xfrm>
            <a:off x="2900363" y="1214438"/>
            <a:ext cx="2459037" cy="255587"/>
          </a:xfrm>
          <a:prstGeom prst="roundRect">
            <a:avLst>
              <a:gd name="adj" fmla="val 50000"/>
            </a:avLst>
          </a:prstGeom>
          <a:solidFill>
            <a:srgbClr val="8CC63F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Freeform 6"/>
          <p:cNvSpPr/>
          <p:nvPr/>
        </p:nvSpPr>
        <p:spPr bwMode="auto">
          <a:xfrm>
            <a:off x="1617663" y="3819525"/>
            <a:ext cx="5907087" cy="214313"/>
          </a:xfrm>
          <a:custGeom>
            <a:avLst/>
            <a:gdLst>
              <a:gd name="T0" fmla="*/ 5907087 w 10078"/>
              <a:gd name="T1" fmla="*/ 214312 h 328"/>
              <a:gd name="T2" fmla="*/ 0 w 10078"/>
              <a:gd name="T3" fmla="*/ 214312 h 328"/>
              <a:gd name="T4" fmla="*/ 1099593 w 10078"/>
              <a:gd name="T5" fmla="*/ 0 h 328"/>
              <a:gd name="T6" fmla="*/ 4806322 w 10078"/>
              <a:gd name="T7" fmla="*/ 0 h 328"/>
              <a:gd name="T8" fmla="*/ 5907087 w 10078"/>
              <a:gd name="T9" fmla="*/ 214312 h 3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78" h="328">
                <a:moveTo>
                  <a:pt x="10078" y="328"/>
                </a:moveTo>
                <a:lnTo>
                  <a:pt x="0" y="328"/>
                </a:lnTo>
                <a:lnTo>
                  <a:pt x="1876" y="0"/>
                </a:lnTo>
                <a:lnTo>
                  <a:pt x="8200" y="0"/>
                </a:lnTo>
                <a:lnTo>
                  <a:pt x="10078" y="328"/>
                </a:lnTo>
                <a:close/>
              </a:path>
            </a:pathLst>
          </a:custGeom>
          <a:solidFill>
            <a:srgbClr val="32879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/>
          <a:lstStyle/>
          <a:p>
            <a:pPr algn="ctr" defTabSz="913130" eaLnBrk="1" hangingPunct="1">
              <a:lnSpc>
                <a:spcPct val="90000"/>
              </a:lnSpc>
              <a:defRPr/>
            </a:pPr>
            <a:endParaRPr lang="zh-CN" altLang="en-US" sz="2000">
              <a:gradFill>
                <a:gsLst>
                  <a:gs pos="1250">
                    <a:srgbClr val="EFEFEF"/>
                  </a:gs>
                  <a:gs pos="10417">
                    <a:srgbClr val="EFEFEF"/>
                  </a:gs>
                </a:gsLst>
                <a:lin ang="5400000" scaled="0"/>
              </a:gradFill>
            </a:endParaRPr>
          </a:p>
        </p:txBody>
      </p:sp>
      <p:sp>
        <p:nvSpPr>
          <p:cNvPr id="33" name="Text Box 1249"/>
          <p:cNvSpPr txBox="1">
            <a:spLocks noChangeArrowheads="1"/>
          </p:cNvSpPr>
          <p:nvPr/>
        </p:nvSpPr>
        <p:spPr bwMode="auto">
          <a:xfrm>
            <a:off x="3011488" y="3959225"/>
            <a:ext cx="339725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10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4" name="Text Box 1250"/>
          <p:cNvSpPr txBox="1">
            <a:spLocks noChangeArrowheads="1"/>
          </p:cNvSpPr>
          <p:nvPr/>
        </p:nvSpPr>
        <p:spPr bwMode="auto">
          <a:xfrm>
            <a:off x="3937000" y="3959225"/>
            <a:ext cx="330200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11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5" name="Text Box 1251"/>
          <p:cNvSpPr txBox="1">
            <a:spLocks noChangeArrowheads="1"/>
          </p:cNvSpPr>
          <p:nvPr/>
        </p:nvSpPr>
        <p:spPr bwMode="auto">
          <a:xfrm>
            <a:off x="4816475" y="3959225"/>
            <a:ext cx="339725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12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6" name="Text Box 1252"/>
          <p:cNvSpPr txBox="1">
            <a:spLocks noChangeArrowheads="1"/>
          </p:cNvSpPr>
          <p:nvPr/>
        </p:nvSpPr>
        <p:spPr bwMode="auto">
          <a:xfrm>
            <a:off x="5757863" y="3959225"/>
            <a:ext cx="339725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13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7" name="Text Box 1270"/>
          <p:cNvSpPr txBox="1">
            <a:spLocks noChangeArrowheads="1"/>
          </p:cNvSpPr>
          <p:nvPr/>
        </p:nvSpPr>
        <p:spPr bwMode="auto">
          <a:xfrm>
            <a:off x="3146425" y="3217863"/>
            <a:ext cx="379413" cy="18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8" name="Text Box 1271"/>
          <p:cNvSpPr txBox="1">
            <a:spLocks noChangeArrowheads="1"/>
          </p:cNvSpPr>
          <p:nvPr/>
        </p:nvSpPr>
        <p:spPr bwMode="auto">
          <a:xfrm>
            <a:off x="4059238" y="3217863"/>
            <a:ext cx="381000" cy="18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9" name="Text Box 1272"/>
          <p:cNvSpPr txBox="1">
            <a:spLocks noChangeArrowheads="1"/>
          </p:cNvSpPr>
          <p:nvPr/>
        </p:nvSpPr>
        <p:spPr bwMode="auto">
          <a:xfrm>
            <a:off x="4992688" y="3217863"/>
            <a:ext cx="379412" cy="18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40" name="Text Box 1273"/>
          <p:cNvSpPr txBox="1">
            <a:spLocks noChangeArrowheads="1"/>
          </p:cNvSpPr>
          <p:nvPr/>
        </p:nvSpPr>
        <p:spPr bwMode="auto">
          <a:xfrm>
            <a:off x="5849938" y="3217863"/>
            <a:ext cx="379412" cy="18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41" name="Freeform 1275"/>
          <p:cNvSpPr/>
          <p:nvPr/>
        </p:nvSpPr>
        <p:spPr bwMode="auto">
          <a:xfrm>
            <a:off x="3198813" y="1077913"/>
            <a:ext cx="3038475" cy="1243012"/>
          </a:xfrm>
          <a:custGeom>
            <a:avLst/>
            <a:gdLst>
              <a:gd name="T0" fmla="*/ 0 w 2802"/>
              <a:gd name="T1" fmla="*/ 2147483646 h 1146"/>
              <a:gd name="T2" fmla="*/ 2147483646 w 2802"/>
              <a:gd name="T3" fmla="*/ 2147483646 h 1146"/>
              <a:gd name="T4" fmla="*/ 2147483646 w 2802"/>
              <a:gd name="T5" fmla="*/ 2147483646 h 1146"/>
              <a:gd name="T6" fmla="*/ 2147483646 w 2802"/>
              <a:gd name="T7" fmla="*/ 0 h 114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02" h="1146">
                <a:moveTo>
                  <a:pt x="0" y="636"/>
                </a:moveTo>
                <a:lnTo>
                  <a:pt x="852" y="570"/>
                </a:lnTo>
                <a:lnTo>
                  <a:pt x="1746" y="1146"/>
                </a:lnTo>
                <a:lnTo>
                  <a:pt x="2802" y="0"/>
                </a:lnTo>
              </a:path>
            </a:pathLst>
          </a:custGeom>
          <a:noFill/>
          <a:ln w="76200" cap="flat" cmpd="sng">
            <a:solidFill>
              <a:srgbClr val="8CC63F"/>
            </a:solidFill>
            <a:prstDash val="solid"/>
            <a:round/>
            <a:headEnd type="none" w="med" len="med"/>
            <a:tailEnd type="stealth" w="lg" len="lg"/>
          </a:ln>
          <a:effectLst>
            <a:outerShdw dist="38100" dir="27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2" name="Text Box 1276"/>
          <p:cNvSpPr txBox="1">
            <a:spLocks noChangeArrowheads="1"/>
          </p:cNvSpPr>
          <p:nvPr/>
        </p:nvSpPr>
        <p:spPr bwMode="auto">
          <a:xfrm>
            <a:off x="2900363" y="2205038"/>
            <a:ext cx="379412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54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43" name="Text Box 1277"/>
          <p:cNvSpPr txBox="1">
            <a:spLocks noChangeArrowheads="1"/>
          </p:cNvSpPr>
          <p:nvPr/>
        </p:nvSpPr>
        <p:spPr bwMode="auto">
          <a:xfrm>
            <a:off x="3808413" y="2320925"/>
            <a:ext cx="379412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51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44" name="Text Box 1278"/>
          <p:cNvSpPr txBox="1">
            <a:spLocks noChangeArrowheads="1"/>
          </p:cNvSpPr>
          <p:nvPr/>
        </p:nvSpPr>
        <p:spPr bwMode="auto">
          <a:xfrm>
            <a:off x="4757738" y="2484438"/>
            <a:ext cx="379412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50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45" name="Text Box 1279"/>
          <p:cNvSpPr txBox="1">
            <a:spLocks noChangeArrowheads="1"/>
          </p:cNvSpPr>
          <p:nvPr/>
        </p:nvSpPr>
        <p:spPr bwMode="auto">
          <a:xfrm>
            <a:off x="5605463" y="2438400"/>
            <a:ext cx="379412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4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46" name="타원 65"/>
          <p:cNvSpPr>
            <a:spLocks noChangeAspect="1"/>
          </p:cNvSpPr>
          <p:nvPr/>
        </p:nvSpPr>
        <p:spPr bwMode="auto">
          <a:xfrm>
            <a:off x="3146425" y="1692275"/>
            <a:ext cx="147638" cy="147638"/>
          </a:xfrm>
          <a:prstGeom prst="ellipse">
            <a:avLst/>
          </a:prstGeom>
          <a:solidFill>
            <a:srgbClr val="32879E"/>
          </a:solidFill>
          <a:ln>
            <a:solidFill>
              <a:schemeClr val="bg1"/>
            </a:solidFill>
          </a:ln>
          <a:effectLst>
            <a:outerShdw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타원 65"/>
          <p:cNvSpPr>
            <a:spLocks noChangeAspect="1"/>
          </p:cNvSpPr>
          <p:nvPr/>
        </p:nvSpPr>
        <p:spPr bwMode="auto">
          <a:xfrm>
            <a:off x="4049713" y="1624013"/>
            <a:ext cx="147637" cy="147637"/>
          </a:xfrm>
          <a:prstGeom prst="ellipse">
            <a:avLst/>
          </a:prstGeom>
          <a:solidFill>
            <a:srgbClr val="32879E"/>
          </a:solidFill>
          <a:ln>
            <a:solidFill>
              <a:schemeClr val="bg1"/>
            </a:solidFill>
          </a:ln>
          <a:effectLst>
            <a:outerShdw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타원 65"/>
          <p:cNvSpPr>
            <a:spLocks noChangeAspect="1"/>
          </p:cNvSpPr>
          <p:nvPr/>
        </p:nvSpPr>
        <p:spPr bwMode="auto">
          <a:xfrm>
            <a:off x="5000625" y="2206625"/>
            <a:ext cx="147638" cy="147638"/>
          </a:xfrm>
          <a:prstGeom prst="ellipse">
            <a:avLst/>
          </a:prstGeom>
          <a:solidFill>
            <a:srgbClr val="32879E"/>
          </a:solidFill>
          <a:ln>
            <a:solidFill>
              <a:schemeClr val="bg1"/>
            </a:solidFill>
          </a:ln>
          <a:effectLst>
            <a:outerShdw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타원 65"/>
          <p:cNvSpPr>
            <a:spLocks noChangeAspect="1"/>
          </p:cNvSpPr>
          <p:nvPr/>
        </p:nvSpPr>
        <p:spPr bwMode="auto">
          <a:xfrm>
            <a:off x="5867400" y="1335088"/>
            <a:ext cx="147638" cy="147637"/>
          </a:xfrm>
          <a:prstGeom prst="ellipse">
            <a:avLst/>
          </a:prstGeom>
          <a:solidFill>
            <a:srgbClr val="32879E"/>
          </a:solidFill>
          <a:ln>
            <a:solidFill>
              <a:schemeClr val="bg1"/>
            </a:solidFill>
          </a:ln>
          <a:effectLst>
            <a:outerShdw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Text Box 1285"/>
          <p:cNvSpPr txBox="1">
            <a:spLocks noChangeArrowheads="1"/>
          </p:cNvSpPr>
          <p:nvPr/>
        </p:nvSpPr>
        <p:spPr bwMode="auto">
          <a:xfrm>
            <a:off x="3276600" y="1538288"/>
            <a:ext cx="379413" cy="15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31.9%</a:t>
            </a:r>
            <a:endParaRPr lang="en-US" altLang="ko-KR" sz="10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51" name="Text Box 1286"/>
          <p:cNvSpPr txBox="1">
            <a:spLocks noChangeArrowheads="1"/>
          </p:cNvSpPr>
          <p:nvPr/>
        </p:nvSpPr>
        <p:spPr bwMode="auto">
          <a:xfrm>
            <a:off x="4224338" y="1538288"/>
            <a:ext cx="379412" cy="15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32.5%</a:t>
            </a:r>
            <a:endParaRPr lang="en-US" altLang="ko-KR" sz="10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52" name="Text Box 1287"/>
          <p:cNvSpPr txBox="1">
            <a:spLocks noChangeArrowheads="1"/>
          </p:cNvSpPr>
          <p:nvPr/>
        </p:nvSpPr>
        <p:spPr bwMode="auto">
          <a:xfrm>
            <a:off x="5219700" y="2190750"/>
            <a:ext cx="379413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1.0%</a:t>
            </a:r>
            <a:endParaRPr lang="en-US" altLang="ko-KR" sz="10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53" name="Text Box 1288"/>
          <p:cNvSpPr txBox="1">
            <a:spLocks noChangeArrowheads="1"/>
          </p:cNvSpPr>
          <p:nvPr/>
        </p:nvSpPr>
        <p:spPr bwMode="auto">
          <a:xfrm>
            <a:off x="5480050" y="1243013"/>
            <a:ext cx="379413" cy="15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36.0%</a:t>
            </a:r>
            <a:endParaRPr lang="en-US" altLang="ko-KR" sz="10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grpSp>
        <p:nvGrpSpPr>
          <p:cNvPr id="54" name="组合 53"/>
          <p:cNvGrpSpPr/>
          <p:nvPr/>
        </p:nvGrpSpPr>
        <p:grpSpPr bwMode="auto">
          <a:xfrm>
            <a:off x="2263775" y="4227513"/>
            <a:ext cx="4687888" cy="307975"/>
            <a:chOff x="598588" y="3253689"/>
            <a:chExt cx="4688974" cy="307536"/>
          </a:xfrm>
        </p:grpSpPr>
        <p:sp>
          <p:nvSpPr>
            <p:cNvPr id="55" name="矩形 121"/>
            <p:cNvSpPr>
              <a:spLocks noChangeArrowheads="1"/>
            </p:cNvSpPr>
            <p:nvPr/>
          </p:nvSpPr>
          <p:spPr bwMode="auto">
            <a:xfrm>
              <a:off x="598588" y="3275882"/>
              <a:ext cx="4688974" cy="252052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810" name="TextBox 10"/>
            <p:cNvSpPr txBox="1">
              <a:spLocks noChangeArrowheads="1"/>
            </p:cNvSpPr>
            <p:nvPr/>
          </p:nvSpPr>
          <p:spPr bwMode="auto">
            <a:xfrm>
              <a:off x="2149647" y="3253689"/>
              <a:ext cx="1261873" cy="307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5" name="Text Box 1277"/>
          <p:cNvSpPr txBox="1">
            <a:spLocks noChangeArrowheads="1"/>
          </p:cNvSpPr>
          <p:nvPr/>
        </p:nvSpPr>
        <p:spPr bwMode="auto">
          <a:xfrm>
            <a:off x="2055813" y="1471613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6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66" name="Text Box 1277"/>
          <p:cNvSpPr txBox="1">
            <a:spLocks noChangeArrowheads="1"/>
          </p:cNvSpPr>
          <p:nvPr/>
        </p:nvSpPr>
        <p:spPr bwMode="auto">
          <a:xfrm>
            <a:off x="2055813" y="1839913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5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67" name="Text Box 1277"/>
          <p:cNvSpPr txBox="1">
            <a:spLocks noChangeArrowheads="1"/>
          </p:cNvSpPr>
          <p:nvPr/>
        </p:nvSpPr>
        <p:spPr bwMode="auto">
          <a:xfrm>
            <a:off x="2055813" y="2208213"/>
            <a:ext cx="379412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4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68" name="Text Box 1277"/>
          <p:cNvSpPr txBox="1">
            <a:spLocks noChangeArrowheads="1"/>
          </p:cNvSpPr>
          <p:nvPr/>
        </p:nvSpPr>
        <p:spPr bwMode="auto">
          <a:xfrm>
            <a:off x="2055813" y="2574925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3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69" name="Text Box 1277"/>
          <p:cNvSpPr txBox="1">
            <a:spLocks noChangeArrowheads="1"/>
          </p:cNvSpPr>
          <p:nvPr/>
        </p:nvSpPr>
        <p:spPr bwMode="auto">
          <a:xfrm>
            <a:off x="2055813" y="2943225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70" name="Text Box 1277"/>
          <p:cNvSpPr txBox="1">
            <a:spLocks noChangeArrowheads="1"/>
          </p:cNvSpPr>
          <p:nvPr/>
        </p:nvSpPr>
        <p:spPr bwMode="auto">
          <a:xfrm>
            <a:off x="2055813" y="3311525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71" name="Text Box 1277"/>
          <p:cNvSpPr txBox="1">
            <a:spLocks noChangeArrowheads="1"/>
          </p:cNvSpPr>
          <p:nvPr/>
        </p:nvSpPr>
        <p:spPr bwMode="auto">
          <a:xfrm>
            <a:off x="2055813" y="3679825"/>
            <a:ext cx="379412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grpSp>
        <p:nvGrpSpPr>
          <p:cNvPr id="72" name="组合 71"/>
          <p:cNvGrpSpPr/>
          <p:nvPr/>
        </p:nvGrpSpPr>
        <p:grpSpPr bwMode="auto">
          <a:xfrm>
            <a:off x="3100388" y="1256829"/>
            <a:ext cx="190500" cy="158750"/>
            <a:chOff x="2962275" y="2128838"/>
            <a:chExt cx="252413" cy="1562100"/>
          </a:xfrm>
          <a:effectLst>
            <a:outerShdw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3" name="任意多边形 72"/>
            <p:cNvSpPr/>
            <p:nvPr/>
          </p:nvSpPr>
          <p:spPr>
            <a:xfrm>
              <a:off x="2966482" y="2175696"/>
              <a:ext cx="124102" cy="1515242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4" name="任意多边形 73"/>
            <p:cNvSpPr/>
            <p:nvPr/>
          </p:nvSpPr>
          <p:spPr>
            <a:xfrm>
              <a:off x="3082171" y="2191322"/>
              <a:ext cx="128311" cy="1499616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任意多边形 74"/>
            <p:cNvSpPr/>
            <p:nvPr/>
          </p:nvSpPr>
          <p:spPr>
            <a:xfrm>
              <a:off x="2962275" y="2128838"/>
              <a:ext cx="252413" cy="10934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合 75"/>
          <p:cNvGrpSpPr/>
          <p:nvPr/>
        </p:nvGrpSpPr>
        <p:grpSpPr bwMode="auto">
          <a:xfrm>
            <a:off x="4081463" y="1275879"/>
            <a:ext cx="190500" cy="161925"/>
            <a:chOff x="3209498" y="3130302"/>
            <a:chExt cx="252413" cy="560636"/>
          </a:xfrm>
          <a:effectLst>
            <a:outerShdw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7" name="任意多边形 148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78" name="任意多边形 149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>
              <a:off x="3209498" y="3130302"/>
              <a:ext cx="252413" cy="87943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0" name="矩形 1"/>
          <p:cNvSpPr>
            <a:spLocks noChangeArrowheads="1"/>
          </p:cNvSpPr>
          <p:nvPr/>
        </p:nvSpPr>
        <p:spPr bwMode="auto">
          <a:xfrm>
            <a:off x="2965450" y="1236663"/>
            <a:ext cx="13160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矩形 1"/>
          <p:cNvSpPr>
            <a:spLocks noChangeArrowheads="1"/>
          </p:cNvSpPr>
          <p:nvPr/>
        </p:nvSpPr>
        <p:spPr bwMode="auto">
          <a:xfrm>
            <a:off x="3959225" y="1236663"/>
            <a:ext cx="13160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2" name="直接连接符 81"/>
          <p:cNvCxnSpPr/>
          <p:nvPr/>
        </p:nvCxnSpPr>
        <p:spPr>
          <a:xfrm>
            <a:off x="2425700" y="2335213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连接符 82"/>
          <p:cNvCxnSpPr/>
          <p:nvPr/>
        </p:nvCxnSpPr>
        <p:spPr>
          <a:xfrm>
            <a:off x="2759075" y="1101725"/>
            <a:ext cx="0" cy="2770188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接连接符 83"/>
          <p:cNvCxnSpPr/>
          <p:nvPr/>
        </p:nvCxnSpPr>
        <p:spPr>
          <a:xfrm>
            <a:off x="2425700" y="2689225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连接符 84"/>
          <p:cNvCxnSpPr/>
          <p:nvPr/>
        </p:nvCxnSpPr>
        <p:spPr>
          <a:xfrm>
            <a:off x="2425700" y="3051175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接连接符 85"/>
          <p:cNvCxnSpPr/>
          <p:nvPr/>
        </p:nvCxnSpPr>
        <p:spPr>
          <a:xfrm>
            <a:off x="2425700" y="3436938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连接符 86"/>
          <p:cNvCxnSpPr/>
          <p:nvPr/>
        </p:nvCxnSpPr>
        <p:spPr>
          <a:xfrm flipH="1">
            <a:off x="2767013" y="3873500"/>
            <a:ext cx="3630612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/>
          <p:cNvCxnSpPr/>
          <p:nvPr/>
        </p:nvCxnSpPr>
        <p:spPr>
          <a:xfrm>
            <a:off x="3605213" y="3783013"/>
            <a:ext cx="0" cy="90487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/>
          <p:cNvCxnSpPr/>
          <p:nvPr/>
        </p:nvCxnSpPr>
        <p:spPr>
          <a:xfrm>
            <a:off x="4522788" y="3783013"/>
            <a:ext cx="0" cy="90487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89"/>
          <p:cNvCxnSpPr/>
          <p:nvPr/>
        </p:nvCxnSpPr>
        <p:spPr>
          <a:xfrm>
            <a:off x="5435600" y="3783013"/>
            <a:ext cx="0" cy="90487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组合 90"/>
          <p:cNvGrpSpPr/>
          <p:nvPr/>
        </p:nvGrpSpPr>
        <p:grpSpPr bwMode="auto">
          <a:xfrm>
            <a:off x="2962275" y="2397125"/>
            <a:ext cx="252413" cy="1562100"/>
            <a:chOff x="2962275" y="2128838"/>
            <a:chExt cx="252413" cy="1562100"/>
          </a:xfrm>
        </p:grpSpPr>
        <p:sp>
          <p:nvSpPr>
            <p:cNvPr id="92" name="任意多边形 91"/>
            <p:cNvSpPr/>
            <p:nvPr/>
          </p:nvSpPr>
          <p:spPr>
            <a:xfrm>
              <a:off x="2967038" y="2176463"/>
              <a:ext cx="123825" cy="1514475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任意多边形 92"/>
            <p:cNvSpPr/>
            <p:nvPr/>
          </p:nvSpPr>
          <p:spPr>
            <a:xfrm>
              <a:off x="3082925" y="2184401"/>
              <a:ext cx="127000" cy="1504950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4" name="任意多边形 93"/>
            <p:cNvSpPr/>
            <p:nvPr/>
          </p:nvSpPr>
          <p:spPr>
            <a:xfrm>
              <a:off x="2962275" y="2128838"/>
              <a:ext cx="252413" cy="104775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95" name="组合 94"/>
          <p:cNvGrpSpPr/>
          <p:nvPr/>
        </p:nvGrpSpPr>
        <p:grpSpPr bwMode="auto">
          <a:xfrm>
            <a:off x="3209925" y="3398838"/>
            <a:ext cx="252413" cy="560387"/>
            <a:chOff x="3209498" y="3130302"/>
            <a:chExt cx="252413" cy="560636"/>
          </a:xfrm>
        </p:grpSpPr>
        <p:sp>
          <p:nvSpPr>
            <p:cNvPr id="30803" name="任意多边形 102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804" name="任意多边形 103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8" name="任意多边形 97"/>
            <p:cNvSpPr/>
            <p:nvPr/>
          </p:nvSpPr>
          <p:spPr>
            <a:xfrm>
              <a:off x="3209498" y="3131890"/>
              <a:ext cx="252413" cy="8735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组合 98"/>
          <p:cNvGrpSpPr/>
          <p:nvPr/>
        </p:nvGrpSpPr>
        <p:grpSpPr bwMode="auto">
          <a:xfrm>
            <a:off x="3870325" y="2498725"/>
            <a:ext cx="252413" cy="1460500"/>
            <a:chOff x="2962275" y="2128838"/>
            <a:chExt cx="252413" cy="1562100"/>
          </a:xfrm>
        </p:grpSpPr>
        <p:sp>
          <p:nvSpPr>
            <p:cNvPr id="100" name="任意多边形 99"/>
            <p:cNvSpPr/>
            <p:nvPr/>
          </p:nvSpPr>
          <p:spPr>
            <a:xfrm>
              <a:off x="2967038" y="2176380"/>
              <a:ext cx="123825" cy="1514558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任意多边形 100"/>
            <p:cNvSpPr/>
            <p:nvPr/>
          </p:nvSpPr>
          <p:spPr>
            <a:xfrm>
              <a:off x="3082925" y="2184870"/>
              <a:ext cx="127000" cy="1504370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2" name="任意多边形 101"/>
            <p:cNvSpPr/>
            <p:nvPr/>
          </p:nvSpPr>
          <p:spPr>
            <a:xfrm>
              <a:off x="2962275" y="2128838"/>
              <a:ext cx="252413" cy="10527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03" name="组合 102"/>
          <p:cNvGrpSpPr/>
          <p:nvPr/>
        </p:nvGrpSpPr>
        <p:grpSpPr bwMode="auto">
          <a:xfrm>
            <a:off x="4129088" y="3398838"/>
            <a:ext cx="252412" cy="560387"/>
            <a:chOff x="3209498" y="3130302"/>
            <a:chExt cx="252413" cy="560636"/>
          </a:xfrm>
        </p:grpSpPr>
        <p:sp>
          <p:nvSpPr>
            <p:cNvPr id="30797" name="任意多边形 109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98" name="任意多边形 110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6" name="任意多边形 105"/>
            <p:cNvSpPr/>
            <p:nvPr/>
          </p:nvSpPr>
          <p:spPr>
            <a:xfrm>
              <a:off x="3209498" y="3131890"/>
              <a:ext cx="252413" cy="8735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07" name="组合 106"/>
          <p:cNvGrpSpPr/>
          <p:nvPr/>
        </p:nvGrpSpPr>
        <p:grpSpPr bwMode="auto">
          <a:xfrm>
            <a:off x="4811713" y="2719388"/>
            <a:ext cx="252412" cy="1239837"/>
            <a:chOff x="2962275" y="2128838"/>
            <a:chExt cx="252413" cy="1562100"/>
          </a:xfrm>
        </p:grpSpPr>
        <p:sp>
          <p:nvSpPr>
            <p:cNvPr id="108" name="任意多边形 107"/>
            <p:cNvSpPr/>
            <p:nvPr/>
          </p:nvSpPr>
          <p:spPr>
            <a:xfrm>
              <a:off x="2967037" y="2176841"/>
              <a:ext cx="123825" cy="1514097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任意多边形 108"/>
            <p:cNvSpPr/>
            <p:nvPr/>
          </p:nvSpPr>
          <p:spPr>
            <a:xfrm>
              <a:off x="3082925" y="2184842"/>
              <a:ext cx="127001" cy="1504097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0" name="任意多边形 109"/>
            <p:cNvSpPr/>
            <p:nvPr/>
          </p:nvSpPr>
          <p:spPr>
            <a:xfrm>
              <a:off x="2962275" y="2128838"/>
              <a:ext cx="252413" cy="106006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11" name="组合 110"/>
          <p:cNvGrpSpPr/>
          <p:nvPr/>
        </p:nvGrpSpPr>
        <p:grpSpPr bwMode="auto">
          <a:xfrm>
            <a:off x="5064125" y="3398838"/>
            <a:ext cx="252413" cy="560387"/>
            <a:chOff x="3209498" y="3130302"/>
            <a:chExt cx="252413" cy="560636"/>
          </a:xfrm>
        </p:grpSpPr>
        <p:sp>
          <p:nvSpPr>
            <p:cNvPr id="30791" name="任意多边形 113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92" name="任意多边形 114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4" name="任意多边形 113"/>
            <p:cNvSpPr/>
            <p:nvPr/>
          </p:nvSpPr>
          <p:spPr>
            <a:xfrm>
              <a:off x="3209498" y="3131890"/>
              <a:ext cx="252413" cy="8735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15" name="组合 114"/>
          <p:cNvGrpSpPr/>
          <p:nvPr/>
        </p:nvGrpSpPr>
        <p:grpSpPr bwMode="auto">
          <a:xfrm>
            <a:off x="5686425" y="2641600"/>
            <a:ext cx="252413" cy="1317625"/>
            <a:chOff x="2962275" y="2128838"/>
            <a:chExt cx="252413" cy="1562100"/>
          </a:xfrm>
        </p:grpSpPr>
        <p:sp>
          <p:nvSpPr>
            <p:cNvPr id="116" name="任意多边形 115"/>
            <p:cNvSpPr/>
            <p:nvPr/>
          </p:nvSpPr>
          <p:spPr>
            <a:xfrm>
              <a:off x="2967038" y="2175890"/>
              <a:ext cx="123825" cy="1515048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任意多边形 116"/>
            <p:cNvSpPr/>
            <p:nvPr/>
          </p:nvSpPr>
          <p:spPr>
            <a:xfrm>
              <a:off x="3082925" y="2185299"/>
              <a:ext cx="127000" cy="1503757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8" name="任意多边形 117"/>
            <p:cNvSpPr/>
            <p:nvPr/>
          </p:nvSpPr>
          <p:spPr>
            <a:xfrm>
              <a:off x="2962275" y="2128838"/>
              <a:ext cx="252413" cy="105395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19" name="组合 118"/>
          <p:cNvGrpSpPr/>
          <p:nvPr/>
        </p:nvGrpSpPr>
        <p:grpSpPr bwMode="auto">
          <a:xfrm>
            <a:off x="5935663" y="3398838"/>
            <a:ext cx="252412" cy="560387"/>
            <a:chOff x="3209498" y="3130302"/>
            <a:chExt cx="252413" cy="560636"/>
          </a:xfrm>
        </p:grpSpPr>
        <p:sp>
          <p:nvSpPr>
            <p:cNvPr id="30785" name="任意多边形 117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86" name="任意多边形 118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2" name="任意多边形 121"/>
            <p:cNvSpPr/>
            <p:nvPr/>
          </p:nvSpPr>
          <p:spPr>
            <a:xfrm>
              <a:off x="3209498" y="3131890"/>
              <a:ext cx="252413" cy="8735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cxnSp>
        <p:nvCxnSpPr>
          <p:cNvPr id="123" name="直接连接符 122"/>
          <p:cNvCxnSpPr/>
          <p:nvPr/>
        </p:nvCxnSpPr>
        <p:spPr>
          <a:xfrm>
            <a:off x="6399213" y="1109663"/>
            <a:ext cx="0" cy="276860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接连接符 123"/>
          <p:cNvCxnSpPr/>
          <p:nvPr/>
        </p:nvCxnSpPr>
        <p:spPr>
          <a:xfrm>
            <a:off x="6399213" y="2249488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接连接符 124"/>
          <p:cNvCxnSpPr/>
          <p:nvPr/>
        </p:nvCxnSpPr>
        <p:spPr>
          <a:xfrm>
            <a:off x="6399213" y="2624138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接连接符 125"/>
          <p:cNvCxnSpPr/>
          <p:nvPr/>
        </p:nvCxnSpPr>
        <p:spPr>
          <a:xfrm>
            <a:off x="6399213" y="3017838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直接连接符 126"/>
          <p:cNvCxnSpPr/>
          <p:nvPr/>
        </p:nvCxnSpPr>
        <p:spPr>
          <a:xfrm>
            <a:off x="6399213" y="3444875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直接连接符 127"/>
          <p:cNvCxnSpPr/>
          <p:nvPr/>
        </p:nvCxnSpPr>
        <p:spPr>
          <a:xfrm>
            <a:off x="6399213" y="1854200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直接连接符 128"/>
          <p:cNvCxnSpPr/>
          <p:nvPr/>
        </p:nvCxnSpPr>
        <p:spPr>
          <a:xfrm>
            <a:off x="6399213" y="1477963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接连接符 129"/>
          <p:cNvCxnSpPr/>
          <p:nvPr/>
        </p:nvCxnSpPr>
        <p:spPr>
          <a:xfrm>
            <a:off x="6399213" y="1109663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直接连接符 130"/>
          <p:cNvCxnSpPr/>
          <p:nvPr/>
        </p:nvCxnSpPr>
        <p:spPr>
          <a:xfrm>
            <a:off x="2425700" y="1624013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直接连接符 131"/>
          <p:cNvCxnSpPr/>
          <p:nvPr/>
        </p:nvCxnSpPr>
        <p:spPr>
          <a:xfrm>
            <a:off x="2425700" y="1978025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4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4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4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4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4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4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4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4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4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4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4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4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4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4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4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4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4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4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3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4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9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53" presetClass="entr" presetSubtype="16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53" presetClass="entr" presetSubtype="16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53" presetClass="entr" presetSubtype="16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53" presetClass="entr" presetSubtype="16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1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1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5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9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9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12" presetClass="entr" presetSubtype="2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3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9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16" presetClass="entr" presetSubtype="37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53" presetClass="entr" presetSubtype="16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12" presetClass="entr" presetSubtype="8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5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53" presetClass="entr" presetSubtype="16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12" presetClass="entr" presetSubtype="8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4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1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16" presetClass="entr" presetSubtype="37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1" dur="4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4" dur="4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2" grpId="0"/>
      <p:bldP spid="43" grpId="0"/>
      <p:bldP spid="44" grpId="0"/>
      <p:bldP spid="45" grpId="0"/>
      <p:bldP spid="46" grpId="0" animBg="1"/>
      <p:bldP spid="47" grpId="0" animBg="1"/>
      <p:bldP spid="48" grpId="0" animBg="1"/>
      <p:bldP spid="49" grpId="0" animBg="1"/>
      <p:bldP spid="50" grpId="0"/>
      <p:bldP spid="51" grpId="0"/>
      <p:bldP spid="52" grpId="0"/>
      <p:bldP spid="53" grpId="0"/>
      <p:bldP spid="65" grpId="0"/>
      <p:bldP spid="66" grpId="0"/>
      <p:bldP spid="67" grpId="0"/>
      <p:bldP spid="68" grpId="0"/>
      <p:bldP spid="69" grpId="0"/>
      <p:bldP spid="70" grpId="0"/>
      <p:bldP spid="71" grpId="0"/>
      <p:bldP spid="80" grpId="0"/>
      <p:bldP spid="8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9"/>
          <p:cNvSpPr>
            <a:spLocks noEditPoints="1"/>
          </p:cNvSpPr>
          <p:nvPr/>
        </p:nvSpPr>
        <p:spPr bwMode="auto">
          <a:xfrm>
            <a:off x="688975" y="787400"/>
            <a:ext cx="7699375" cy="4160838"/>
          </a:xfrm>
          <a:custGeom>
            <a:avLst/>
            <a:gdLst>
              <a:gd name="T0" fmla="*/ 2147483646 w 2397"/>
              <a:gd name="T1" fmla="*/ 2147483646 h 1176"/>
              <a:gd name="T2" fmla="*/ 2147483646 w 2397"/>
              <a:gd name="T3" fmla="*/ 2147483646 h 1176"/>
              <a:gd name="T4" fmla="*/ 2147483646 w 2397"/>
              <a:gd name="T5" fmla="*/ 2147483646 h 1176"/>
              <a:gd name="T6" fmla="*/ 2147483646 w 2397"/>
              <a:gd name="T7" fmla="*/ 2147483646 h 1176"/>
              <a:gd name="T8" fmla="*/ 2147483646 w 2397"/>
              <a:gd name="T9" fmla="*/ 2147483646 h 1176"/>
              <a:gd name="T10" fmla="*/ 2147483646 w 2397"/>
              <a:gd name="T11" fmla="*/ 2147483646 h 1176"/>
              <a:gd name="T12" fmla="*/ 2147483646 w 2397"/>
              <a:gd name="T13" fmla="*/ 2147483646 h 1176"/>
              <a:gd name="T14" fmla="*/ 2147483646 w 2397"/>
              <a:gd name="T15" fmla="*/ 2147483646 h 1176"/>
              <a:gd name="T16" fmla="*/ 2147483646 w 2397"/>
              <a:gd name="T17" fmla="*/ 2147483646 h 1176"/>
              <a:gd name="T18" fmla="*/ 2147483646 w 2397"/>
              <a:gd name="T19" fmla="*/ 2147483646 h 1176"/>
              <a:gd name="T20" fmla="*/ 2147483646 w 2397"/>
              <a:gd name="T21" fmla="*/ 2147483646 h 1176"/>
              <a:gd name="T22" fmla="*/ 2147483646 w 2397"/>
              <a:gd name="T23" fmla="*/ 2147483646 h 1176"/>
              <a:gd name="T24" fmla="*/ 2147483646 w 2397"/>
              <a:gd name="T25" fmla="*/ 2147483646 h 1176"/>
              <a:gd name="T26" fmla="*/ 2147483646 w 2397"/>
              <a:gd name="T27" fmla="*/ 2147483646 h 1176"/>
              <a:gd name="T28" fmla="*/ 2147483646 w 2397"/>
              <a:gd name="T29" fmla="*/ 2147483646 h 1176"/>
              <a:gd name="T30" fmla="*/ 2147483646 w 2397"/>
              <a:gd name="T31" fmla="*/ 2147483646 h 1176"/>
              <a:gd name="T32" fmla="*/ 2147483646 w 2397"/>
              <a:gd name="T33" fmla="*/ 2147483646 h 1176"/>
              <a:gd name="T34" fmla="*/ 2147483646 w 2397"/>
              <a:gd name="T35" fmla="*/ 2147483646 h 1176"/>
              <a:gd name="T36" fmla="*/ 2147483646 w 2397"/>
              <a:gd name="T37" fmla="*/ 2147483646 h 1176"/>
              <a:gd name="T38" fmla="*/ 2147483646 w 2397"/>
              <a:gd name="T39" fmla="*/ 2147483646 h 1176"/>
              <a:gd name="T40" fmla="*/ 2147483646 w 2397"/>
              <a:gd name="T41" fmla="*/ 2147483646 h 1176"/>
              <a:gd name="T42" fmla="*/ 2147483646 w 2397"/>
              <a:gd name="T43" fmla="*/ 2147483646 h 1176"/>
              <a:gd name="T44" fmla="*/ 2147483646 w 2397"/>
              <a:gd name="T45" fmla="*/ 2147483646 h 1176"/>
              <a:gd name="T46" fmla="*/ 2147483646 w 2397"/>
              <a:gd name="T47" fmla="*/ 2147483646 h 1176"/>
              <a:gd name="T48" fmla="*/ 2147483646 w 2397"/>
              <a:gd name="T49" fmla="*/ 2147483646 h 1176"/>
              <a:gd name="T50" fmla="*/ 2147483646 w 2397"/>
              <a:gd name="T51" fmla="*/ 2147483646 h 1176"/>
              <a:gd name="T52" fmla="*/ 2147483646 w 2397"/>
              <a:gd name="T53" fmla="*/ 2147483646 h 1176"/>
              <a:gd name="T54" fmla="*/ 2147483646 w 2397"/>
              <a:gd name="T55" fmla="*/ 2147483646 h 1176"/>
              <a:gd name="T56" fmla="*/ 2147483646 w 2397"/>
              <a:gd name="T57" fmla="*/ 2147483646 h 1176"/>
              <a:gd name="T58" fmla="*/ 2147483646 w 2397"/>
              <a:gd name="T59" fmla="*/ 2147483646 h 1176"/>
              <a:gd name="T60" fmla="*/ 2147483646 w 2397"/>
              <a:gd name="T61" fmla="*/ 2147483646 h 1176"/>
              <a:gd name="T62" fmla="*/ 2147483646 w 2397"/>
              <a:gd name="T63" fmla="*/ 2147483646 h 1176"/>
              <a:gd name="T64" fmla="*/ 2147483646 w 2397"/>
              <a:gd name="T65" fmla="*/ 2147483646 h 1176"/>
              <a:gd name="T66" fmla="*/ 2147483646 w 2397"/>
              <a:gd name="T67" fmla="*/ 2147483646 h 1176"/>
              <a:gd name="T68" fmla="*/ 2147483646 w 2397"/>
              <a:gd name="T69" fmla="*/ 2147483646 h 1176"/>
              <a:gd name="T70" fmla="*/ 2147483646 w 2397"/>
              <a:gd name="T71" fmla="*/ 2147483646 h 1176"/>
              <a:gd name="T72" fmla="*/ 2147483646 w 2397"/>
              <a:gd name="T73" fmla="*/ 2147483646 h 1176"/>
              <a:gd name="T74" fmla="*/ 2147483646 w 2397"/>
              <a:gd name="T75" fmla="*/ 2147483646 h 1176"/>
              <a:gd name="T76" fmla="*/ 2147483646 w 2397"/>
              <a:gd name="T77" fmla="*/ 2147483646 h 1176"/>
              <a:gd name="T78" fmla="*/ 2147483646 w 2397"/>
              <a:gd name="T79" fmla="*/ 2147483646 h 1176"/>
              <a:gd name="T80" fmla="*/ 2147483646 w 2397"/>
              <a:gd name="T81" fmla="*/ 2147483646 h 1176"/>
              <a:gd name="T82" fmla="*/ 2147483646 w 2397"/>
              <a:gd name="T83" fmla="*/ 2147483646 h 1176"/>
              <a:gd name="T84" fmla="*/ 2147483646 w 2397"/>
              <a:gd name="T85" fmla="*/ 2147483646 h 1176"/>
              <a:gd name="T86" fmla="*/ 2147483646 w 2397"/>
              <a:gd name="T87" fmla="*/ 2147483646 h 1176"/>
              <a:gd name="T88" fmla="*/ 2147483646 w 2397"/>
              <a:gd name="T89" fmla="*/ 2147483646 h 1176"/>
              <a:gd name="T90" fmla="*/ 2147483646 w 2397"/>
              <a:gd name="T91" fmla="*/ 2147483646 h 1176"/>
              <a:gd name="T92" fmla="*/ 2147483646 w 2397"/>
              <a:gd name="T93" fmla="*/ 2147483646 h 1176"/>
              <a:gd name="T94" fmla="*/ 2147483646 w 2397"/>
              <a:gd name="T95" fmla="*/ 2147483646 h 1176"/>
              <a:gd name="T96" fmla="*/ 2147483646 w 2397"/>
              <a:gd name="T97" fmla="*/ 2147483646 h 1176"/>
              <a:gd name="T98" fmla="*/ 2147483646 w 2397"/>
              <a:gd name="T99" fmla="*/ 2147483646 h 1176"/>
              <a:gd name="T100" fmla="*/ 2147483646 w 2397"/>
              <a:gd name="T101" fmla="*/ 2147483646 h 1176"/>
              <a:gd name="T102" fmla="*/ 2147483646 w 2397"/>
              <a:gd name="T103" fmla="*/ 2147483646 h 1176"/>
              <a:gd name="T104" fmla="*/ 2147483646 w 2397"/>
              <a:gd name="T105" fmla="*/ 2147483646 h 1176"/>
              <a:gd name="T106" fmla="*/ 2147483646 w 2397"/>
              <a:gd name="T107" fmla="*/ 2147483646 h 1176"/>
              <a:gd name="T108" fmla="*/ 2147483646 w 2397"/>
              <a:gd name="T109" fmla="*/ 2147483646 h 1176"/>
              <a:gd name="T110" fmla="*/ 2147483646 w 2397"/>
              <a:gd name="T111" fmla="*/ 2147483646 h 1176"/>
              <a:gd name="T112" fmla="*/ 2147483646 w 2397"/>
              <a:gd name="T113" fmla="*/ 2147483646 h 1176"/>
              <a:gd name="T114" fmla="*/ 2147483646 w 2397"/>
              <a:gd name="T115" fmla="*/ 2147483646 h 1176"/>
              <a:gd name="T116" fmla="*/ 2147483646 w 2397"/>
              <a:gd name="T117" fmla="*/ 2147483646 h 1176"/>
              <a:gd name="T118" fmla="*/ 2147483646 w 2397"/>
              <a:gd name="T119" fmla="*/ 2147483646 h 1176"/>
              <a:gd name="T120" fmla="*/ 2147483646 w 2397"/>
              <a:gd name="T121" fmla="*/ 2147483646 h 1176"/>
              <a:gd name="T122" fmla="*/ 2147483646 w 2397"/>
              <a:gd name="T123" fmla="*/ 2147483646 h 1176"/>
              <a:gd name="T124" fmla="*/ 2147483646 w 2397"/>
              <a:gd name="T125" fmla="*/ 2147483646 h 117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397" h="1176">
                <a:moveTo>
                  <a:pt x="1974" y="143"/>
                </a:moveTo>
                <a:cubicBezTo>
                  <a:pt x="1974" y="146"/>
                  <a:pt x="1970" y="149"/>
                  <a:pt x="1966" y="149"/>
                </a:cubicBezTo>
                <a:cubicBezTo>
                  <a:pt x="1962" y="149"/>
                  <a:pt x="1959" y="146"/>
                  <a:pt x="1959" y="143"/>
                </a:cubicBezTo>
                <a:cubicBezTo>
                  <a:pt x="1959" y="139"/>
                  <a:pt x="1962" y="136"/>
                  <a:pt x="1966" y="136"/>
                </a:cubicBezTo>
                <a:cubicBezTo>
                  <a:pt x="1970" y="136"/>
                  <a:pt x="1974" y="139"/>
                  <a:pt x="1974" y="143"/>
                </a:cubicBezTo>
                <a:close/>
                <a:moveTo>
                  <a:pt x="1966" y="155"/>
                </a:moveTo>
                <a:cubicBezTo>
                  <a:pt x="1962" y="155"/>
                  <a:pt x="1959" y="158"/>
                  <a:pt x="1959" y="162"/>
                </a:cubicBezTo>
                <a:cubicBezTo>
                  <a:pt x="1959" y="166"/>
                  <a:pt x="1962" y="169"/>
                  <a:pt x="1966" y="169"/>
                </a:cubicBezTo>
                <a:cubicBezTo>
                  <a:pt x="1970" y="169"/>
                  <a:pt x="1974" y="166"/>
                  <a:pt x="1974" y="162"/>
                </a:cubicBezTo>
                <a:cubicBezTo>
                  <a:pt x="1974" y="158"/>
                  <a:pt x="1970" y="155"/>
                  <a:pt x="1966" y="155"/>
                </a:cubicBezTo>
                <a:close/>
                <a:moveTo>
                  <a:pt x="1966" y="175"/>
                </a:moveTo>
                <a:cubicBezTo>
                  <a:pt x="1962" y="175"/>
                  <a:pt x="1959" y="178"/>
                  <a:pt x="1959" y="182"/>
                </a:cubicBezTo>
                <a:cubicBezTo>
                  <a:pt x="1959" y="185"/>
                  <a:pt x="1962" y="188"/>
                  <a:pt x="1966" y="188"/>
                </a:cubicBezTo>
                <a:cubicBezTo>
                  <a:pt x="1970" y="188"/>
                  <a:pt x="1974" y="185"/>
                  <a:pt x="1974" y="182"/>
                </a:cubicBezTo>
                <a:cubicBezTo>
                  <a:pt x="1974" y="178"/>
                  <a:pt x="1970" y="175"/>
                  <a:pt x="1966" y="175"/>
                </a:cubicBezTo>
                <a:close/>
                <a:moveTo>
                  <a:pt x="1966" y="194"/>
                </a:moveTo>
                <a:cubicBezTo>
                  <a:pt x="1962" y="194"/>
                  <a:pt x="1959" y="197"/>
                  <a:pt x="1959" y="201"/>
                </a:cubicBezTo>
                <a:cubicBezTo>
                  <a:pt x="1959" y="205"/>
                  <a:pt x="1962" y="208"/>
                  <a:pt x="1966" y="208"/>
                </a:cubicBezTo>
                <a:cubicBezTo>
                  <a:pt x="1970" y="208"/>
                  <a:pt x="1974" y="205"/>
                  <a:pt x="1974" y="201"/>
                </a:cubicBezTo>
                <a:cubicBezTo>
                  <a:pt x="1974" y="197"/>
                  <a:pt x="1970" y="194"/>
                  <a:pt x="1966" y="194"/>
                </a:cubicBezTo>
                <a:close/>
                <a:moveTo>
                  <a:pt x="1966" y="214"/>
                </a:moveTo>
                <a:cubicBezTo>
                  <a:pt x="1962" y="214"/>
                  <a:pt x="1959" y="217"/>
                  <a:pt x="1959" y="220"/>
                </a:cubicBezTo>
                <a:cubicBezTo>
                  <a:pt x="1959" y="224"/>
                  <a:pt x="1962" y="227"/>
                  <a:pt x="1966" y="227"/>
                </a:cubicBezTo>
                <a:cubicBezTo>
                  <a:pt x="1970" y="227"/>
                  <a:pt x="1974" y="224"/>
                  <a:pt x="1974" y="220"/>
                </a:cubicBezTo>
                <a:cubicBezTo>
                  <a:pt x="1974" y="217"/>
                  <a:pt x="1970" y="214"/>
                  <a:pt x="1966" y="214"/>
                </a:cubicBezTo>
                <a:close/>
                <a:moveTo>
                  <a:pt x="1966" y="233"/>
                </a:moveTo>
                <a:cubicBezTo>
                  <a:pt x="1962" y="233"/>
                  <a:pt x="1959" y="236"/>
                  <a:pt x="1959" y="239"/>
                </a:cubicBezTo>
                <a:cubicBezTo>
                  <a:pt x="1959" y="243"/>
                  <a:pt x="1962" y="245"/>
                  <a:pt x="1966" y="245"/>
                </a:cubicBezTo>
                <a:cubicBezTo>
                  <a:pt x="1970" y="245"/>
                  <a:pt x="1974" y="243"/>
                  <a:pt x="1974" y="239"/>
                </a:cubicBezTo>
                <a:cubicBezTo>
                  <a:pt x="1974" y="236"/>
                  <a:pt x="1970" y="233"/>
                  <a:pt x="1966" y="233"/>
                </a:cubicBezTo>
                <a:close/>
                <a:moveTo>
                  <a:pt x="1966" y="252"/>
                </a:moveTo>
                <a:cubicBezTo>
                  <a:pt x="1962" y="252"/>
                  <a:pt x="1959" y="255"/>
                  <a:pt x="1959" y="258"/>
                </a:cubicBezTo>
                <a:cubicBezTo>
                  <a:pt x="1959" y="262"/>
                  <a:pt x="1962" y="265"/>
                  <a:pt x="1966" y="265"/>
                </a:cubicBezTo>
                <a:cubicBezTo>
                  <a:pt x="1970" y="265"/>
                  <a:pt x="1974" y="262"/>
                  <a:pt x="1974" y="258"/>
                </a:cubicBezTo>
                <a:cubicBezTo>
                  <a:pt x="1974" y="255"/>
                  <a:pt x="1970" y="252"/>
                  <a:pt x="1966" y="252"/>
                </a:cubicBezTo>
                <a:close/>
                <a:moveTo>
                  <a:pt x="1966" y="271"/>
                </a:moveTo>
                <a:cubicBezTo>
                  <a:pt x="1962" y="271"/>
                  <a:pt x="1959" y="274"/>
                  <a:pt x="1959" y="278"/>
                </a:cubicBezTo>
                <a:cubicBezTo>
                  <a:pt x="1959" y="282"/>
                  <a:pt x="1962" y="285"/>
                  <a:pt x="1966" y="285"/>
                </a:cubicBezTo>
                <a:cubicBezTo>
                  <a:pt x="1970" y="285"/>
                  <a:pt x="1974" y="282"/>
                  <a:pt x="1974" y="278"/>
                </a:cubicBezTo>
                <a:cubicBezTo>
                  <a:pt x="1974" y="274"/>
                  <a:pt x="1970" y="271"/>
                  <a:pt x="1966" y="271"/>
                </a:cubicBezTo>
                <a:close/>
                <a:moveTo>
                  <a:pt x="1988" y="155"/>
                </a:moveTo>
                <a:cubicBezTo>
                  <a:pt x="1984" y="155"/>
                  <a:pt x="1981" y="158"/>
                  <a:pt x="1981" y="162"/>
                </a:cubicBezTo>
                <a:cubicBezTo>
                  <a:pt x="1981" y="166"/>
                  <a:pt x="1984" y="169"/>
                  <a:pt x="1988" y="169"/>
                </a:cubicBezTo>
                <a:cubicBezTo>
                  <a:pt x="1993" y="169"/>
                  <a:pt x="1996" y="166"/>
                  <a:pt x="1996" y="162"/>
                </a:cubicBezTo>
                <a:cubicBezTo>
                  <a:pt x="1996" y="158"/>
                  <a:pt x="1993" y="155"/>
                  <a:pt x="1988" y="155"/>
                </a:cubicBezTo>
                <a:close/>
                <a:moveTo>
                  <a:pt x="2011" y="155"/>
                </a:moveTo>
                <a:cubicBezTo>
                  <a:pt x="2007" y="155"/>
                  <a:pt x="2004" y="158"/>
                  <a:pt x="2004" y="162"/>
                </a:cubicBezTo>
                <a:cubicBezTo>
                  <a:pt x="2004" y="166"/>
                  <a:pt x="2007" y="169"/>
                  <a:pt x="2011" y="169"/>
                </a:cubicBezTo>
                <a:cubicBezTo>
                  <a:pt x="2016" y="169"/>
                  <a:pt x="2019" y="166"/>
                  <a:pt x="2019" y="162"/>
                </a:cubicBezTo>
                <a:cubicBezTo>
                  <a:pt x="2019" y="158"/>
                  <a:pt x="2016" y="155"/>
                  <a:pt x="2011" y="155"/>
                </a:cubicBezTo>
                <a:close/>
                <a:moveTo>
                  <a:pt x="1988" y="175"/>
                </a:moveTo>
                <a:cubicBezTo>
                  <a:pt x="1984" y="175"/>
                  <a:pt x="1981" y="178"/>
                  <a:pt x="1981" y="182"/>
                </a:cubicBezTo>
                <a:cubicBezTo>
                  <a:pt x="1981" y="185"/>
                  <a:pt x="1984" y="188"/>
                  <a:pt x="1988" y="188"/>
                </a:cubicBezTo>
                <a:cubicBezTo>
                  <a:pt x="1993" y="188"/>
                  <a:pt x="1996" y="185"/>
                  <a:pt x="1996" y="182"/>
                </a:cubicBezTo>
                <a:cubicBezTo>
                  <a:pt x="1996" y="178"/>
                  <a:pt x="1993" y="175"/>
                  <a:pt x="1988" y="175"/>
                </a:cubicBezTo>
                <a:close/>
                <a:moveTo>
                  <a:pt x="2011" y="175"/>
                </a:moveTo>
                <a:cubicBezTo>
                  <a:pt x="2007" y="175"/>
                  <a:pt x="2004" y="178"/>
                  <a:pt x="2004" y="182"/>
                </a:cubicBezTo>
                <a:cubicBezTo>
                  <a:pt x="2004" y="185"/>
                  <a:pt x="2007" y="188"/>
                  <a:pt x="2011" y="188"/>
                </a:cubicBezTo>
                <a:cubicBezTo>
                  <a:pt x="2016" y="188"/>
                  <a:pt x="2019" y="185"/>
                  <a:pt x="2019" y="182"/>
                </a:cubicBezTo>
                <a:cubicBezTo>
                  <a:pt x="2019" y="178"/>
                  <a:pt x="2016" y="175"/>
                  <a:pt x="2011" y="175"/>
                </a:cubicBezTo>
                <a:close/>
                <a:moveTo>
                  <a:pt x="1988" y="194"/>
                </a:moveTo>
                <a:cubicBezTo>
                  <a:pt x="1984" y="194"/>
                  <a:pt x="1981" y="197"/>
                  <a:pt x="1981" y="201"/>
                </a:cubicBezTo>
                <a:cubicBezTo>
                  <a:pt x="1981" y="205"/>
                  <a:pt x="1984" y="208"/>
                  <a:pt x="1988" y="208"/>
                </a:cubicBezTo>
                <a:cubicBezTo>
                  <a:pt x="1993" y="208"/>
                  <a:pt x="1996" y="205"/>
                  <a:pt x="1996" y="201"/>
                </a:cubicBezTo>
                <a:cubicBezTo>
                  <a:pt x="1996" y="197"/>
                  <a:pt x="1993" y="194"/>
                  <a:pt x="1988" y="194"/>
                </a:cubicBezTo>
                <a:close/>
                <a:moveTo>
                  <a:pt x="2011" y="194"/>
                </a:moveTo>
                <a:cubicBezTo>
                  <a:pt x="2007" y="194"/>
                  <a:pt x="2004" y="197"/>
                  <a:pt x="2004" y="201"/>
                </a:cubicBezTo>
                <a:cubicBezTo>
                  <a:pt x="2004" y="205"/>
                  <a:pt x="2007" y="208"/>
                  <a:pt x="2011" y="208"/>
                </a:cubicBezTo>
                <a:cubicBezTo>
                  <a:pt x="2016" y="208"/>
                  <a:pt x="2019" y="205"/>
                  <a:pt x="2019" y="201"/>
                </a:cubicBezTo>
                <a:cubicBezTo>
                  <a:pt x="2019" y="197"/>
                  <a:pt x="2016" y="194"/>
                  <a:pt x="2011" y="194"/>
                </a:cubicBezTo>
                <a:close/>
                <a:moveTo>
                  <a:pt x="1988" y="214"/>
                </a:moveTo>
                <a:cubicBezTo>
                  <a:pt x="1984" y="214"/>
                  <a:pt x="1981" y="217"/>
                  <a:pt x="1981" y="220"/>
                </a:cubicBezTo>
                <a:cubicBezTo>
                  <a:pt x="1981" y="224"/>
                  <a:pt x="1984" y="227"/>
                  <a:pt x="1988" y="227"/>
                </a:cubicBezTo>
                <a:cubicBezTo>
                  <a:pt x="1993" y="227"/>
                  <a:pt x="1996" y="224"/>
                  <a:pt x="1996" y="220"/>
                </a:cubicBezTo>
                <a:cubicBezTo>
                  <a:pt x="1996" y="217"/>
                  <a:pt x="1993" y="214"/>
                  <a:pt x="1988" y="214"/>
                </a:cubicBezTo>
                <a:close/>
                <a:moveTo>
                  <a:pt x="2011" y="214"/>
                </a:moveTo>
                <a:cubicBezTo>
                  <a:pt x="2007" y="214"/>
                  <a:pt x="2004" y="217"/>
                  <a:pt x="2004" y="220"/>
                </a:cubicBezTo>
                <a:cubicBezTo>
                  <a:pt x="2004" y="224"/>
                  <a:pt x="2007" y="227"/>
                  <a:pt x="2011" y="227"/>
                </a:cubicBezTo>
                <a:cubicBezTo>
                  <a:pt x="2016" y="227"/>
                  <a:pt x="2019" y="224"/>
                  <a:pt x="2019" y="220"/>
                </a:cubicBezTo>
                <a:cubicBezTo>
                  <a:pt x="2019" y="217"/>
                  <a:pt x="2016" y="214"/>
                  <a:pt x="2011" y="214"/>
                </a:cubicBezTo>
                <a:close/>
                <a:moveTo>
                  <a:pt x="1988" y="233"/>
                </a:moveTo>
                <a:cubicBezTo>
                  <a:pt x="1984" y="233"/>
                  <a:pt x="1981" y="236"/>
                  <a:pt x="1981" y="239"/>
                </a:cubicBezTo>
                <a:cubicBezTo>
                  <a:pt x="1981" y="243"/>
                  <a:pt x="1984" y="245"/>
                  <a:pt x="1988" y="245"/>
                </a:cubicBezTo>
                <a:cubicBezTo>
                  <a:pt x="1993" y="245"/>
                  <a:pt x="1996" y="243"/>
                  <a:pt x="1996" y="239"/>
                </a:cubicBezTo>
                <a:cubicBezTo>
                  <a:pt x="1996" y="236"/>
                  <a:pt x="1993" y="233"/>
                  <a:pt x="1988" y="233"/>
                </a:cubicBezTo>
                <a:close/>
                <a:moveTo>
                  <a:pt x="2011" y="233"/>
                </a:moveTo>
                <a:cubicBezTo>
                  <a:pt x="2007" y="233"/>
                  <a:pt x="2004" y="236"/>
                  <a:pt x="2004" y="239"/>
                </a:cubicBezTo>
                <a:cubicBezTo>
                  <a:pt x="2004" y="243"/>
                  <a:pt x="2007" y="245"/>
                  <a:pt x="2011" y="245"/>
                </a:cubicBezTo>
                <a:cubicBezTo>
                  <a:pt x="2016" y="245"/>
                  <a:pt x="2019" y="243"/>
                  <a:pt x="2019" y="239"/>
                </a:cubicBezTo>
                <a:cubicBezTo>
                  <a:pt x="2019" y="236"/>
                  <a:pt x="2016" y="233"/>
                  <a:pt x="2011" y="233"/>
                </a:cubicBezTo>
                <a:close/>
                <a:moveTo>
                  <a:pt x="1988" y="252"/>
                </a:moveTo>
                <a:cubicBezTo>
                  <a:pt x="1984" y="252"/>
                  <a:pt x="1981" y="255"/>
                  <a:pt x="1981" y="258"/>
                </a:cubicBezTo>
                <a:cubicBezTo>
                  <a:pt x="1981" y="262"/>
                  <a:pt x="1984" y="265"/>
                  <a:pt x="1988" y="265"/>
                </a:cubicBezTo>
                <a:cubicBezTo>
                  <a:pt x="1993" y="265"/>
                  <a:pt x="1996" y="262"/>
                  <a:pt x="1996" y="258"/>
                </a:cubicBezTo>
                <a:cubicBezTo>
                  <a:pt x="1996" y="255"/>
                  <a:pt x="1993" y="252"/>
                  <a:pt x="1988" y="252"/>
                </a:cubicBezTo>
                <a:close/>
                <a:moveTo>
                  <a:pt x="2011" y="252"/>
                </a:moveTo>
                <a:cubicBezTo>
                  <a:pt x="2007" y="252"/>
                  <a:pt x="2004" y="255"/>
                  <a:pt x="2004" y="258"/>
                </a:cubicBezTo>
                <a:cubicBezTo>
                  <a:pt x="2004" y="262"/>
                  <a:pt x="2007" y="265"/>
                  <a:pt x="2011" y="265"/>
                </a:cubicBezTo>
                <a:cubicBezTo>
                  <a:pt x="2016" y="265"/>
                  <a:pt x="2019" y="262"/>
                  <a:pt x="2019" y="258"/>
                </a:cubicBezTo>
                <a:cubicBezTo>
                  <a:pt x="2019" y="255"/>
                  <a:pt x="2016" y="252"/>
                  <a:pt x="2011" y="252"/>
                </a:cubicBezTo>
                <a:close/>
                <a:moveTo>
                  <a:pt x="1988" y="271"/>
                </a:moveTo>
                <a:cubicBezTo>
                  <a:pt x="1984" y="271"/>
                  <a:pt x="1981" y="274"/>
                  <a:pt x="1981" y="278"/>
                </a:cubicBezTo>
                <a:cubicBezTo>
                  <a:pt x="1981" y="282"/>
                  <a:pt x="1984" y="285"/>
                  <a:pt x="1988" y="285"/>
                </a:cubicBezTo>
                <a:cubicBezTo>
                  <a:pt x="1993" y="285"/>
                  <a:pt x="1996" y="282"/>
                  <a:pt x="1996" y="278"/>
                </a:cubicBezTo>
                <a:cubicBezTo>
                  <a:pt x="1996" y="274"/>
                  <a:pt x="1993" y="271"/>
                  <a:pt x="1988" y="271"/>
                </a:cubicBezTo>
                <a:close/>
                <a:moveTo>
                  <a:pt x="2011" y="271"/>
                </a:moveTo>
                <a:cubicBezTo>
                  <a:pt x="2007" y="271"/>
                  <a:pt x="2004" y="274"/>
                  <a:pt x="2004" y="278"/>
                </a:cubicBezTo>
                <a:cubicBezTo>
                  <a:pt x="2004" y="282"/>
                  <a:pt x="2007" y="285"/>
                  <a:pt x="2011" y="285"/>
                </a:cubicBezTo>
                <a:cubicBezTo>
                  <a:pt x="2016" y="285"/>
                  <a:pt x="2019" y="282"/>
                  <a:pt x="2019" y="278"/>
                </a:cubicBezTo>
                <a:cubicBezTo>
                  <a:pt x="2019" y="274"/>
                  <a:pt x="2016" y="271"/>
                  <a:pt x="2011" y="271"/>
                </a:cubicBezTo>
                <a:close/>
                <a:moveTo>
                  <a:pt x="2033" y="155"/>
                </a:moveTo>
                <a:cubicBezTo>
                  <a:pt x="2029" y="155"/>
                  <a:pt x="2025" y="158"/>
                  <a:pt x="2025" y="162"/>
                </a:cubicBezTo>
                <a:cubicBezTo>
                  <a:pt x="2025" y="166"/>
                  <a:pt x="2029" y="169"/>
                  <a:pt x="2033" y="169"/>
                </a:cubicBezTo>
                <a:cubicBezTo>
                  <a:pt x="2037" y="169"/>
                  <a:pt x="2041" y="166"/>
                  <a:pt x="2041" y="162"/>
                </a:cubicBezTo>
                <a:cubicBezTo>
                  <a:pt x="2041" y="158"/>
                  <a:pt x="2037" y="155"/>
                  <a:pt x="2033" y="155"/>
                </a:cubicBezTo>
                <a:close/>
                <a:moveTo>
                  <a:pt x="2055" y="155"/>
                </a:moveTo>
                <a:cubicBezTo>
                  <a:pt x="2051" y="155"/>
                  <a:pt x="2047" y="158"/>
                  <a:pt x="2047" y="162"/>
                </a:cubicBezTo>
                <a:cubicBezTo>
                  <a:pt x="2047" y="166"/>
                  <a:pt x="2051" y="169"/>
                  <a:pt x="2055" y="169"/>
                </a:cubicBezTo>
                <a:cubicBezTo>
                  <a:pt x="2059" y="169"/>
                  <a:pt x="2063" y="166"/>
                  <a:pt x="2063" y="162"/>
                </a:cubicBezTo>
                <a:cubicBezTo>
                  <a:pt x="2063" y="158"/>
                  <a:pt x="2059" y="155"/>
                  <a:pt x="2055" y="155"/>
                </a:cubicBezTo>
                <a:close/>
                <a:moveTo>
                  <a:pt x="2033" y="175"/>
                </a:moveTo>
                <a:cubicBezTo>
                  <a:pt x="2029" y="175"/>
                  <a:pt x="2025" y="178"/>
                  <a:pt x="2025" y="182"/>
                </a:cubicBezTo>
                <a:cubicBezTo>
                  <a:pt x="2025" y="185"/>
                  <a:pt x="2029" y="188"/>
                  <a:pt x="2033" y="188"/>
                </a:cubicBezTo>
                <a:cubicBezTo>
                  <a:pt x="2037" y="188"/>
                  <a:pt x="2041" y="185"/>
                  <a:pt x="2041" y="182"/>
                </a:cubicBezTo>
                <a:cubicBezTo>
                  <a:pt x="2041" y="178"/>
                  <a:pt x="2037" y="175"/>
                  <a:pt x="2033" y="175"/>
                </a:cubicBezTo>
                <a:close/>
                <a:moveTo>
                  <a:pt x="2055" y="175"/>
                </a:moveTo>
                <a:cubicBezTo>
                  <a:pt x="2051" y="175"/>
                  <a:pt x="2047" y="178"/>
                  <a:pt x="2047" y="182"/>
                </a:cubicBezTo>
                <a:cubicBezTo>
                  <a:pt x="2047" y="185"/>
                  <a:pt x="2051" y="188"/>
                  <a:pt x="2055" y="188"/>
                </a:cubicBezTo>
                <a:cubicBezTo>
                  <a:pt x="2059" y="188"/>
                  <a:pt x="2063" y="185"/>
                  <a:pt x="2063" y="182"/>
                </a:cubicBezTo>
                <a:cubicBezTo>
                  <a:pt x="2063" y="178"/>
                  <a:pt x="2059" y="175"/>
                  <a:pt x="2055" y="175"/>
                </a:cubicBezTo>
                <a:close/>
                <a:moveTo>
                  <a:pt x="2033" y="194"/>
                </a:moveTo>
                <a:cubicBezTo>
                  <a:pt x="2029" y="194"/>
                  <a:pt x="2025" y="197"/>
                  <a:pt x="2025" y="201"/>
                </a:cubicBezTo>
                <a:cubicBezTo>
                  <a:pt x="2025" y="205"/>
                  <a:pt x="2029" y="208"/>
                  <a:pt x="2033" y="208"/>
                </a:cubicBezTo>
                <a:cubicBezTo>
                  <a:pt x="2037" y="208"/>
                  <a:pt x="2041" y="205"/>
                  <a:pt x="2041" y="201"/>
                </a:cubicBezTo>
                <a:cubicBezTo>
                  <a:pt x="2041" y="197"/>
                  <a:pt x="2037" y="194"/>
                  <a:pt x="2033" y="194"/>
                </a:cubicBezTo>
                <a:close/>
                <a:moveTo>
                  <a:pt x="2055" y="194"/>
                </a:moveTo>
                <a:cubicBezTo>
                  <a:pt x="2051" y="194"/>
                  <a:pt x="2047" y="197"/>
                  <a:pt x="2047" y="201"/>
                </a:cubicBezTo>
                <a:cubicBezTo>
                  <a:pt x="2047" y="205"/>
                  <a:pt x="2051" y="208"/>
                  <a:pt x="2055" y="208"/>
                </a:cubicBezTo>
                <a:cubicBezTo>
                  <a:pt x="2059" y="208"/>
                  <a:pt x="2063" y="205"/>
                  <a:pt x="2063" y="201"/>
                </a:cubicBezTo>
                <a:cubicBezTo>
                  <a:pt x="2063" y="197"/>
                  <a:pt x="2059" y="194"/>
                  <a:pt x="2055" y="194"/>
                </a:cubicBezTo>
                <a:close/>
                <a:moveTo>
                  <a:pt x="2033" y="214"/>
                </a:moveTo>
                <a:cubicBezTo>
                  <a:pt x="2029" y="214"/>
                  <a:pt x="2025" y="217"/>
                  <a:pt x="2025" y="220"/>
                </a:cubicBezTo>
                <a:cubicBezTo>
                  <a:pt x="2025" y="224"/>
                  <a:pt x="2029" y="227"/>
                  <a:pt x="2033" y="227"/>
                </a:cubicBezTo>
                <a:cubicBezTo>
                  <a:pt x="2037" y="227"/>
                  <a:pt x="2041" y="224"/>
                  <a:pt x="2041" y="220"/>
                </a:cubicBezTo>
                <a:cubicBezTo>
                  <a:pt x="2041" y="217"/>
                  <a:pt x="2037" y="214"/>
                  <a:pt x="2033" y="214"/>
                </a:cubicBezTo>
                <a:close/>
                <a:moveTo>
                  <a:pt x="2055" y="214"/>
                </a:moveTo>
                <a:cubicBezTo>
                  <a:pt x="2051" y="214"/>
                  <a:pt x="2047" y="217"/>
                  <a:pt x="2047" y="220"/>
                </a:cubicBezTo>
                <a:cubicBezTo>
                  <a:pt x="2047" y="224"/>
                  <a:pt x="2051" y="227"/>
                  <a:pt x="2055" y="227"/>
                </a:cubicBezTo>
                <a:cubicBezTo>
                  <a:pt x="2059" y="227"/>
                  <a:pt x="2063" y="224"/>
                  <a:pt x="2063" y="220"/>
                </a:cubicBezTo>
                <a:cubicBezTo>
                  <a:pt x="2063" y="217"/>
                  <a:pt x="2059" y="214"/>
                  <a:pt x="2055" y="214"/>
                </a:cubicBezTo>
                <a:close/>
                <a:moveTo>
                  <a:pt x="2033" y="233"/>
                </a:moveTo>
                <a:cubicBezTo>
                  <a:pt x="2029" y="233"/>
                  <a:pt x="2025" y="236"/>
                  <a:pt x="2025" y="239"/>
                </a:cubicBezTo>
                <a:cubicBezTo>
                  <a:pt x="2025" y="243"/>
                  <a:pt x="2029" y="245"/>
                  <a:pt x="2033" y="245"/>
                </a:cubicBezTo>
                <a:cubicBezTo>
                  <a:pt x="2037" y="245"/>
                  <a:pt x="2041" y="243"/>
                  <a:pt x="2041" y="239"/>
                </a:cubicBezTo>
                <a:cubicBezTo>
                  <a:pt x="2041" y="236"/>
                  <a:pt x="2037" y="233"/>
                  <a:pt x="2033" y="233"/>
                </a:cubicBezTo>
                <a:close/>
                <a:moveTo>
                  <a:pt x="2055" y="233"/>
                </a:moveTo>
                <a:cubicBezTo>
                  <a:pt x="2051" y="233"/>
                  <a:pt x="2047" y="236"/>
                  <a:pt x="2047" y="239"/>
                </a:cubicBezTo>
                <a:cubicBezTo>
                  <a:pt x="2047" y="243"/>
                  <a:pt x="2051" y="245"/>
                  <a:pt x="2055" y="245"/>
                </a:cubicBezTo>
                <a:cubicBezTo>
                  <a:pt x="2059" y="245"/>
                  <a:pt x="2063" y="243"/>
                  <a:pt x="2063" y="239"/>
                </a:cubicBezTo>
                <a:cubicBezTo>
                  <a:pt x="2063" y="236"/>
                  <a:pt x="2059" y="233"/>
                  <a:pt x="2055" y="233"/>
                </a:cubicBezTo>
                <a:close/>
                <a:moveTo>
                  <a:pt x="2033" y="252"/>
                </a:moveTo>
                <a:cubicBezTo>
                  <a:pt x="2029" y="252"/>
                  <a:pt x="2025" y="255"/>
                  <a:pt x="2025" y="258"/>
                </a:cubicBezTo>
                <a:cubicBezTo>
                  <a:pt x="2025" y="262"/>
                  <a:pt x="2029" y="265"/>
                  <a:pt x="2033" y="265"/>
                </a:cubicBezTo>
                <a:cubicBezTo>
                  <a:pt x="2037" y="265"/>
                  <a:pt x="2041" y="262"/>
                  <a:pt x="2041" y="258"/>
                </a:cubicBezTo>
                <a:cubicBezTo>
                  <a:pt x="2041" y="255"/>
                  <a:pt x="2037" y="252"/>
                  <a:pt x="2033" y="252"/>
                </a:cubicBezTo>
                <a:close/>
                <a:moveTo>
                  <a:pt x="2055" y="252"/>
                </a:moveTo>
                <a:cubicBezTo>
                  <a:pt x="2051" y="252"/>
                  <a:pt x="2047" y="255"/>
                  <a:pt x="2047" y="258"/>
                </a:cubicBezTo>
                <a:cubicBezTo>
                  <a:pt x="2047" y="262"/>
                  <a:pt x="2051" y="265"/>
                  <a:pt x="2055" y="265"/>
                </a:cubicBezTo>
                <a:cubicBezTo>
                  <a:pt x="2059" y="265"/>
                  <a:pt x="2063" y="262"/>
                  <a:pt x="2063" y="258"/>
                </a:cubicBezTo>
                <a:cubicBezTo>
                  <a:pt x="2063" y="255"/>
                  <a:pt x="2059" y="252"/>
                  <a:pt x="2055" y="252"/>
                </a:cubicBezTo>
                <a:close/>
                <a:moveTo>
                  <a:pt x="2033" y="271"/>
                </a:moveTo>
                <a:cubicBezTo>
                  <a:pt x="2029" y="271"/>
                  <a:pt x="2025" y="274"/>
                  <a:pt x="2025" y="278"/>
                </a:cubicBezTo>
                <a:cubicBezTo>
                  <a:pt x="2025" y="282"/>
                  <a:pt x="2029" y="285"/>
                  <a:pt x="2033" y="285"/>
                </a:cubicBezTo>
                <a:cubicBezTo>
                  <a:pt x="2037" y="285"/>
                  <a:pt x="2041" y="282"/>
                  <a:pt x="2041" y="278"/>
                </a:cubicBezTo>
                <a:cubicBezTo>
                  <a:pt x="2041" y="274"/>
                  <a:pt x="2037" y="271"/>
                  <a:pt x="2033" y="271"/>
                </a:cubicBezTo>
                <a:close/>
                <a:moveTo>
                  <a:pt x="2055" y="271"/>
                </a:moveTo>
                <a:cubicBezTo>
                  <a:pt x="2051" y="271"/>
                  <a:pt x="2047" y="274"/>
                  <a:pt x="2047" y="278"/>
                </a:cubicBezTo>
                <a:cubicBezTo>
                  <a:pt x="2047" y="282"/>
                  <a:pt x="2051" y="285"/>
                  <a:pt x="2055" y="285"/>
                </a:cubicBezTo>
                <a:cubicBezTo>
                  <a:pt x="2059" y="285"/>
                  <a:pt x="2063" y="282"/>
                  <a:pt x="2063" y="278"/>
                </a:cubicBezTo>
                <a:cubicBezTo>
                  <a:pt x="2063" y="274"/>
                  <a:pt x="2059" y="271"/>
                  <a:pt x="2055" y="271"/>
                </a:cubicBezTo>
                <a:close/>
                <a:moveTo>
                  <a:pt x="2077" y="155"/>
                </a:moveTo>
                <a:cubicBezTo>
                  <a:pt x="2073" y="155"/>
                  <a:pt x="2069" y="158"/>
                  <a:pt x="2069" y="162"/>
                </a:cubicBezTo>
                <a:cubicBezTo>
                  <a:pt x="2069" y="166"/>
                  <a:pt x="2073" y="169"/>
                  <a:pt x="2077" y="169"/>
                </a:cubicBezTo>
                <a:cubicBezTo>
                  <a:pt x="2081" y="169"/>
                  <a:pt x="2085" y="166"/>
                  <a:pt x="2085" y="162"/>
                </a:cubicBezTo>
                <a:cubicBezTo>
                  <a:pt x="2085" y="158"/>
                  <a:pt x="2081" y="155"/>
                  <a:pt x="2077" y="155"/>
                </a:cubicBezTo>
                <a:close/>
                <a:moveTo>
                  <a:pt x="2100" y="155"/>
                </a:moveTo>
                <a:cubicBezTo>
                  <a:pt x="2096" y="155"/>
                  <a:pt x="2092" y="158"/>
                  <a:pt x="2092" y="162"/>
                </a:cubicBezTo>
                <a:cubicBezTo>
                  <a:pt x="2092" y="166"/>
                  <a:pt x="2096" y="169"/>
                  <a:pt x="2100" y="169"/>
                </a:cubicBezTo>
                <a:cubicBezTo>
                  <a:pt x="2104" y="169"/>
                  <a:pt x="2108" y="166"/>
                  <a:pt x="2108" y="162"/>
                </a:cubicBezTo>
                <a:cubicBezTo>
                  <a:pt x="2108" y="158"/>
                  <a:pt x="2104" y="155"/>
                  <a:pt x="2100" y="155"/>
                </a:cubicBezTo>
                <a:close/>
                <a:moveTo>
                  <a:pt x="2077" y="175"/>
                </a:moveTo>
                <a:cubicBezTo>
                  <a:pt x="2073" y="175"/>
                  <a:pt x="2069" y="178"/>
                  <a:pt x="2069" y="182"/>
                </a:cubicBezTo>
                <a:cubicBezTo>
                  <a:pt x="2069" y="185"/>
                  <a:pt x="2073" y="188"/>
                  <a:pt x="2077" y="188"/>
                </a:cubicBezTo>
                <a:cubicBezTo>
                  <a:pt x="2081" y="188"/>
                  <a:pt x="2085" y="185"/>
                  <a:pt x="2085" y="182"/>
                </a:cubicBezTo>
                <a:cubicBezTo>
                  <a:pt x="2085" y="178"/>
                  <a:pt x="2081" y="175"/>
                  <a:pt x="2077" y="175"/>
                </a:cubicBezTo>
                <a:close/>
                <a:moveTo>
                  <a:pt x="2100" y="175"/>
                </a:moveTo>
                <a:cubicBezTo>
                  <a:pt x="2096" y="175"/>
                  <a:pt x="2092" y="178"/>
                  <a:pt x="2092" y="182"/>
                </a:cubicBezTo>
                <a:cubicBezTo>
                  <a:pt x="2092" y="185"/>
                  <a:pt x="2096" y="188"/>
                  <a:pt x="2100" y="188"/>
                </a:cubicBezTo>
                <a:cubicBezTo>
                  <a:pt x="2104" y="188"/>
                  <a:pt x="2108" y="185"/>
                  <a:pt x="2108" y="182"/>
                </a:cubicBezTo>
                <a:cubicBezTo>
                  <a:pt x="2108" y="178"/>
                  <a:pt x="2104" y="175"/>
                  <a:pt x="2100" y="175"/>
                </a:cubicBezTo>
                <a:close/>
                <a:moveTo>
                  <a:pt x="2077" y="194"/>
                </a:moveTo>
                <a:cubicBezTo>
                  <a:pt x="2073" y="194"/>
                  <a:pt x="2069" y="197"/>
                  <a:pt x="2069" y="201"/>
                </a:cubicBezTo>
                <a:cubicBezTo>
                  <a:pt x="2069" y="205"/>
                  <a:pt x="2073" y="208"/>
                  <a:pt x="2077" y="208"/>
                </a:cubicBezTo>
                <a:cubicBezTo>
                  <a:pt x="2081" y="208"/>
                  <a:pt x="2085" y="205"/>
                  <a:pt x="2085" y="201"/>
                </a:cubicBezTo>
                <a:cubicBezTo>
                  <a:pt x="2085" y="197"/>
                  <a:pt x="2081" y="194"/>
                  <a:pt x="2077" y="194"/>
                </a:cubicBezTo>
                <a:close/>
                <a:moveTo>
                  <a:pt x="2100" y="194"/>
                </a:moveTo>
                <a:cubicBezTo>
                  <a:pt x="2096" y="194"/>
                  <a:pt x="2092" y="197"/>
                  <a:pt x="2092" y="201"/>
                </a:cubicBezTo>
                <a:cubicBezTo>
                  <a:pt x="2092" y="205"/>
                  <a:pt x="2096" y="208"/>
                  <a:pt x="2100" y="208"/>
                </a:cubicBezTo>
                <a:cubicBezTo>
                  <a:pt x="2104" y="208"/>
                  <a:pt x="2108" y="205"/>
                  <a:pt x="2108" y="201"/>
                </a:cubicBezTo>
                <a:cubicBezTo>
                  <a:pt x="2108" y="197"/>
                  <a:pt x="2104" y="194"/>
                  <a:pt x="2100" y="194"/>
                </a:cubicBezTo>
                <a:close/>
                <a:moveTo>
                  <a:pt x="2077" y="214"/>
                </a:moveTo>
                <a:cubicBezTo>
                  <a:pt x="2073" y="214"/>
                  <a:pt x="2069" y="217"/>
                  <a:pt x="2069" y="220"/>
                </a:cubicBezTo>
                <a:cubicBezTo>
                  <a:pt x="2069" y="224"/>
                  <a:pt x="2073" y="227"/>
                  <a:pt x="2077" y="227"/>
                </a:cubicBezTo>
                <a:cubicBezTo>
                  <a:pt x="2081" y="227"/>
                  <a:pt x="2085" y="224"/>
                  <a:pt x="2085" y="220"/>
                </a:cubicBezTo>
                <a:cubicBezTo>
                  <a:pt x="2085" y="217"/>
                  <a:pt x="2081" y="214"/>
                  <a:pt x="2077" y="214"/>
                </a:cubicBezTo>
                <a:close/>
                <a:moveTo>
                  <a:pt x="2100" y="214"/>
                </a:moveTo>
                <a:cubicBezTo>
                  <a:pt x="2096" y="214"/>
                  <a:pt x="2092" y="217"/>
                  <a:pt x="2092" y="220"/>
                </a:cubicBezTo>
                <a:cubicBezTo>
                  <a:pt x="2092" y="224"/>
                  <a:pt x="2096" y="227"/>
                  <a:pt x="2100" y="227"/>
                </a:cubicBezTo>
                <a:cubicBezTo>
                  <a:pt x="2104" y="227"/>
                  <a:pt x="2108" y="224"/>
                  <a:pt x="2108" y="220"/>
                </a:cubicBezTo>
                <a:cubicBezTo>
                  <a:pt x="2108" y="217"/>
                  <a:pt x="2104" y="214"/>
                  <a:pt x="2100" y="214"/>
                </a:cubicBezTo>
                <a:close/>
                <a:moveTo>
                  <a:pt x="2077" y="233"/>
                </a:moveTo>
                <a:cubicBezTo>
                  <a:pt x="2073" y="233"/>
                  <a:pt x="2069" y="236"/>
                  <a:pt x="2069" y="239"/>
                </a:cubicBezTo>
                <a:cubicBezTo>
                  <a:pt x="2069" y="243"/>
                  <a:pt x="2073" y="245"/>
                  <a:pt x="2077" y="245"/>
                </a:cubicBezTo>
                <a:cubicBezTo>
                  <a:pt x="2081" y="245"/>
                  <a:pt x="2085" y="243"/>
                  <a:pt x="2085" y="239"/>
                </a:cubicBezTo>
                <a:cubicBezTo>
                  <a:pt x="2085" y="236"/>
                  <a:pt x="2081" y="233"/>
                  <a:pt x="2077" y="233"/>
                </a:cubicBezTo>
                <a:close/>
                <a:moveTo>
                  <a:pt x="2100" y="233"/>
                </a:moveTo>
                <a:cubicBezTo>
                  <a:pt x="2096" y="233"/>
                  <a:pt x="2092" y="236"/>
                  <a:pt x="2092" y="239"/>
                </a:cubicBezTo>
                <a:cubicBezTo>
                  <a:pt x="2092" y="243"/>
                  <a:pt x="2096" y="245"/>
                  <a:pt x="2100" y="245"/>
                </a:cubicBezTo>
                <a:cubicBezTo>
                  <a:pt x="2104" y="245"/>
                  <a:pt x="2108" y="243"/>
                  <a:pt x="2108" y="239"/>
                </a:cubicBezTo>
                <a:cubicBezTo>
                  <a:pt x="2108" y="236"/>
                  <a:pt x="2104" y="233"/>
                  <a:pt x="2100" y="233"/>
                </a:cubicBezTo>
                <a:close/>
                <a:moveTo>
                  <a:pt x="2077" y="252"/>
                </a:moveTo>
                <a:cubicBezTo>
                  <a:pt x="2073" y="252"/>
                  <a:pt x="2069" y="255"/>
                  <a:pt x="2069" y="258"/>
                </a:cubicBezTo>
                <a:cubicBezTo>
                  <a:pt x="2069" y="262"/>
                  <a:pt x="2073" y="265"/>
                  <a:pt x="2077" y="265"/>
                </a:cubicBezTo>
                <a:cubicBezTo>
                  <a:pt x="2081" y="265"/>
                  <a:pt x="2085" y="262"/>
                  <a:pt x="2085" y="258"/>
                </a:cubicBezTo>
                <a:cubicBezTo>
                  <a:pt x="2085" y="255"/>
                  <a:pt x="2081" y="252"/>
                  <a:pt x="2077" y="252"/>
                </a:cubicBezTo>
                <a:close/>
                <a:moveTo>
                  <a:pt x="2100" y="252"/>
                </a:moveTo>
                <a:cubicBezTo>
                  <a:pt x="2096" y="252"/>
                  <a:pt x="2092" y="255"/>
                  <a:pt x="2092" y="258"/>
                </a:cubicBezTo>
                <a:cubicBezTo>
                  <a:pt x="2092" y="262"/>
                  <a:pt x="2096" y="265"/>
                  <a:pt x="2100" y="265"/>
                </a:cubicBezTo>
                <a:cubicBezTo>
                  <a:pt x="2104" y="265"/>
                  <a:pt x="2108" y="262"/>
                  <a:pt x="2108" y="258"/>
                </a:cubicBezTo>
                <a:cubicBezTo>
                  <a:pt x="2108" y="255"/>
                  <a:pt x="2104" y="252"/>
                  <a:pt x="2100" y="252"/>
                </a:cubicBezTo>
                <a:close/>
                <a:moveTo>
                  <a:pt x="2077" y="271"/>
                </a:moveTo>
                <a:cubicBezTo>
                  <a:pt x="2073" y="271"/>
                  <a:pt x="2069" y="274"/>
                  <a:pt x="2069" y="278"/>
                </a:cubicBezTo>
                <a:cubicBezTo>
                  <a:pt x="2069" y="282"/>
                  <a:pt x="2073" y="285"/>
                  <a:pt x="2077" y="285"/>
                </a:cubicBezTo>
                <a:cubicBezTo>
                  <a:pt x="2081" y="285"/>
                  <a:pt x="2085" y="282"/>
                  <a:pt x="2085" y="278"/>
                </a:cubicBezTo>
                <a:cubicBezTo>
                  <a:pt x="2085" y="274"/>
                  <a:pt x="2081" y="271"/>
                  <a:pt x="2077" y="271"/>
                </a:cubicBezTo>
                <a:close/>
                <a:moveTo>
                  <a:pt x="2100" y="271"/>
                </a:moveTo>
                <a:cubicBezTo>
                  <a:pt x="2096" y="271"/>
                  <a:pt x="2092" y="274"/>
                  <a:pt x="2092" y="278"/>
                </a:cubicBezTo>
                <a:cubicBezTo>
                  <a:pt x="2092" y="282"/>
                  <a:pt x="2096" y="285"/>
                  <a:pt x="2100" y="285"/>
                </a:cubicBezTo>
                <a:cubicBezTo>
                  <a:pt x="2104" y="285"/>
                  <a:pt x="2108" y="282"/>
                  <a:pt x="2108" y="278"/>
                </a:cubicBezTo>
                <a:cubicBezTo>
                  <a:pt x="2108" y="274"/>
                  <a:pt x="2104" y="271"/>
                  <a:pt x="2100" y="271"/>
                </a:cubicBezTo>
                <a:close/>
                <a:moveTo>
                  <a:pt x="2122" y="155"/>
                </a:moveTo>
                <a:cubicBezTo>
                  <a:pt x="2118" y="155"/>
                  <a:pt x="2115" y="158"/>
                  <a:pt x="2115" y="162"/>
                </a:cubicBezTo>
                <a:cubicBezTo>
                  <a:pt x="2115" y="166"/>
                  <a:pt x="2118" y="169"/>
                  <a:pt x="2122" y="169"/>
                </a:cubicBezTo>
                <a:cubicBezTo>
                  <a:pt x="2126" y="169"/>
                  <a:pt x="2129" y="166"/>
                  <a:pt x="2129" y="162"/>
                </a:cubicBezTo>
                <a:cubicBezTo>
                  <a:pt x="2129" y="158"/>
                  <a:pt x="2126" y="155"/>
                  <a:pt x="2122" y="155"/>
                </a:cubicBezTo>
                <a:close/>
                <a:moveTo>
                  <a:pt x="2144" y="155"/>
                </a:moveTo>
                <a:cubicBezTo>
                  <a:pt x="2140" y="155"/>
                  <a:pt x="2136" y="158"/>
                  <a:pt x="2136" y="162"/>
                </a:cubicBezTo>
                <a:cubicBezTo>
                  <a:pt x="2136" y="166"/>
                  <a:pt x="2140" y="169"/>
                  <a:pt x="2144" y="169"/>
                </a:cubicBezTo>
                <a:cubicBezTo>
                  <a:pt x="2148" y="169"/>
                  <a:pt x="2152" y="166"/>
                  <a:pt x="2152" y="162"/>
                </a:cubicBezTo>
                <a:cubicBezTo>
                  <a:pt x="2152" y="158"/>
                  <a:pt x="2148" y="155"/>
                  <a:pt x="2144" y="155"/>
                </a:cubicBezTo>
                <a:close/>
                <a:moveTo>
                  <a:pt x="2122" y="175"/>
                </a:moveTo>
                <a:cubicBezTo>
                  <a:pt x="2118" y="175"/>
                  <a:pt x="2115" y="178"/>
                  <a:pt x="2115" y="182"/>
                </a:cubicBezTo>
                <a:cubicBezTo>
                  <a:pt x="2115" y="185"/>
                  <a:pt x="2118" y="188"/>
                  <a:pt x="2122" y="188"/>
                </a:cubicBezTo>
                <a:cubicBezTo>
                  <a:pt x="2126" y="188"/>
                  <a:pt x="2129" y="185"/>
                  <a:pt x="2129" y="182"/>
                </a:cubicBezTo>
                <a:cubicBezTo>
                  <a:pt x="2129" y="178"/>
                  <a:pt x="2126" y="175"/>
                  <a:pt x="2122" y="175"/>
                </a:cubicBezTo>
                <a:close/>
                <a:moveTo>
                  <a:pt x="2144" y="175"/>
                </a:moveTo>
                <a:cubicBezTo>
                  <a:pt x="2140" y="175"/>
                  <a:pt x="2136" y="178"/>
                  <a:pt x="2136" y="182"/>
                </a:cubicBezTo>
                <a:cubicBezTo>
                  <a:pt x="2136" y="185"/>
                  <a:pt x="2140" y="188"/>
                  <a:pt x="2144" y="188"/>
                </a:cubicBezTo>
                <a:cubicBezTo>
                  <a:pt x="2148" y="188"/>
                  <a:pt x="2152" y="185"/>
                  <a:pt x="2152" y="182"/>
                </a:cubicBezTo>
                <a:cubicBezTo>
                  <a:pt x="2152" y="178"/>
                  <a:pt x="2148" y="175"/>
                  <a:pt x="2144" y="175"/>
                </a:cubicBezTo>
                <a:close/>
                <a:moveTo>
                  <a:pt x="2122" y="194"/>
                </a:moveTo>
                <a:cubicBezTo>
                  <a:pt x="2118" y="194"/>
                  <a:pt x="2115" y="197"/>
                  <a:pt x="2115" y="201"/>
                </a:cubicBezTo>
                <a:cubicBezTo>
                  <a:pt x="2115" y="205"/>
                  <a:pt x="2118" y="208"/>
                  <a:pt x="2122" y="208"/>
                </a:cubicBezTo>
                <a:cubicBezTo>
                  <a:pt x="2126" y="208"/>
                  <a:pt x="2129" y="205"/>
                  <a:pt x="2129" y="201"/>
                </a:cubicBezTo>
                <a:cubicBezTo>
                  <a:pt x="2129" y="197"/>
                  <a:pt x="2126" y="194"/>
                  <a:pt x="2122" y="194"/>
                </a:cubicBezTo>
                <a:close/>
                <a:moveTo>
                  <a:pt x="2144" y="194"/>
                </a:moveTo>
                <a:cubicBezTo>
                  <a:pt x="2140" y="194"/>
                  <a:pt x="2136" y="197"/>
                  <a:pt x="2136" y="201"/>
                </a:cubicBezTo>
                <a:cubicBezTo>
                  <a:pt x="2136" y="205"/>
                  <a:pt x="2140" y="208"/>
                  <a:pt x="2144" y="208"/>
                </a:cubicBezTo>
                <a:cubicBezTo>
                  <a:pt x="2148" y="208"/>
                  <a:pt x="2152" y="205"/>
                  <a:pt x="2152" y="201"/>
                </a:cubicBezTo>
                <a:cubicBezTo>
                  <a:pt x="2152" y="197"/>
                  <a:pt x="2148" y="194"/>
                  <a:pt x="2144" y="194"/>
                </a:cubicBezTo>
                <a:close/>
                <a:moveTo>
                  <a:pt x="2122" y="214"/>
                </a:moveTo>
                <a:cubicBezTo>
                  <a:pt x="2118" y="214"/>
                  <a:pt x="2115" y="217"/>
                  <a:pt x="2115" y="220"/>
                </a:cubicBezTo>
                <a:cubicBezTo>
                  <a:pt x="2115" y="224"/>
                  <a:pt x="2118" y="227"/>
                  <a:pt x="2122" y="227"/>
                </a:cubicBezTo>
                <a:cubicBezTo>
                  <a:pt x="2126" y="227"/>
                  <a:pt x="2129" y="224"/>
                  <a:pt x="2129" y="220"/>
                </a:cubicBezTo>
                <a:cubicBezTo>
                  <a:pt x="2129" y="217"/>
                  <a:pt x="2126" y="214"/>
                  <a:pt x="2122" y="214"/>
                </a:cubicBezTo>
                <a:close/>
                <a:moveTo>
                  <a:pt x="2144" y="214"/>
                </a:moveTo>
                <a:cubicBezTo>
                  <a:pt x="2140" y="214"/>
                  <a:pt x="2136" y="217"/>
                  <a:pt x="2136" y="220"/>
                </a:cubicBezTo>
                <a:cubicBezTo>
                  <a:pt x="2136" y="224"/>
                  <a:pt x="2140" y="227"/>
                  <a:pt x="2144" y="227"/>
                </a:cubicBezTo>
                <a:cubicBezTo>
                  <a:pt x="2148" y="227"/>
                  <a:pt x="2152" y="224"/>
                  <a:pt x="2152" y="220"/>
                </a:cubicBezTo>
                <a:cubicBezTo>
                  <a:pt x="2152" y="217"/>
                  <a:pt x="2148" y="214"/>
                  <a:pt x="2144" y="214"/>
                </a:cubicBezTo>
                <a:close/>
                <a:moveTo>
                  <a:pt x="2122" y="233"/>
                </a:moveTo>
                <a:cubicBezTo>
                  <a:pt x="2118" y="233"/>
                  <a:pt x="2115" y="236"/>
                  <a:pt x="2115" y="239"/>
                </a:cubicBezTo>
                <a:cubicBezTo>
                  <a:pt x="2115" y="243"/>
                  <a:pt x="2118" y="245"/>
                  <a:pt x="2122" y="245"/>
                </a:cubicBezTo>
                <a:cubicBezTo>
                  <a:pt x="2126" y="245"/>
                  <a:pt x="2129" y="243"/>
                  <a:pt x="2129" y="239"/>
                </a:cubicBezTo>
                <a:cubicBezTo>
                  <a:pt x="2129" y="236"/>
                  <a:pt x="2126" y="233"/>
                  <a:pt x="2122" y="233"/>
                </a:cubicBezTo>
                <a:close/>
                <a:moveTo>
                  <a:pt x="2144" y="233"/>
                </a:moveTo>
                <a:cubicBezTo>
                  <a:pt x="2140" y="233"/>
                  <a:pt x="2136" y="236"/>
                  <a:pt x="2136" y="239"/>
                </a:cubicBezTo>
                <a:cubicBezTo>
                  <a:pt x="2136" y="243"/>
                  <a:pt x="2140" y="245"/>
                  <a:pt x="2144" y="245"/>
                </a:cubicBezTo>
                <a:cubicBezTo>
                  <a:pt x="2148" y="245"/>
                  <a:pt x="2152" y="243"/>
                  <a:pt x="2152" y="239"/>
                </a:cubicBezTo>
                <a:cubicBezTo>
                  <a:pt x="2152" y="236"/>
                  <a:pt x="2148" y="233"/>
                  <a:pt x="2144" y="233"/>
                </a:cubicBezTo>
                <a:close/>
                <a:moveTo>
                  <a:pt x="2122" y="252"/>
                </a:moveTo>
                <a:cubicBezTo>
                  <a:pt x="2118" y="252"/>
                  <a:pt x="2115" y="255"/>
                  <a:pt x="2115" y="258"/>
                </a:cubicBezTo>
                <a:cubicBezTo>
                  <a:pt x="2115" y="262"/>
                  <a:pt x="2118" y="265"/>
                  <a:pt x="2122" y="265"/>
                </a:cubicBezTo>
                <a:cubicBezTo>
                  <a:pt x="2126" y="265"/>
                  <a:pt x="2129" y="262"/>
                  <a:pt x="2129" y="258"/>
                </a:cubicBezTo>
                <a:cubicBezTo>
                  <a:pt x="2129" y="255"/>
                  <a:pt x="2126" y="252"/>
                  <a:pt x="2122" y="252"/>
                </a:cubicBezTo>
                <a:close/>
                <a:moveTo>
                  <a:pt x="2144" y="252"/>
                </a:moveTo>
                <a:cubicBezTo>
                  <a:pt x="2140" y="252"/>
                  <a:pt x="2136" y="255"/>
                  <a:pt x="2136" y="258"/>
                </a:cubicBezTo>
                <a:cubicBezTo>
                  <a:pt x="2136" y="262"/>
                  <a:pt x="2140" y="265"/>
                  <a:pt x="2144" y="265"/>
                </a:cubicBezTo>
                <a:cubicBezTo>
                  <a:pt x="2148" y="265"/>
                  <a:pt x="2152" y="262"/>
                  <a:pt x="2152" y="258"/>
                </a:cubicBezTo>
                <a:cubicBezTo>
                  <a:pt x="2152" y="255"/>
                  <a:pt x="2148" y="252"/>
                  <a:pt x="2144" y="252"/>
                </a:cubicBezTo>
                <a:close/>
                <a:moveTo>
                  <a:pt x="2122" y="271"/>
                </a:moveTo>
                <a:cubicBezTo>
                  <a:pt x="2118" y="271"/>
                  <a:pt x="2115" y="274"/>
                  <a:pt x="2115" y="278"/>
                </a:cubicBezTo>
                <a:cubicBezTo>
                  <a:pt x="2115" y="282"/>
                  <a:pt x="2118" y="285"/>
                  <a:pt x="2122" y="285"/>
                </a:cubicBezTo>
                <a:cubicBezTo>
                  <a:pt x="2126" y="285"/>
                  <a:pt x="2129" y="282"/>
                  <a:pt x="2129" y="278"/>
                </a:cubicBezTo>
                <a:cubicBezTo>
                  <a:pt x="2129" y="274"/>
                  <a:pt x="2126" y="271"/>
                  <a:pt x="2122" y="271"/>
                </a:cubicBezTo>
                <a:close/>
                <a:moveTo>
                  <a:pt x="2144" y="271"/>
                </a:moveTo>
                <a:cubicBezTo>
                  <a:pt x="2140" y="271"/>
                  <a:pt x="2136" y="274"/>
                  <a:pt x="2136" y="278"/>
                </a:cubicBezTo>
                <a:cubicBezTo>
                  <a:pt x="2136" y="282"/>
                  <a:pt x="2140" y="285"/>
                  <a:pt x="2144" y="285"/>
                </a:cubicBezTo>
                <a:cubicBezTo>
                  <a:pt x="2148" y="285"/>
                  <a:pt x="2152" y="282"/>
                  <a:pt x="2152" y="278"/>
                </a:cubicBezTo>
                <a:cubicBezTo>
                  <a:pt x="2152" y="274"/>
                  <a:pt x="2148" y="271"/>
                  <a:pt x="2144" y="271"/>
                </a:cubicBezTo>
                <a:close/>
                <a:moveTo>
                  <a:pt x="2166" y="155"/>
                </a:moveTo>
                <a:cubicBezTo>
                  <a:pt x="2162" y="155"/>
                  <a:pt x="2158" y="158"/>
                  <a:pt x="2158" y="162"/>
                </a:cubicBezTo>
                <a:cubicBezTo>
                  <a:pt x="2158" y="166"/>
                  <a:pt x="2162" y="169"/>
                  <a:pt x="2166" y="169"/>
                </a:cubicBezTo>
                <a:cubicBezTo>
                  <a:pt x="2170" y="169"/>
                  <a:pt x="2174" y="166"/>
                  <a:pt x="2174" y="162"/>
                </a:cubicBezTo>
                <a:cubicBezTo>
                  <a:pt x="2174" y="158"/>
                  <a:pt x="2170" y="155"/>
                  <a:pt x="2166" y="155"/>
                </a:cubicBezTo>
                <a:close/>
                <a:moveTo>
                  <a:pt x="2189" y="155"/>
                </a:moveTo>
                <a:cubicBezTo>
                  <a:pt x="2185" y="155"/>
                  <a:pt x="2181" y="158"/>
                  <a:pt x="2181" y="162"/>
                </a:cubicBezTo>
                <a:cubicBezTo>
                  <a:pt x="2181" y="166"/>
                  <a:pt x="2185" y="169"/>
                  <a:pt x="2189" y="169"/>
                </a:cubicBezTo>
                <a:cubicBezTo>
                  <a:pt x="2193" y="169"/>
                  <a:pt x="2197" y="166"/>
                  <a:pt x="2197" y="162"/>
                </a:cubicBezTo>
                <a:cubicBezTo>
                  <a:pt x="2197" y="158"/>
                  <a:pt x="2193" y="155"/>
                  <a:pt x="2189" y="155"/>
                </a:cubicBezTo>
                <a:close/>
                <a:moveTo>
                  <a:pt x="2166" y="175"/>
                </a:moveTo>
                <a:cubicBezTo>
                  <a:pt x="2162" y="175"/>
                  <a:pt x="2158" y="178"/>
                  <a:pt x="2158" y="182"/>
                </a:cubicBezTo>
                <a:cubicBezTo>
                  <a:pt x="2158" y="185"/>
                  <a:pt x="2162" y="188"/>
                  <a:pt x="2166" y="188"/>
                </a:cubicBezTo>
                <a:cubicBezTo>
                  <a:pt x="2170" y="188"/>
                  <a:pt x="2174" y="185"/>
                  <a:pt x="2174" y="182"/>
                </a:cubicBezTo>
                <a:cubicBezTo>
                  <a:pt x="2174" y="178"/>
                  <a:pt x="2170" y="175"/>
                  <a:pt x="2166" y="175"/>
                </a:cubicBezTo>
                <a:close/>
                <a:moveTo>
                  <a:pt x="2189" y="175"/>
                </a:moveTo>
                <a:cubicBezTo>
                  <a:pt x="2185" y="175"/>
                  <a:pt x="2181" y="178"/>
                  <a:pt x="2181" y="182"/>
                </a:cubicBezTo>
                <a:cubicBezTo>
                  <a:pt x="2181" y="185"/>
                  <a:pt x="2185" y="188"/>
                  <a:pt x="2189" y="188"/>
                </a:cubicBezTo>
                <a:cubicBezTo>
                  <a:pt x="2193" y="188"/>
                  <a:pt x="2197" y="185"/>
                  <a:pt x="2197" y="182"/>
                </a:cubicBezTo>
                <a:cubicBezTo>
                  <a:pt x="2197" y="178"/>
                  <a:pt x="2193" y="175"/>
                  <a:pt x="2189" y="175"/>
                </a:cubicBezTo>
                <a:close/>
                <a:moveTo>
                  <a:pt x="2166" y="194"/>
                </a:moveTo>
                <a:cubicBezTo>
                  <a:pt x="2162" y="194"/>
                  <a:pt x="2158" y="197"/>
                  <a:pt x="2158" y="201"/>
                </a:cubicBezTo>
                <a:cubicBezTo>
                  <a:pt x="2158" y="205"/>
                  <a:pt x="2162" y="208"/>
                  <a:pt x="2166" y="208"/>
                </a:cubicBezTo>
                <a:cubicBezTo>
                  <a:pt x="2170" y="208"/>
                  <a:pt x="2174" y="205"/>
                  <a:pt x="2174" y="201"/>
                </a:cubicBezTo>
                <a:cubicBezTo>
                  <a:pt x="2174" y="197"/>
                  <a:pt x="2170" y="194"/>
                  <a:pt x="2166" y="194"/>
                </a:cubicBezTo>
                <a:close/>
                <a:moveTo>
                  <a:pt x="2189" y="194"/>
                </a:moveTo>
                <a:cubicBezTo>
                  <a:pt x="2185" y="194"/>
                  <a:pt x="2181" y="197"/>
                  <a:pt x="2181" y="201"/>
                </a:cubicBezTo>
                <a:cubicBezTo>
                  <a:pt x="2181" y="205"/>
                  <a:pt x="2185" y="208"/>
                  <a:pt x="2189" y="208"/>
                </a:cubicBezTo>
                <a:cubicBezTo>
                  <a:pt x="2193" y="208"/>
                  <a:pt x="2197" y="205"/>
                  <a:pt x="2197" y="201"/>
                </a:cubicBezTo>
                <a:cubicBezTo>
                  <a:pt x="2197" y="197"/>
                  <a:pt x="2193" y="194"/>
                  <a:pt x="2189" y="194"/>
                </a:cubicBezTo>
                <a:close/>
                <a:moveTo>
                  <a:pt x="2166" y="214"/>
                </a:moveTo>
                <a:cubicBezTo>
                  <a:pt x="2162" y="214"/>
                  <a:pt x="2158" y="217"/>
                  <a:pt x="2158" y="220"/>
                </a:cubicBezTo>
                <a:cubicBezTo>
                  <a:pt x="2158" y="224"/>
                  <a:pt x="2162" y="227"/>
                  <a:pt x="2166" y="227"/>
                </a:cubicBezTo>
                <a:cubicBezTo>
                  <a:pt x="2170" y="227"/>
                  <a:pt x="2174" y="224"/>
                  <a:pt x="2174" y="220"/>
                </a:cubicBezTo>
                <a:cubicBezTo>
                  <a:pt x="2174" y="217"/>
                  <a:pt x="2170" y="214"/>
                  <a:pt x="2166" y="214"/>
                </a:cubicBezTo>
                <a:close/>
                <a:moveTo>
                  <a:pt x="2189" y="214"/>
                </a:moveTo>
                <a:cubicBezTo>
                  <a:pt x="2185" y="214"/>
                  <a:pt x="2181" y="217"/>
                  <a:pt x="2181" y="220"/>
                </a:cubicBezTo>
                <a:cubicBezTo>
                  <a:pt x="2181" y="224"/>
                  <a:pt x="2185" y="227"/>
                  <a:pt x="2189" y="227"/>
                </a:cubicBezTo>
                <a:cubicBezTo>
                  <a:pt x="2193" y="227"/>
                  <a:pt x="2197" y="224"/>
                  <a:pt x="2197" y="220"/>
                </a:cubicBezTo>
                <a:cubicBezTo>
                  <a:pt x="2197" y="217"/>
                  <a:pt x="2193" y="214"/>
                  <a:pt x="2189" y="214"/>
                </a:cubicBezTo>
                <a:close/>
                <a:moveTo>
                  <a:pt x="2166" y="233"/>
                </a:moveTo>
                <a:cubicBezTo>
                  <a:pt x="2162" y="233"/>
                  <a:pt x="2158" y="236"/>
                  <a:pt x="2158" y="239"/>
                </a:cubicBezTo>
                <a:cubicBezTo>
                  <a:pt x="2158" y="243"/>
                  <a:pt x="2162" y="245"/>
                  <a:pt x="2166" y="245"/>
                </a:cubicBezTo>
                <a:cubicBezTo>
                  <a:pt x="2170" y="245"/>
                  <a:pt x="2174" y="243"/>
                  <a:pt x="2174" y="239"/>
                </a:cubicBezTo>
                <a:cubicBezTo>
                  <a:pt x="2174" y="236"/>
                  <a:pt x="2170" y="233"/>
                  <a:pt x="2166" y="233"/>
                </a:cubicBezTo>
                <a:close/>
                <a:moveTo>
                  <a:pt x="2189" y="233"/>
                </a:moveTo>
                <a:cubicBezTo>
                  <a:pt x="2185" y="233"/>
                  <a:pt x="2181" y="236"/>
                  <a:pt x="2181" y="239"/>
                </a:cubicBezTo>
                <a:cubicBezTo>
                  <a:pt x="2181" y="243"/>
                  <a:pt x="2185" y="245"/>
                  <a:pt x="2189" y="245"/>
                </a:cubicBezTo>
                <a:cubicBezTo>
                  <a:pt x="2193" y="245"/>
                  <a:pt x="2197" y="243"/>
                  <a:pt x="2197" y="239"/>
                </a:cubicBezTo>
                <a:cubicBezTo>
                  <a:pt x="2197" y="236"/>
                  <a:pt x="2193" y="233"/>
                  <a:pt x="2189" y="233"/>
                </a:cubicBezTo>
                <a:close/>
                <a:moveTo>
                  <a:pt x="2166" y="252"/>
                </a:moveTo>
                <a:cubicBezTo>
                  <a:pt x="2162" y="252"/>
                  <a:pt x="2158" y="255"/>
                  <a:pt x="2158" y="258"/>
                </a:cubicBezTo>
                <a:cubicBezTo>
                  <a:pt x="2158" y="262"/>
                  <a:pt x="2162" y="265"/>
                  <a:pt x="2166" y="265"/>
                </a:cubicBezTo>
                <a:cubicBezTo>
                  <a:pt x="2170" y="265"/>
                  <a:pt x="2174" y="262"/>
                  <a:pt x="2174" y="258"/>
                </a:cubicBezTo>
                <a:cubicBezTo>
                  <a:pt x="2174" y="255"/>
                  <a:pt x="2170" y="252"/>
                  <a:pt x="2166" y="252"/>
                </a:cubicBezTo>
                <a:close/>
                <a:moveTo>
                  <a:pt x="2211" y="175"/>
                </a:moveTo>
                <a:cubicBezTo>
                  <a:pt x="2207" y="175"/>
                  <a:pt x="2203" y="178"/>
                  <a:pt x="2203" y="182"/>
                </a:cubicBezTo>
                <a:cubicBezTo>
                  <a:pt x="2203" y="185"/>
                  <a:pt x="2207" y="188"/>
                  <a:pt x="2211" y="188"/>
                </a:cubicBezTo>
                <a:cubicBezTo>
                  <a:pt x="2215" y="188"/>
                  <a:pt x="2218" y="185"/>
                  <a:pt x="2218" y="182"/>
                </a:cubicBezTo>
                <a:cubicBezTo>
                  <a:pt x="2218" y="178"/>
                  <a:pt x="2215" y="175"/>
                  <a:pt x="2211" y="175"/>
                </a:cubicBezTo>
                <a:close/>
                <a:moveTo>
                  <a:pt x="2233" y="175"/>
                </a:moveTo>
                <a:cubicBezTo>
                  <a:pt x="2228" y="175"/>
                  <a:pt x="2225" y="178"/>
                  <a:pt x="2225" y="182"/>
                </a:cubicBezTo>
                <a:cubicBezTo>
                  <a:pt x="2225" y="185"/>
                  <a:pt x="2228" y="188"/>
                  <a:pt x="2233" y="188"/>
                </a:cubicBezTo>
                <a:cubicBezTo>
                  <a:pt x="2237" y="188"/>
                  <a:pt x="2240" y="185"/>
                  <a:pt x="2240" y="182"/>
                </a:cubicBezTo>
                <a:cubicBezTo>
                  <a:pt x="2240" y="178"/>
                  <a:pt x="2237" y="175"/>
                  <a:pt x="2233" y="175"/>
                </a:cubicBezTo>
                <a:close/>
                <a:moveTo>
                  <a:pt x="2211" y="194"/>
                </a:moveTo>
                <a:cubicBezTo>
                  <a:pt x="2207" y="194"/>
                  <a:pt x="2203" y="197"/>
                  <a:pt x="2203" y="201"/>
                </a:cubicBezTo>
                <a:cubicBezTo>
                  <a:pt x="2203" y="205"/>
                  <a:pt x="2207" y="208"/>
                  <a:pt x="2211" y="208"/>
                </a:cubicBezTo>
                <a:cubicBezTo>
                  <a:pt x="2215" y="208"/>
                  <a:pt x="2218" y="205"/>
                  <a:pt x="2218" y="201"/>
                </a:cubicBezTo>
                <a:cubicBezTo>
                  <a:pt x="2218" y="197"/>
                  <a:pt x="2215" y="194"/>
                  <a:pt x="2211" y="194"/>
                </a:cubicBezTo>
                <a:close/>
                <a:moveTo>
                  <a:pt x="2233" y="194"/>
                </a:moveTo>
                <a:cubicBezTo>
                  <a:pt x="2228" y="194"/>
                  <a:pt x="2225" y="197"/>
                  <a:pt x="2225" y="201"/>
                </a:cubicBezTo>
                <a:cubicBezTo>
                  <a:pt x="2225" y="205"/>
                  <a:pt x="2228" y="208"/>
                  <a:pt x="2233" y="208"/>
                </a:cubicBezTo>
                <a:cubicBezTo>
                  <a:pt x="2237" y="208"/>
                  <a:pt x="2240" y="205"/>
                  <a:pt x="2240" y="201"/>
                </a:cubicBezTo>
                <a:cubicBezTo>
                  <a:pt x="2240" y="197"/>
                  <a:pt x="2237" y="194"/>
                  <a:pt x="2233" y="194"/>
                </a:cubicBezTo>
                <a:close/>
                <a:moveTo>
                  <a:pt x="2211" y="214"/>
                </a:moveTo>
                <a:cubicBezTo>
                  <a:pt x="2207" y="214"/>
                  <a:pt x="2203" y="217"/>
                  <a:pt x="2203" y="220"/>
                </a:cubicBezTo>
                <a:cubicBezTo>
                  <a:pt x="2203" y="224"/>
                  <a:pt x="2207" y="227"/>
                  <a:pt x="2211" y="227"/>
                </a:cubicBezTo>
                <a:cubicBezTo>
                  <a:pt x="2215" y="227"/>
                  <a:pt x="2218" y="224"/>
                  <a:pt x="2218" y="220"/>
                </a:cubicBezTo>
                <a:cubicBezTo>
                  <a:pt x="2218" y="217"/>
                  <a:pt x="2215" y="214"/>
                  <a:pt x="2211" y="214"/>
                </a:cubicBezTo>
                <a:close/>
                <a:moveTo>
                  <a:pt x="2233" y="214"/>
                </a:moveTo>
                <a:cubicBezTo>
                  <a:pt x="2228" y="214"/>
                  <a:pt x="2225" y="217"/>
                  <a:pt x="2225" y="220"/>
                </a:cubicBezTo>
                <a:cubicBezTo>
                  <a:pt x="2225" y="224"/>
                  <a:pt x="2228" y="227"/>
                  <a:pt x="2233" y="227"/>
                </a:cubicBezTo>
                <a:cubicBezTo>
                  <a:pt x="2237" y="227"/>
                  <a:pt x="2240" y="224"/>
                  <a:pt x="2240" y="220"/>
                </a:cubicBezTo>
                <a:cubicBezTo>
                  <a:pt x="2240" y="217"/>
                  <a:pt x="2237" y="214"/>
                  <a:pt x="2233" y="214"/>
                </a:cubicBezTo>
                <a:close/>
                <a:moveTo>
                  <a:pt x="2211" y="233"/>
                </a:moveTo>
                <a:cubicBezTo>
                  <a:pt x="2207" y="233"/>
                  <a:pt x="2203" y="236"/>
                  <a:pt x="2203" y="239"/>
                </a:cubicBezTo>
                <a:cubicBezTo>
                  <a:pt x="2203" y="243"/>
                  <a:pt x="2207" y="245"/>
                  <a:pt x="2211" y="245"/>
                </a:cubicBezTo>
                <a:cubicBezTo>
                  <a:pt x="2215" y="245"/>
                  <a:pt x="2218" y="243"/>
                  <a:pt x="2218" y="239"/>
                </a:cubicBezTo>
                <a:cubicBezTo>
                  <a:pt x="2218" y="236"/>
                  <a:pt x="2215" y="233"/>
                  <a:pt x="2211" y="233"/>
                </a:cubicBezTo>
                <a:close/>
                <a:moveTo>
                  <a:pt x="2233" y="233"/>
                </a:moveTo>
                <a:cubicBezTo>
                  <a:pt x="2228" y="233"/>
                  <a:pt x="2225" y="236"/>
                  <a:pt x="2225" y="239"/>
                </a:cubicBezTo>
                <a:cubicBezTo>
                  <a:pt x="2225" y="243"/>
                  <a:pt x="2228" y="245"/>
                  <a:pt x="2233" y="245"/>
                </a:cubicBezTo>
                <a:cubicBezTo>
                  <a:pt x="2237" y="245"/>
                  <a:pt x="2240" y="243"/>
                  <a:pt x="2240" y="239"/>
                </a:cubicBezTo>
                <a:cubicBezTo>
                  <a:pt x="2240" y="236"/>
                  <a:pt x="2237" y="233"/>
                  <a:pt x="2233" y="233"/>
                </a:cubicBezTo>
                <a:close/>
                <a:moveTo>
                  <a:pt x="2211" y="252"/>
                </a:moveTo>
                <a:cubicBezTo>
                  <a:pt x="2207" y="252"/>
                  <a:pt x="2203" y="255"/>
                  <a:pt x="2203" y="258"/>
                </a:cubicBezTo>
                <a:cubicBezTo>
                  <a:pt x="2203" y="262"/>
                  <a:pt x="2207" y="265"/>
                  <a:pt x="2211" y="265"/>
                </a:cubicBezTo>
                <a:cubicBezTo>
                  <a:pt x="2215" y="265"/>
                  <a:pt x="2218" y="262"/>
                  <a:pt x="2218" y="258"/>
                </a:cubicBezTo>
                <a:cubicBezTo>
                  <a:pt x="2218" y="255"/>
                  <a:pt x="2215" y="252"/>
                  <a:pt x="2211" y="252"/>
                </a:cubicBezTo>
                <a:close/>
                <a:moveTo>
                  <a:pt x="2233" y="252"/>
                </a:moveTo>
                <a:cubicBezTo>
                  <a:pt x="2228" y="252"/>
                  <a:pt x="2225" y="255"/>
                  <a:pt x="2225" y="258"/>
                </a:cubicBezTo>
                <a:cubicBezTo>
                  <a:pt x="2225" y="262"/>
                  <a:pt x="2228" y="265"/>
                  <a:pt x="2233" y="265"/>
                </a:cubicBezTo>
                <a:cubicBezTo>
                  <a:pt x="2237" y="265"/>
                  <a:pt x="2240" y="262"/>
                  <a:pt x="2240" y="258"/>
                </a:cubicBezTo>
                <a:cubicBezTo>
                  <a:pt x="2240" y="255"/>
                  <a:pt x="2237" y="252"/>
                  <a:pt x="2233" y="252"/>
                </a:cubicBezTo>
                <a:close/>
                <a:moveTo>
                  <a:pt x="2211" y="271"/>
                </a:moveTo>
                <a:cubicBezTo>
                  <a:pt x="2207" y="271"/>
                  <a:pt x="2203" y="274"/>
                  <a:pt x="2203" y="278"/>
                </a:cubicBezTo>
                <a:cubicBezTo>
                  <a:pt x="2203" y="282"/>
                  <a:pt x="2207" y="285"/>
                  <a:pt x="2211" y="285"/>
                </a:cubicBezTo>
                <a:cubicBezTo>
                  <a:pt x="2215" y="285"/>
                  <a:pt x="2218" y="282"/>
                  <a:pt x="2218" y="278"/>
                </a:cubicBezTo>
                <a:cubicBezTo>
                  <a:pt x="2218" y="274"/>
                  <a:pt x="2215" y="271"/>
                  <a:pt x="2211" y="271"/>
                </a:cubicBezTo>
                <a:close/>
                <a:moveTo>
                  <a:pt x="2233" y="271"/>
                </a:moveTo>
                <a:cubicBezTo>
                  <a:pt x="2228" y="271"/>
                  <a:pt x="2225" y="274"/>
                  <a:pt x="2225" y="278"/>
                </a:cubicBezTo>
                <a:cubicBezTo>
                  <a:pt x="2225" y="282"/>
                  <a:pt x="2228" y="285"/>
                  <a:pt x="2233" y="285"/>
                </a:cubicBezTo>
                <a:cubicBezTo>
                  <a:pt x="2237" y="285"/>
                  <a:pt x="2240" y="282"/>
                  <a:pt x="2240" y="278"/>
                </a:cubicBezTo>
                <a:cubicBezTo>
                  <a:pt x="2240" y="274"/>
                  <a:pt x="2237" y="271"/>
                  <a:pt x="2233" y="271"/>
                </a:cubicBezTo>
                <a:close/>
                <a:moveTo>
                  <a:pt x="2255" y="175"/>
                </a:moveTo>
                <a:cubicBezTo>
                  <a:pt x="2250" y="175"/>
                  <a:pt x="2247" y="178"/>
                  <a:pt x="2247" y="182"/>
                </a:cubicBezTo>
                <a:cubicBezTo>
                  <a:pt x="2247" y="185"/>
                  <a:pt x="2250" y="188"/>
                  <a:pt x="2255" y="188"/>
                </a:cubicBezTo>
                <a:cubicBezTo>
                  <a:pt x="2259" y="188"/>
                  <a:pt x="2262" y="185"/>
                  <a:pt x="2262" y="182"/>
                </a:cubicBezTo>
                <a:cubicBezTo>
                  <a:pt x="2262" y="178"/>
                  <a:pt x="2259" y="175"/>
                  <a:pt x="2255" y="175"/>
                </a:cubicBezTo>
                <a:close/>
                <a:moveTo>
                  <a:pt x="2278" y="175"/>
                </a:moveTo>
                <a:cubicBezTo>
                  <a:pt x="2274" y="175"/>
                  <a:pt x="2270" y="178"/>
                  <a:pt x="2270" y="182"/>
                </a:cubicBezTo>
                <a:cubicBezTo>
                  <a:pt x="2270" y="185"/>
                  <a:pt x="2274" y="188"/>
                  <a:pt x="2278" y="188"/>
                </a:cubicBezTo>
                <a:cubicBezTo>
                  <a:pt x="2282" y="188"/>
                  <a:pt x="2285" y="185"/>
                  <a:pt x="2285" y="182"/>
                </a:cubicBezTo>
                <a:cubicBezTo>
                  <a:pt x="2285" y="178"/>
                  <a:pt x="2282" y="175"/>
                  <a:pt x="2278" y="175"/>
                </a:cubicBezTo>
                <a:close/>
                <a:moveTo>
                  <a:pt x="2255" y="194"/>
                </a:moveTo>
                <a:cubicBezTo>
                  <a:pt x="2250" y="194"/>
                  <a:pt x="2247" y="197"/>
                  <a:pt x="2247" y="201"/>
                </a:cubicBezTo>
                <a:cubicBezTo>
                  <a:pt x="2247" y="205"/>
                  <a:pt x="2250" y="208"/>
                  <a:pt x="2255" y="208"/>
                </a:cubicBezTo>
                <a:cubicBezTo>
                  <a:pt x="2259" y="208"/>
                  <a:pt x="2262" y="205"/>
                  <a:pt x="2262" y="201"/>
                </a:cubicBezTo>
                <a:cubicBezTo>
                  <a:pt x="2262" y="197"/>
                  <a:pt x="2259" y="194"/>
                  <a:pt x="2255" y="194"/>
                </a:cubicBezTo>
                <a:close/>
                <a:moveTo>
                  <a:pt x="2278" y="194"/>
                </a:moveTo>
                <a:cubicBezTo>
                  <a:pt x="2274" y="194"/>
                  <a:pt x="2270" y="197"/>
                  <a:pt x="2270" y="201"/>
                </a:cubicBezTo>
                <a:cubicBezTo>
                  <a:pt x="2270" y="205"/>
                  <a:pt x="2274" y="208"/>
                  <a:pt x="2278" y="208"/>
                </a:cubicBezTo>
                <a:cubicBezTo>
                  <a:pt x="2282" y="208"/>
                  <a:pt x="2285" y="205"/>
                  <a:pt x="2285" y="201"/>
                </a:cubicBezTo>
                <a:cubicBezTo>
                  <a:pt x="2285" y="197"/>
                  <a:pt x="2282" y="194"/>
                  <a:pt x="2278" y="194"/>
                </a:cubicBezTo>
                <a:close/>
                <a:moveTo>
                  <a:pt x="2255" y="214"/>
                </a:moveTo>
                <a:cubicBezTo>
                  <a:pt x="2250" y="214"/>
                  <a:pt x="2247" y="217"/>
                  <a:pt x="2247" y="220"/>
                </a:cubicBezTo>
                <a:cubicBezTo>
                  <a:pt x="2247" y="224"/>
                  <a:pt x="2250" y="227"/>
                  <a:pt x="2255" y="227"/>
                </a:cubicBezTo>
                <a:cubicBezTo>
                  <a:pt x="2259" y="227"/>
                  <a:pt x="2262" y="224"/>
                  <a:pt x="2262" y="220"/>
                </a:cubicBezTo>
                <a:cubicBezTo>
                  <a:pt x="2262" y="217"/>
                  <a:pt x="2259" y="214"/>
                  <a:pt x="2255" y="214"/>
                </a:cubicBezTo>
                <a:close/>
                <a:moveTo>
                  <a:pt x="2278" y="214"/>
                </a:moveTo>
                <a:cubicBezTo>
                  <a:pt x="2274" y="214"/>
                  <a:pt x="2270" y="217"/>
                  <a:pt x="2270" y="220"/>
                </a:cubicBezTo>
                <a:cubicBezTo>
                  <a:pt x="2270" y="224"/>
                  <a:pt x="2274" y="227"/>
                  <a:pt x="2278" y="227"/>
                </a:cubicBezTo>
                <a:cubicBezTo>
                  <a:pt x="2282" y="227"/>
                  <a:pt x="2285" y="224"/>
                  <a:pt x="2285" y="220"/>
                </a:cubicBezTo>
                <a:cubicBezTo>
                  <a:pt x="2285" y="217"/>
                  <a:pt x="2282" y="214"/>
                  <a:pt x="2278" y="214"/>
                </a:cubicBezTo>
                <a:close/>
                <a:moveTo>
                  <a:pt x="2255" y="233"/>
                </a:moveTo>
                <a:cubicBezTo>
                  <a:pt x="2250" y="233"/>
                  <a:pt x="2247" y="236"/>
                  <a:pt x="2247" y="239"/>
                </a:cubicBezTo>
                <a:cubicBezTo>
                  <a:pt x="2247" y="243"/>
                  <a:pt x="2250" y="245"/>
                  <a:pt x="2255" y="245"/>
                </a:cubicBezTo>
                <a:cubicBezTo>
                  <a:pt x="2259" y="245"/>
                  <a:pt x="2262" y="243"/>
                  <a:pt x="2262" y="239"/>
                </a:cubicBezTo>
                <a:cubicBezTo>
                  <a:pt x="2262" y="236"/>
                  <a:pt x="2259" y="233"/>
                  <a:pt x="2255" y="233"/>
                </a:cubicBezTo>
                <a:close/>
                <a:moveTo>
                  <a:pt x="2278" y="233"/>
                </a:moveTo>
                <a:cubicBezTo>
                  <a:pt x="2274" y="233"/>
                  <a:pt x="2270" y="236"/>
                  <a:pt x="2270" y="239"/>
                </a:cubicBezTo>
                <a:cubicBezTo>
                  <a:pt x="2270" y="243"/>
                  <a:pt x="2274" y="245"/>
                  <a:pt x="2278" y="245"/>
                </a:cubicBezTo>
                <a:cubicBezTo>
                  <a:pt x="2282" y="245"/>
                  <a:pt x="2285" y="243"/>
                  <a:pt x="2285" y="239"/>
                </a:cubicBezTo>
                <a:cubicBezTo>
                  <a:pt x="2285" y="236"/>
                  <a:pt x="2282" y="233"/>
                  <a:pt x="2278" y="233"/>
                </a:cubicBezTo>
                <a:close/>
                <a:moveTo>
                  <a:pt x="2255" y="252"/>
                </a:moveTo>
                <a:cubicBezTo>
                  <a:pt x="2250" y="252"/>
                  <a:pt x="2247" y="255"/>
                  <a:pt x="2247" y="258"/>
                </a:cubicBezTo>
                <a:cubicBezTo>
                  <a:pt x="2247" y="262"/>
                  <a:pt x="2250" y="265"/>
                  <a:pt x="2255" y="265"/>
                </a:cubicBezTo>
                <a:cubicBezTo>
                  <a:pt x="2259" y="265"/>
                  <a:pt x="2262" y="262"/>
                  <a:pt x="2262" y="258"/>
                </a:cubicBezTo>
                <a:cubicBezTo>
                  <a:pt x="2262" y="255"/>
                  <a:pt x="2259" y="252"/>
                  <a:pt x="2255" y="252"/>
                </a:cubicBezTo>
                <a:close/>
                <a:moveTo>
                  <a:pt x="2278" y="252"/>
                </a:moveTo>
                <a:cubicBezTo>
                  <a:pt x="2274" y="252"/>
                  <a:pt x="2270" y="255"/>
                  <a:pt x="2270" y="258"/>
                </a:cubicBezTo>
                <a:cubicBezTo>
                  <a:pt x="2270" y="262"/>
                  <a:pt x="2274" y="265"/>
                  <a:pt x="2278" y="265"/>
                </a:cubicBezTo>
                <a:cubicBezTo>
                  <a:pt x="2282" y="265"/>
                  <a:pt x="2285" y="262"/>
                  <a:pt x="2285" y="258"/>
                </a:cubicBezTo>
                <a:cubicBezTo>
                  <a:pt x="2285" y="255"/>
                  <a:pt x="2282" y="252"/>
                  <a:pt x="2278" y="252"/>
                </a:cubicBezTo>
                <a:close/>
                <a:moveTo>
                  <a:pt x="2300" y="175"/>
                </a:moveTo>
                <a:cubicBezTo>
                  <a:pt x="2296" y="175"/>
                  <a:pt x="2293" y="178"/>
                  <a:pt x="2293" y="182"/>
                </a:cubicBezTo>
                <a:cubicBezTo>
                  <a:pt x="2293" y="185"/>
                  <a:pt x="2296" y="188"/>
                  <a:pt x="2300" y="188"/>
                </a:cubicBezTo>
                <a:cubicBezTo>
                  <a:pt x="2305" y="188"/>
                  <a:pt x="2308" y="185"/>
                  <a:pt x="2308" y="182"/>
                </a:cubicBezTo>
                <a:cubicBezTo>
                  <a:pt x="2308" y="178"/>
                  <a:pt x="2305" y="175"/>
                  <a:pt x="2300" y="175"/>
                </a:cubicBezTo>
                <a:close/>
                <a:moveTo>
                  <a:pt x="2322" y="175"/>
                </a:moveTo>
                <a:cubicBezTo>
                  <a:pt x="2318" y="175"/>
                  <a:pt x="2315" y="178"/>
                  <a:pt x="2315" y="182"/>
                </a:cubicBezTo>
                <a:cubicBezTo>
                  <a:pt x="2315" y="185"/>
                  <a:pt x="2318" y="188"/>
                  <a:pt x="2322" y="188"/>
                </a:cubicBezTo>
                <a:cubicBezTo>
                  <a:pt x="2327" y="188"/>
                  <a:pt x="2330" y="185"/>
                  <a:pt x="2330" y="182"/>
                </a:cubicBezTo>
                <a:cubicBezTo>
                  <a:pt x="2330" y="178"/>
                  <a:pt x="2327" y="175"/>
                  <a:pt x="2322" y="175"/>
                </a:cubicBezTo>
                <a:close/>
                <a:moveTo>
                  <a:pt x="2300" y="194"/>
                </a:moveTo>
                <a:cubicBezTo>
                  <a:pt x="2296" y="194"/>
                  <a:pt x="2293" y="197"/>
                  <a:pt x="2293" y="201"/>
                </a:cubicBezTo>
                <a:cubicBezTo>
                  <a:pt x="2293" y="205"/>
                  <a:pt x="2296" y="208"/>
                  <a:pt x="2300" y="208"/>
                </a:cubicBezTo>
                <a:cubicBezTo>
                  <a:pt x="2305" y="208"/>
                  <a:pt x="2308" y="205"/>
                  <a:pt x="2308" y="201"/>
                </a:cubicBezTo>
                <a:cubicBezTo>
                  <a:pt x="2308" y="197"/>
                  <a:pt x="2305" y="194"/>
                  <a:pt x="2300" y="194"/>
                </a:cubicBezTo>
                <a:close/>
                <a:moveTo>
                  <a:pt x="2322" y="194"/>
                </a:moveTo>
                <a:cubicBezTo>
                  <a:pt x="2318" y="194"/>
                  <a:pt x="2315" y="197"/>
                  <a:pt x="2315" y="201"/>
                </a:cubicBezTo>
                <a:cubicBezTo>
                  <a:pt x="2315" y="205"/>
                  <a:pt x="2318" y="208"/>
                  <a:pt x="2322" y="208"/>
                </a:cubicBezTo>
                <a:cubicBezTo>
                  <a:pt x="2327" y="208"/>
                  <a:pt x="2330" y="205"/>
                  <a:pt x="2330" y="201"/>
                </a:cubicBezTo>
                <a:cubicBezTo>
                  <a:pt x="2330" y="197"/>
                  <a:pt x="2327" y="194"/>
                  <a:pt x="2322" y="194"/>
                </a:cubicBezTo>
                <a:close/>
                <a:moveTo>
                  <a:pt x="2300" y="214"/>
                </a:moveTo>
                <a:cubicBezTo>
                  <a:pt x="2296" y="214"/>
                  <a:pt x="2293" y="217"/>
                  <a:pt x="2293" y="220"/>
                </a:cubicBezTo>
                <a:cubicBezTo>
                  <a:pt x="2293" y="224"/>
                  <a:pt x="2296" y="227"/>
                  <a:pt x="2300" y="227"/>
                </a:cubicBezTo>
                <a:cubicBezTo>
                  <a:pt x="2305" y="227"/>
                  <a:pt x="2308" y="224"/>
                  <a:pt x="2308" y="220"/>
                </a:cubicBezTo>
                <a:cubicBezTo>
                  <a:pt x="2308" y="217"/>
                  <a:pt x="2305" y="214"/>
                  <a:pt x="2300" y="214"/>
                </a:cubicBezTo>
                <a:close/>
                <a:moveTo>
                  <a:pt x="2322" y="214"/>
                </a:moveTo>
                <a:cubicBezTo>
                  <a:pt x="2318" y="214"/>
                  <a:pt x="2315" y="217"/>
                  <a:pt x="2315" y="220"/>
                </a:cubicBezTo>
                <a:cubicBezTo>
                  <a:pt x="2315" y="224"/>
                  <a:pt x="2318" y="227"/>
                  <a:pt x="2322" y="227"/>
                </a:cubicBezTo>
                <a:cubicBezTo>
                  <a:pt x="2327" y="227"/>
                  <a:pt x="2330" y="224"/>
                  <a:pt x="2330" y="220"/>
                </a:cubicBezTo>
                <a:cubicBezTo>
                  <a:pt x="2330" y="217"/>
                  <a:pt x="2327" y="214"/>
                  <a:pt x="2322" y="214"/>
                </a:cubicBezTo>
                <a:close/>
                <a:moveTo>
                  <a:pt x="2300" y="233"/>
                </a:moveTo>
                <a:cubicBezTo>
                  <a:pt x="2296" y="233"/>
                  <a:pt x="2293" y="236"/>
                  <a:pt x="2293" y="239"/>
                </a:cubicBezTo>
                <a:cubicBezTo>
                  <a:pt x="2293" y="243"/>
                  <a:pt x="2296" y="245"/>
                  <a:pt x="2300" y="245"/>
                </a:cubicBezTo>
                <a:cubicBezTo>
                  <a:pt x="2305" y="245"/>
                  <a:pt x="2308" y="243"/>
                  <a:pt x="2308" y="239"/>
                </a:cubicBezTo>
                <a:cubicBezTo>
                  <a:pt x="2308" y="236"/>
                  <a:pt x="2305" y="233"/>
                  <a:pt x="2300" y="233"/>
                </a:cubicBezTo>
                <a:close/>
                <a:moveTo>
                  <a:pt x="2344" y="194"/>
                </a:moveTo>
                <a:cubicBezTo>
                  <a:pt x="2340" y="194"/>
                  <a:pt x="2337" y="197"/>
                  <a:pt x="2337" y="201"/>
                </a:cubicBezTo>
                <a:cubicBezTo>
                  <a:pt x="2337" y="205"/>
                  <a:pt x="2340" y="208"/>
                  <a:pt x="2344" y="208"/>
                </a:cubicBezTo>
                <a:cubicBezTo>
                  <a:pt x="2349" y="208"/>
                  <a:pt x="2352" y="205"/>
                  <a:pt x="2352" y="201"/>
                </a:cubicBezTo>
                <a:cubicBezTo>
                  <a:pt x="2352" y="197"/>
                  <a:pt x="2349" y="194"/>
                  <a:pt x="2344" y="194"/>
                </a:cubicBezTo>
                <a:close/>
                <a:moveTo>
                  <a:pt x="2367" y="194"/>
                </a:moveTo>
                <a:cubicBezTo>
                  <a:pt x="2363" y="194"/>
                  <a:pt x="2360" y="197"/>
                  <a:pt x="2360" y="201"/>
                </a:cubicBezTo>
                <a:cubicBezTo>
                  <a:pt x="2360" y="205"/>
                  <a:pt x="2363" y="208"/>
                  <a:pt x="2367" y="208"/>
                </a:cubicBezTo>
                <a:cubicBezTo>
                  <a:pt x="2371" y="208"/>
                  <a:pt x="2375" y="205"/>
                  <a:pt x="2375" y="201"/>
                </a:cubicBezTo>
                <a:cubicBezTo>
                  <a:pt x="2375" y="197"/>
                  <a:pt x="2371" y="194"/>
                  <a:pt x="2367" y="194"/>
                </a:cubicBezTo>
                <a:close/>
                <a:moveTo>
                  <a:pt x="2344" y="214"/>
                </a:moveTo>
                <a:cubicBezTo>
                  <a:pt x="2340" y="214"/>
                  <a:pt x="2337" y="217"/>
                  <a:pt x="2337" y="220"/>
                </a:cubicBezTo>
                <a:cubicBezTo>
                  <a:pt x="2337" y="224"/>
                  <a:pt x="2340" y="227"/>
                  <a:pt x="2344" y="227"/>
                </a:cubicBezTo>
                <a:cubicBezTo>
                  <a:pt x="2349" y="227"/>
                  <a:pt x="2352" y="224"/>
                  <a:pt x="2352" y="220"/>
                </a:cubicBezTo>
                <a:cubicBezTo>
                  <a:pt x="2352" y="217"/>
                  <a:pt x="2349" y="214"/>
                  <a:pt x="2344" y="214"/>
                </a:cubicBezTo>
                <a:close/>
                <a:moveTo>
                  <a:pt x="2367" y="214"/>
                </a:moveTo>
                <a:cubicBezTo>
                  <a:pt x="2363" y="214"/>
                  <a:pt x="2360" y="217"/>
                  <a:pt x="2360" y="220"/>
                </a:cubicBezTo>
                <a:cubicBezTo>
                  <a:pt x="2360" y="224"/>
                  <a:pt x="2363" y="227"/>
                  <a:pt x="2367" y="227"/>
                </a:cubicBezTo>
                <a:cubicBezTo>
                  <a:pt x="2371" y="227"/>
                  <a:pt x="2375" y="224"/>
                  <a:pt x="2375" y="220"/>
                </a:cubicBezTo>
                <a:cubicBezTo>
                  <a:pt x="2375" y="217"/>
                  <a:pt x="2371" y="214"/>
                  <a:pt x="2367" y="214"/>
                </a:cubicBezTo>
                <a:close/>
                <a:moveTo>
                  <a:pt x="2389" y="214"/>
                </a:moveTo>
                <a:cubicBezTo>
                  <a:pt x="2385" y="214"/>
                  <a:pt x="2381" y="217"/>
                  <a:pt x="2381" y="220"/>
                </a:cubicBezTo>
                <a:cubicBezTo>
                  <a:pt x="2381" y="224"/>
                  <a:pt x="2385" y="227"/>
                  <a:pt x="2389" y="227"/>
                </a:cubicBezTo>
                <a:cubicBezTo>
                  <a:pt x="2393" y="227"/>
                  <a:pt x="2397" y="224"/>
                  <a:pt x="2397" y="220"/>
                </a:cubicBezTo>
                <a:cubicBezTo>
                  <a:pt x="2397" y="217"/>
                  <a:pt x="2393" y="214"/>
                  <a:pt x="2389" y="214"/>
                </a:cubicBezTo>
                <a:close/>
                <a:moveTo>
                  <a:pt x="1966" y="290"/>
                </a:moveTo>
                <a:cubicBezTo>
                  <a:pt x="1962" y="290"/>
                  <a:pt x="1959" y="293"/>
                  <a:pt x="1959" y="296"/>
                </a:cubicBezTo>
                <a:cubicBezTo>
                  <a:pt x="1959" y="300"/>
                  <a:pt x="1962" y="303"/>
                  <a:pt x="1966" y="303"/>
                </a:cubicBezTo>
                <a:cubicBezTo>
                  <a:pt x="1970" y="303"/>
                  <a:pt x="1974" y="300"/>
                  <a:pt x="1974" y="296"/>
                </a:cubicBezTo>
                <a:cubicBezTo>
                  <a:pt x="1974" y="293"/>
                  <a:pt x="1970" y="290"/>
                  <a:pt x="1966" y="290"/>
                </a:cubicBezTo>
                <a:close/>
                <a:moveTo>
                  <a:pt x="1966" y="309"/>
                </a:moveTo>
                <a:cubicBezTo>
                  <a:pt x="1962" y="309"/>
                  <a:pt x="1959" y="312"/>
                  <a:pt x="1959" y="316"/>
                </a:cubicBezTo>
                <a:cubicBezTo>
                  <a:pt x="1959" y="320"/>
                  <a:pt x="1962" y="323"/>
                  <a:pt x="1966" y="323"/>
                </a:cubicBezTo>
                <a:cubicBezTo>
                  <a:pt x="1970" y="323"/>
                  <a:pt x="1974" y="320"/>
                  <a:pt x="1974" y="316"/>
                </a:cubicBezTo>
                <a:cubicBezTo>
                  <a:pt x="1974" y="312"/>
                  <a:pt x="1970" y="309"/>
                  <a:pt x="1966" y="309"/>
                </a:cubicBezTo>
                <a:close/>
                <a:moveTo>
                  <a:pt x="1966" y="329"/>
                </a:moveTo>
                <a:cubicBezTo>
                  <a:pt x="1962" y="329"/>
                  <a:pt x="1959" y="332"/>
                  <a:pt x="1959" y="335"/>
                </a:cubicBezTo>
                <a:cubicBezTo>
                  <a:pt x="1959" y="339"/>
                  <a:pt x="1962" y="342"/>
                  <a:pt x="1966" y="342"/>
                </a:cubicBezTo>
                <a:cubicBezTo>
                  <a:pt x="1970" y="342"/>
                  <a:pt x="1974" y="339"/>
                  <a:pt x="1974" y="335"/>
                </a:cubicBezTo>
                <a:cubicBezTo>
                  <a:pt x="1974" y="332"/>
                  <a:pt x="1970" y="329"/>
                  <a:pt x="1966" y="329"/>
                </a:cubicBezTo>
                <a:close/>
                <a:moveTo>
                  <a:pt x="1966" y="348"/>
                </a:moveTo>
                <a:cubicBezTo>
                  <a:pt x="1962" y="348"/>
                  <a:pt x="1959" y="351"/>
                  <a:pt x="1959" y="355"/>
                </a:cubicBezTo>
                <a:cubicBezTo>
                  <a:pt x="1959" y="359"/>
                  <a:pt x="1962" y="362"/>
                  <a:pt x="1966" y="362"/>
                </a:cubicBezTo>
                <a:cubicBezTo>
                  <a:pt x="1970" y="362"/>
                  <a:pt x="1974" y="359"/>
                  <a:pt x="1974" y="355"/>
                </a:cubicBezTo>
                <a:cubicBezTo>
                  <a:pt x="1974" y="351"/>
                  <a:pt x="1970" y="348"/>
                  <a:pt x="1966" y="348"/>
                </a:cubicBezTo>
                <a:close/>
                <a:moveTo>
                  <a:pt x="1966" y="368"/>
                </a:moveTo>
                <a:cubicBezTo>
                  <a:pt x="1962" y="368"/>
                  <a:pt x="1959" y="371"/>
                  <a:pt x="1959" y="374"/>
                </a:cubicBezTo>
                <a:cubicBezTo>
                  <a:pt x="1959" y="378"/>
                  <a:pt x="1962" y="381"/>
                  <a:pt x="1966" y="381"/>
                </a:cubicBezTo>
                <a:cubicBezTo>
                  <a:pt x="1970" y="381"/>
                  <a:pt x="1974" y="378"/>
                  <a:pt x="1974" y="374"/>
                </a:cubicBezTo>
                <a:cubicBezTo>
                  <a:pt x="1974" y="371"/>
                  <a:pt x="1970" y="368"/>
                  <a:pt x="1966" y="368"/>
                </a:cubicBezTo>
                <a:close/>
                <a:moveTo>
                  <a:pt x="1966" y="387"/>
                </a:moveTo>
                <a:cubicBezTo>
                  <a:pt x="1962" y="387"/>
                  <a:pt x="1959" y="390"/>
                  <a:pt x="1959" y="393"/>
                </a:cubicBezTo>
                <a:cubicBezTo>
                  <a:pt x="1959" y="397"/>
                  <a:pt x="1962" y="400"/>
                  <a:pt x="1966" y="400"/>
                </a:cubicBezTo>
                <a:cubicBezTo>
                  <a:pt x="1970" y="400"/>
                  <a:pt x="1974" y="397"/>
                  <a:pt x="1974" y="393"/>
                </a:cubicBezTo>
                <a:cubicBezTo>
                  <a:pt x="1974" y="390"/>
                  <a:pt x="1970" y="387"/>
                  <a:pt x="1966" y="387"/>
                </a:cubicBezTo>
                <a:close/>
                <a:moveTo>
                  <a:pt x="1966" y="406"/>
                </a:moveTo>
                <a:cubicBezTo>
                  <a:pt x="1962" y="406"/>
                  <a:pt x="1959" y="409"/>
                  <a:pt x="1959" y="413"/>
                </a:cubicBezTo>
                <a:cubicBezTo>
                  <a:pt x="1959" y="416"/>
                  <a:pt x="1962" y="419"/>
                  <a:pt x="1966" y="419"/>
                </a:cubicBezTo>
                <a:cubicBezTo>
                  <a:pt x="1970" y="419"/>
                  <a:pt x="1974" y="416"/>
                  <a:pt x="1974" y="413"/>
                </a:cubicBezTo>
                <a:cubicBezTo>
                  <a:pt x="1974" y="409"/>
                  <a:pt x="1970" y="406"/>
                  <a:pt x="1966" y="406"/>
                </a:cubicBezTo>
                <a:close/>
                <a:moveTo>
                  <a:pt x="1966" y="425"/>
                </a:moveTo>
                <a:cubicBezTo>
                  <a:pt x="1962" y="425"/>
                  <a:pt x="1959" y="428"/>
                  <a:pt x="1959" y="432"/>
                </a:cubicBezTo>
                <a:cubicBezTo>
                  <a:pt x="1959" y="435"/>
                  <a:pt x="1962" y="438"/>
                  <a:pt x="1966" y="438"/>
                </a:cubicBezTo>
                <a:cubicBezTo>
                  <a:pt x="1970" y="438"/>
                  <a:pt x="1974" y="435"/>
                  <a:pt x="1974" y="432"/>
                </a:cubicBezTo>
                <a:cubicBezTo>
                  <a:pt x="1974" y="428"/>
                  <a:pt x="1970" y="425"/>
                  <a:pt x="1966" y="425"/>
                </a:cubicBezTo>
                <a:close/>
                <a:moveTo>
                  <a:pt x="1988" y="290"/>
                </a:moveTo>
                <a:cubicBezTo>
                  <a:pt x="1984" y="290"/>
                  <a:pt x="1981" y="293"/>
                  <a:pt x="1981" y="296"/>
                </a:cubicBezTo>
                <a:cubicBezTo>
                  <a:pt x="1981" y="300"/>
                  <a:pt x="1984" y="303"/>
                  <a:pt x="1988" y="303"/>
                </a:cubicBezTo>
                <a:cubicBezTo>
                  <a:pt x="1993" y="303"/>
                  <a:pt x="1996" y="300"/>
                  <a:pt x="1996" y="296"/>
                </a:cubicBezTo>
                <a:cubicBezTo>
                  <a:pt x="1996" y="293"/>
                  <a:pt x="1993" y="290"/>
                  <a:pt x="1988" y="290"/>
                </a:cubicBezTo>
                <a:close/>
                <a:moveTo>
                  <a:pt x="2011" y="290"/>
                </a:moveTo>
                <a:cubicBezTo>
                  <a:pt x="2007" y="290"/>
                  <a:pt x="2004" y="293"/>
                  <a:pt x="2004" y="296"/>
                </a:cubicBezTo>
                <a:cubicBezTo>
                  <a:pt x="2004" y="300"/>
                  <a:pt x="2007" y="303"/>
                  <a:pt x="2011" y="303"/>
                </a:cubicBezTo>
                <a:cubicBezTo>
                  <a:pt x="2016" y="303"/>
                  <a:pt x="2019" y="300"/>
                  <a:pt x="2019" y="296"/>
                </a:cubicBezTo>
                <a:cubicBezTo>
                  <a:pt x="2019" y="293"/>
                  <a:pt x="2016" y="290"/>
                  <a:pt x="2011" y="290"/>
                </a:cubicBezTo>
                <a:close/>
                <a:moveTo>
                  <a:pt x="1988" y="309"/>
                </a:moveTo>
                <a:cubicBezTo>
                  <a:pt x="1984" y="309"/>
                  <a:pt x="1981" y="312"/>
                  <a:pt x="1981" y="316"/>
                </a:cubicBezTo>
                <a:cubicBezTo>
                  <a:pt x="1981" y="320"/>
                  <a:pt x="1984" y="323"/>
                  <a:pt x="1988" y="323"/>
                </a:cubicBezTo>
                <a:cubicBezTo>
                  <a:pt x="1993" y="323"/>
                  <a:pt x="1996" y="320"/>
                  <a:pt x="1996" y="316"/>
                </a:cubicBezTo>
                <a:cubicBezTo>
                  <a:pt x="1996" y="312"/>
                  <a:pt x="1993" y="309"/>
                  <a:pt x="1988" y="309"/>
                </a:cubicBezTo>
                <a:close/>
                <a:moveTo>
                  <a:pt x="2011" y="309"/>
                </a:moveTo>
                <a:cubicBezTo>
                  <a:pt x="2007" y="309"/>
                  <a:pt x="2004" y="312"/>
                  <a:pt x="2004" y="316"/>
                </a:cubicBezTo>
                <a:cubicBezTo>
                  <a:pt x="2004" y="320"/>
                  <a:pt x="2007" y="323"/>
                  <a:pt x="2011" y="323"/>
                </a:cubicBezTo>
                <a:cubicBezTo>
                  <a:pt x="2016" y="323"/>
                  <a:pt x="2019" y="320"/>
                  <a:pt x="2019" y="316"/>
                </a:cubicBezTo>
                <a:cubicBezTo>
                  <a:pt x="2019" y="312"/>
                  <a:pt x="2016" y="309"/>
                  <a:pt x="2011" y="309"/>
                </a:cubicBezTo>
                <a:close/>
                <a:moveTo>
                  <a:pt x="1988" y="329"/>
                </a:moveTo>
                <a:cubicBezTo>
                  <a:pt x="1984" y="329"/>
                  <a:pt x="1981" y="332"/>
                  <a:pt x="1981" y="335"/>
                </a:cubicBezTo>
                <a:cubicBezTo>
                  <a:pt x="1981" y="339"/>
                  <a:pt x="1984" y="342"/>
                  <a:pt x="1988" y="342"/>
                </a:cubicBezTo>
                <a:cubicBezTo>
                  <a:pt x="1993" y="342"/>
                  <a:pt x="1996" y="339"/>
                  <a:pt x="1996" y="335"/>
                </a:cubicBezTo>
                <a:cubicBezTo>
                  <a:pt x="1996" y="332"/>
                  <a:pt x="1993" y="329"/>
                  <a:pt x="1988" y="329"/>
                </a:cubicBezTo>
                <a:close/>
                <a:moveTo>
                  <a:pt x="2011" y="329"/>
                </a:moveTo>
                <a:cubicBezTo>
                  <a:pt x="2007" y="329"/>
                  <a:pt x="2004" y="332"/>
                  <a:pt x="2004" y="335"/>
                </a:cubicBezTo>
                <a:cubicBezTo>
                  <a:pt x="2004" y="339"/>
                  <a:pt x="2007" y="342"/>
                  <a:pt x="2011" y="342"/>
                </a:cubicBezTo>
                <a:cubicBezTo>
                  <a:pt x="2016" y="342"/>
                  <a:pt x="2019" y="339"/>
                  <a:pt x="2019" y="335"/>
                </a:cubicBezTo>
                <a:cubicBezTo>
                  <a:pt x="2019" y="332"/>
                  <a:pt x="2016" y="329"/>
                  <a:pt x="2011" y="329"/>
                </a:cubicBezTo>
                <a:close/>
                <a:moveTo>
                  <a:pt x="1988" y="348"/>
                </a:moveTo>
                <a:cubicBezTo>
                  <a:pt x="1984" y="348"/>
                  <a:pt x="1981" y="351"/>
                  <a:pt x="1981" y="355"/>
                </a:cubicBezTo>
                <a:cubicBezTo>
                  <a:pt x="1981" y="359"/>
                  <a:pt x="1984" y="362"/>
                  <a:pt x="1988" y="362"/>
                </a:cubicBezTo>
                <a:cubicBezTo>
                  <a:pt x="1993" y="362"/>
                  <a:pt x="1996" y="359"/>
                  <a:pt x="1996" y="355"/>
                </a:cubicBezTo>
                <a:cubicBezTo>
                  <a:pt x="1996" y="351"/>
                  <a:pt x="1993" y="348"/>
                  <a:pt x="1988" y="348"/>
                </a:cubicBezTo>
                <a:close/>
                <a:moveTo>
                  <a:pt x="2011" y="348"/>
                </a:moveTo>
                <a:cubicBezTo>
                  <a:pt x="2007" y="348"/>
                  <a:pt x="2004" y="351"/>
                  <a:pt x="2004" y="355"/>
                </a:cubicBezTo>
                <a:cubicBezTo>
                  <a:pt x="2004" y="359"/>
                  <a:pt x="2007" y="362"/>
                  <a:pt x="2011" y="362"/>
                </a:cubicBezTo>
                <a:cubicBezTo>
                  <a:pt x="2016" y="362"/>
                  <a:pt x="2019" y="359"/>
                  <a:pt x="2019" y="355"/>
                </a:cubicBezTo>
                <a:cubicBezTo>
                  <a:pt x="2019" y="351"/>
                  <a:pt x="2016" y="348"/>
                  <a:pt x="2011" y="348"/>
                </a:cubicBezTo>
                <a:close/>
                <a:moveTo>
                  <a:pt x="1988" y="368"/>
                </a:moveTo>
                <a:cubicBezTo>
                  <a:pt x="1984" y="368"/>
                  <a:pt x="1981" y="371"/>
                  <a:pt x="1981" y="374"/>
                </a:cubicBezTo>
                <a:cubicBezTo>
                  <a:pt x="1981" y="378"/>
                  <a:pt x="1984" y="381"/>
                  <a:pt x="1988" y="381"/>
                </a:cubicBezTo>
                <a:cubicBezTo>
                  <a:pt x="1993" y="381"/>
                  <a:pt x="1996" y="378"/>
                  <a:pt x="1996" y="374"/>
                </a:cubicBezTo>
                <a:cubicBezTo>
                  <a:pt x="1996" y="371"/>
                  <a:pt x="1993" y="368"/>
                  <a:pt x="1988" y="368"/>
                </a:cubicBezTo>
                <a:close/>
                <a:moveTo>
                  <a:pt x="2011" y="368"/>
                </a:moveTo>
                <a:cubicBezTo>
                  <a:pt x="2007" y="368"/>
                  <a:pt x="2004" y="371"/>
                  <a:pt x="2004" y="374"/>
                </a:cubicBezTo>
                <a:cubicBezTo>
                  <a:pt x="2004" y="378"/>
                  <a:pt x="2007" y="381"/>
                  <a:pt x="2011" y="381"/>
                </a:cubicBezTo>
                <a:cubicBezTo>
                  <a:pt x="2016" y="381"/>
                  <a:pt x="2019" y="378"/>
                  <a:pt x="2019" y="374"/>
                </a:cubicBezTo>
                <a:cubicBezTo>
                  <a:pt x="2019" y="371"/>
                  <a:pt x="2016" y="368"/>
                  <a:pt x="2011" y="368"/>
                </a:cubicBezTo>
                <a:close/>
                <a:moveTo>
                  <a:pt x="1988" y="387"/>
                </a:moveTo>
                <a:cubicBezTo>
                  <a:pt x="1984" y="387"/>
                  <a:pt x="1981" y="390"/>
                  <a:pt x="1981" y="393"/>
                </a:cubicBezTo>
                <a:cubicBezTo>
                  <a:pt x="1981" y="397"/>
                  <a:pt x="1984" y="400"/>
                  <a:pt x="1988" y="400"/>
                </a:cubicBezTo>
                <a:cubicBezTo>
                  <a:pt x="1993" y="400"/>
                  <a:pt x="1996" y="397"/>
                  <a:pt x="1996" y="393"/>
                </a:cubicBezTo>
                <a:cubicBezTo>
                  <a:pt x="1996" y="390"/>
                  <a:pt x="1993" y="387"/>
                  <a:pt x="1988" y="387"/>
                </a:cubicBezTo>
                <a:close/>
                <a:moveTo>
                  <a:pt x="2011" y="387"/>
                </a:moveTo>
                <a:cubicBezTo>
                  <a:pt x="2007" y="387"/>
                  <a:pt x="2004" y="390"/>
                  <a:pt x="2004" y="393"/>
                </a:cubicBezTo>
                <a:cubicBezTo>
                  <a:pt x="2004" y="397"/>
                  <a:pt x="2007" y="400"/>
                  <a:pt x="2011" y="400"/>
                </a:cubicBezTo>
                <a:cubicBezTo>
                  <a:pt x="2016" y="400"/>
                  <a:pt x="2019" y="397"/>
                  <a:pt x="2019" y="393"/>
                </a:cubicBezTo>
                <a:cubicBezTo>
                  <a:pt x="2019" y="390"/>
                  <a:pt x="2016" y="387"/>
                  <a:pt x="2011" y="387"/>
                </a:cubicBezTo>
                <a:close/>
                <a:moveTo>
                  <a:pt x="1988" y="406"/>
                </a:moveTo>
                <a:cubicBezTo>
                  <a:pt x="1984" y="406"/>
                  <a:pt x="1981" y="409"/>
                  <a:pt x="1981" y="413"/>
                </a:cubicBezTo>
                <a:cubicBezTo>
                  <a:pt x="1981" y="416"/>
                  <a:pt x="1984" y="419"/>
                  <a:pt x="1988" y="419"/>
                </a:cubicBezTo>
                <a:cubicBezTo>
                  <a:pt x="1993" y="419"/>
                  <a:pt x="1996" y="416"/>
                  <a:pt x="1996" y="413"/>
                </a:cubicBezTo>
                <a:cubicBezTo>
                  <a:pt x="1996" y="409"/>
                  <a:pt x="1993" y="406"/>
                  <a:pt x="1988" y="406"/>
                </a:cubicBezTo>
                <a:close/>
                <a:moveTo>
                  <a:pt x="2011" y="406"/>
                </a:moveTo>
                <a:cubicBezTo>
                  <a:pt x="2007" y="406"/>
                  <a:pt x="2004" y="409"/>
                  <a:pt x="2004" y="413"/>
                </a:cubicBezTo>
                <a:cubicBezTo>
                  <a:pt x="2004" y="416"/>
                  <a:pt x="2007" y="419"/>
                  <a:pt x="2011" y="419"/>
                </a:cubicBezTo>
                <a:cubicBezTo>
                  <a:pt x="2016" y="419"/>
                  <a:pt x="2019" y="416"/>
                  <a:pt x="2019" y="413"/>
                </a:cubicBezTo>
                <a:cubicBezTo>
                  <a:pt x="2019" y="409"/>
                  <a:pt x="2016" y="406"/>
                  <a:pt x="2011" y="406"/>
                </a:cubicBezTo>
                <a:close/>
                <a:moveTo>
                  <a:pt x="1988" y="425"/>
                </a:moveTo>
                <a:cubicBezTo>
                  <a:pt x="1984" y="425"/>
                  <a:pt x="1981" y="428"/>
                  <a:pt x="1981" y="432"/>
                </a:cubicBezTo>
                <a:cubicBezTo>
                  <a:pt x="1981" y="435"/>
                  <a:pt x="1984" y="438"/>
                  <a:pt x="1988" y="438"/>
                </a:cubicBezTo>
                <a:cubicBezTo>
                  <a:pt x="1993" y="438"/>
                  <a:pt x="1996" y="435"/>
                  <a:pt x="1996" y="432"/>
                </a:cubicBezTo>
                <a:cubicBezTo>
                  <a:pt x="1996" y="428"/>
                  <a:pt x="1993" y="425"/>
                  <a:pt x="1988" y="425"/>
                </a:cubicBezTo>
                <a:close/>
                <a:moveTo>
                  <a:pt x="2033" y="290"/>
                </a:moveTo>
                <a:cubicBezTo>
                  <a:pt x="2029" y="290"/>
                  <a:pt x="2025" y="293"/>
                  <a:pt x="2025" y="296"/>
                </a:cubicBezTo>
                <a:cubicBezTo>
                  <a:pt x="2025" y="300"/>
                  <a:pt x="2029" y="303"/>
                  <a:pt x="2033" y="303"/>
                </a:cubicBezTo>
                <a:cubicBezTo>
                  <a:pt x="2037" y="303"/>
                  <a:pt x="2041" y="300"/>
                  <a:pt x="2041" y="296"/>
                </a:cubicBezTo>
                <a:cubicBezTo>
                  <a:pt x="2041" y="293"/>
                  <a:pt x="2037" y="290"/>
                  <a:pt x="2033" y="290"/>
                </a:cubicBezTo>
                <a:close/>
                <a:moveTo>
                  <a:pt x="2055" y="290"/>
                </a:moveTo>
                <a:cubicBezTo>
                  <a:pt x="2051" y="290"/>
                  <a:pt x="2047" y="293"/>
                  <a:pt x="2047" y="296"/>
                </a:cubicBezTo>
                <a:cubicBezTo>
                  <a:pt x="2047" y="300"/>
                  <a:pt x="2051" y="303"/>
                  <a:pt x="2055" y="303"/>
                </a:cubicBezTo>
                <a:cubicBezTo>
                  <a:pt x="2059" y="303"/>
                  <a:pt x="2063" y="300"/>
                  <a:pt x="2063" y="296"/>
                </a:cubicBezTo>
                <a:cubicBezTo>
                  <a:pt x="2063" y="293"/>
                  <a:pt x="2059" y="290"/>
                  <a:pt x="2055" y="290"/>
                </a:cubicBezTo>
                <a:close/>
                <a:moveTo>
                  <a:pt x="2033" y="309"/>
                </a:moveTo>
                <a:cubicBezTo>
                  <a:pt x="2029" y="309"/>
                  <a:pt x="2025" y="312"/>
                  <a:pt x="2025" y="316"/>
                </a:cubicBezTo>
                <a:cubicBezTo>
                  <a:pt x="2025" y="320"/>
                  <a:pt x="2029" y="323"/>
                  <a:pt x="2033" y="323"/>
                </a:cubicBezTo>
                <a:cubicBezTo>
                  <a:pt x="2037" y="323"/>
                  <a:pt x="2041" y="320"/>
                  <a:pt x="2041" y="316"/>
                </a:cubicBezTo>
                <a:cubicBezTo>
                  <a:pt x="2041" y="312"/>
                  <a:pt x="2037" y="309"/>
                  <a:pt x="2033" y="309"/>
                </a:cubicBezTo>
                <a:close/>
                <a:moveTo>
                  <a:pt x="2033" y="329"/>
                </a:moveTo>
                <a:cubicBezTo>
                  <a:pt x="2029" y="329"/>
                  <a:pt x="2025" y="332"/>
                  <a:pt x="2025" y="335"/>
                </a:cubicBezTo>
                <a:cubicBezTo>
                  <a:pt x="2025" y="339"/>
                  <a:pt x="2029" y="342"/>
                  <a:pt x="2033" y="342"/>
                </a:cubicBezTo>
                <a:cubicBezTo>
                  <a:pt x="2037" y="342"/>
                  <a:pt x="2041" y="339"/>
                  <a:pt x="2041" y="335"/>
                </a:cubicBezTo>
                <a:cubicBezTo>
                  <a:pt x="2041" y="332"/>
                  <a:pt x="2037" y="329"/>
                  <a:pt x="2033" y="329"/>
                </a:cubicBezTo>
                <a:close/>
                <a:moveTo>
                  <a:pt x="2055" y="329"/>
                </a:moveTo>
                <a:cubicBezTo>
                  <a:pt x="2051" y="329"/>
                  <a:pt x="2047" y="332"/>
                  <a:pt x="2047" y="335"/>
                </a:cubicBezTo>
                <a:cubicBezTo>
                  <a:pt x="2047" y="339"/>
                  <a:pt x="2051" y="342"/>
                  <a:pt x="2055" y="342"/>
                </a:cubicBezTo>
                <a:cubicBezTo>
                  <a:pt x="2059" y="342"/>
                  <a:pt x="2063" y="339"/>
                  <a:pt x="2063" y="335"/>
                </a:cubicBezTo>
                <a:cubicBezTo>
                  <a:pt x="2063" y="332"/>
                  <a:pt x="2059" y="329"/>
                  <a:pt x="2055" y="329"/>
                </a:cubicBezTo>
                <a:close/>
                <a:moveTo>
                  <a:pt x="2033" y="348"/>
                </a:moveTo>
                <a:cubicBezTo>
                  <a:pt x="2029" y="348"/>
                  <a:pt x="2025" y="351"/>
                  <a:pt x="2025" y="355"/>
                </a:cubicBezTo>
                <a:cubicBezTo>
                  <a:pt x="2025" y="359"/>
                  <a:pt x="2029" y="362"/>
                  <a:pt x="2033" y="362"/>
                </a:cubicBezTo>
                <a:cubicBezTo>
                  <a:pt x="2037" y="362"/>
                  <a:pt x="2041" y="359"/>
                  <a:pt x="2041" y="355"/>
                </a:cubicBezTo>
                <a:cubicBezTo>
                  <a:pt x="2041" y="351"/>
                  <a:pt x="2037" y="348"/>
                  <a:pt x="2033" y="348"/>
                </a:cubicBezTo>
                <a:close/>
                <a:moveTo>
                  <a:pt x="2055" y="348"/>
                </a:moveTo>
                <a:cubicBezTo>
                  <a:pt x="2051" y="348"/>
                  <a:pt x="2047" y="351"/>
                  <a:pt x="2047" y="355"/>
                </a:cubicBezTo>
                <a:cubicBezTo>
                  <a:pt x="2047" y="359"/>
                  <a:pt x="2051" y="362"/>
                  <a:pt x="2055" y="362"/>
                </a:cubicBezTo>
                <a:cubicBezTo>
                  <a:pt x="2059" y="362"/>
                  <a:pt x="2063" y="359"/>
                  <a:pt x="2063" y="355"/>
                </a:cubicBezTo>
                <a:cubicBezTo>
                  <a:pt x="2063" y="351"/>
                  <a:pt x="2059" y="348"/>
                  <a:pt x="2055" y="348"/>
                </a:cubicBezTo>
                <a:close/>
                <a:moveTo>
                  <a:pt x="2033" y="368"/>
                </a:moveTo>
                <a:cubicBezTo>
                  <a:pt x="2029" y="368"/>
                  <a:pt x="2025" y="371"/>
                  <a:pt x="2025" y="374"/>
                </a:cubicBezTo>
                <a:cubicBezTo>
                  <a:pt x="2025" y="378"/>
                  <a:pt x="2029" y="381"/>
                  <a:pt x="2033" y="381"/>
                </a:cubicBezTo>
                <a:cubicBezTo>
                  <a:pt x="2037" y="381"/>
                  <a:pt x="2041" y="378"/>
                  <a:pt x="2041" y="374"/>
                </a:cubicBezTo>
                <a:cubicBezTo>
                  <a:pt x="2041" y="371"/>
                  <a:pt x="2037" y="368"/>
                  <a:pt x="2033" y="368"/>
                </a:cubicBezTo>
                <a:close/>
                <a:moveTo>
                  <a:pt x="2055" y="368"/>
                </a:moveTo>
                <a:cubicBezTo>
                  <a:pt x="2051" y="368"/>
                  <a:pt x="2047" y="371"/>
                  <a:pt x="2047" y="374"/>
                </a:cubicBezTo>
                <a:cubicBezTo>
                  <a:pt x="2047" y="378"/>
                  <a:pt x="2051" y="381"/>
                  <a:pt x="2055" y="381"/>
                </a:cubicBezTo>
                <a:cubicBezTo>
                  <a:pt x="2059" y="381"/>
                  <a:pt x="2063" y="378"/>
                  <a:pt x="2063" y="374"/>
                </a:cubicBezTo>
                <a:cubicBezTo>
                  <a:pt x="2063" y="371"/>
                  <a:pt x="2059" y="368"/>
                  <a:pt x="2055" y="368"/>
                </a:cubicBezTo>
                <a:close/>
                <a:moveTo>
                  <a:pt x="2033" y="387"/>
                </a:moveTo>
                <a:cubicBezTo>
                  <a:pt x="2029" y="387"/>
                  <a:pt x="2025" y="390"/>
                  <a:pt x="2025" y="393"/>
                </a:cubicBezTo>
                <a:cubicBezTo>
                  <a:pt x="2025" y="397"/>
                  <a:pt x="2029" y="400"/>
                  <a:pt x="2033" y="400"/>
                </a:cubicBezTo>
                <a:cubicBezTo>
                  <a:pt x="2037" y="400"/>
                  <a:pt x="2041" y="397"/>
                  <a:pt x="2041" y="393"/>
                </a:cubicBezTo>
                <a:cubicBezTo>
                  <a:pt x="2041" y="390"/>
                  <a:pt x="2037" y="387"/>
                  <a:pt x="2033" y="387"/>
                </a:cubicBezTo>
                <a:close/>
                <a:moveTo>
                  <a:pt x="2033" y="406"/>
                </a:moveTo>
                <a:cubicBezTo>
                  <a:pt x="2029" y="406"/>
                  <a:pt x="2025" y="409"/>
                  <a:pt x="2025" y="413"/>
                </a:cubicBezTo>
                <a:cubicBezTo>
                  <a:pt x="2025" y="416"/>
                  <a:pt x="2029" y="419"/>
                  <a:pt x="2033" y="419"/>
                </a:cubicBezTo>
                <a:cubicBezTo>
                  <a:pt x="2037" y="419"/>
                  <a:pt x="2041" y="416"/>
                  <a:pt x="2041" y="413"/>
                </a:cubicBezTo>
                <a:cubicBezTo>
                  <a:pt x="2041" y="409"/>
                  <a:pt x="2037" y="406"/>
                  <a:pt x="2033" y="406"/>
                </a:cubicBezTo>
                <a:close/>
                <a:moveTo>
                  <a:pt x="2077" y="348"/>
                </a:moveTo>
                <a:cubicBezTo>
                  <a:pt x="2073" y="348"/>
                  <a:pt x="2069" y="351"/>
                  <a:pt x="2069" y="355"/>
                </a:cubicBezTo>
                <a:cubicBezTo>
                  <a:pt x="2069" y="359"/>
                  <a:pt x="2073" y="362"/>
                  <a:pt x="2077" y="362"/>
                </a:cubicBezTo>
                <a:cubicBezTo>
                  <a:pt x="2081" y="362"/>
                  <a:pt x="2085" y="359"/>
                  <a:pt x="2085" y="355"/>
                </a:cubicBezTo>
                <a:cubicBezTo>
                  <a:pt x="2085" y="351"/>
                  <a:pt x="2081" y="348"/>
                  <a:pt x="2077" y="348"/>
                </a:cubicBezTo>
                <a:close/>
                <a:moveTo>
                  <a:pt x="2077" y="368"/>
                </a:moveTo>
                <a:cubicBezTo>
                  <a:pt x="2073" y="368"/>
                  <a:pt x="2069" y="371"/>
                  <a:pt x="2069" y="374"/>
                </a:cubicBezTo>
                <a:cubicBezTo>
                  <a:pt x="2069" y="378"/>
                  <a:pt x="2073" y="381"/>
                  <a:pt x="2077" y="381"/>
                </a:cubicBezTo>
                <a:cubicBezTo>
                  <a:pt x="2081" y="381"/>
                  <a:pt x="2085" y="378"/>
                  <a:pt x="2085" y="374"/>
                </a:cubicBezTo>
                <a:cubicBezTo>
                  <a:pt x="2085" y="371"/>
                  <a:pt x="2081" y="368"/>
                  <a:pt x="2077" y="368"/>
                </a:cubicBezTo>
                <a:close/>
                <a:moveTo>
                  <a:pt x="2077" y="387"/>
                </a:moveTo>
                <a:cubicBezTo>
                  <a:pt x="2073" y="387"/>
                  <a:pt x="2069" y="390"/>
                  <a:pt x="2069" y="393"/>
                </a:cubicBezTo>
                <a:cubicBezTo>
                  <a:pt x="2069" y="397"/>
                  <a:pt x="2073" y="400"/>
                  <a:pt x="2077" y="400"/>
                </a:cubicBezTo>
                <a:cubicBezTo>
                  <a:pt x="2081" y="400"/>
                  <a:pt x="2085" y="397"/>
                  <a:pt x="2085" y="393"/>
                </a:cubicBezTo>
                <a:cubicBezTo>
                  <a:pt x="2085" y="390"/>
                  <a:pt x="2081" y="387"/>
                  <a:pt x="2077" y="387"/>
                </a:cubicBezTo>
                <a:close/>
                <a:moveTo>
                  <a:pt x="2077" y="425"/>
                </a:moveTo>
                <a:cubicBezTo>
                  <a:pt x="2073" y="425"/>
                  <a:pt x="2069" y="428"/>
                  <a:pt x="2069" y="432"/>
                </a:cubicBezTo>
                <a:cubicBezTo>
                  <a:pt x="2069" y="435"/>
                  <a:pt x="2073" y="438"/>
                  <a:pt x="2077" y="438"/>
                </a:cubicBezTo>
                <a:cubicBezTo>
                  <a:pt x="2081" y="438"/>
                  <a:pt x="2085" y="435"/>
                  <a:pt x="2085" y="432"/>
                </a:cubicBezTo>
                <a:cubicBezTo>
                  <a:pt x="2085" y="428"/>
                  <a:pt x="2081" y="425"/>
                  <a:pt x="2077" y="425"/>
                </a:cubicBezTo>
                <a:close/>
                <a:moveTo>
                  <a:pt x="2100" y="425"/>
                </a:moveTo>
                <a:cubicBezTo>
                  <a:pt x="2096" y="425"/>
                  <a:pt x="2092" y="428"/>
                  <a:pt x="2092" y="432"/>
                </a:cubicBezTo>
                <a:cubicBezTo>
                  <a:pt x="2092" y="435"/>
                  <a:pt x="2096" y="438"/>
                  <a:pt x="2100" y="438"/>
                </a:cubicBezTo>
                <a:cubicBezTo>
                  <a:pt x="2104" y="438"/>
                  <a:pt x="2108" y="435"/>
                  <a:pt x="2108" y="432"/>
                </a:cubicBezTo>
                <a:cubicBezTo>
                  <a:pt x="2108" y="428"/>
                  <a:pt x="2104" y="425"/>
                  <a:pt x="2100" y="425"/>
                </a:cubicBezTo>
                <a:close/>
                <a:moveTo>
                  <a:pt x="1966" y="446"/>
                </a:moveTo>
                <a:cubicBezTo>
                  <a:pt x="1962" y="446"/>
                  <a:pt x="1959" y="448"/>
                  <a:pt x="1959" y="452"/>
                </a:cubicBezTo>
                <a:cubicBezTo>
                  <a:pt x="1959" y="455"/>
                  <a:pt x="1962" y="458"/>
                  <a:pt x="1966" y="458"/>
                </a:cubicBezTo>
                <a:cubicBezTo>
                  <a:pt x="1970" y="458"/>
                  <a:pt x="1974" y="455"/>
                  <a:pt x="1974" y="452"/>
                </a:cubicBezTo>
                <a:cubicBezTo>
                  <a:pt x="1974" y="448"/>
                  <a:pt x="1970" y="446"/>
                  <a:pt x="1966" y="446"/>
                </a:cubicBezTo>
                <a:close/>
                <a:moveTo>
                  <a:pt x="1988" y="446"/>
                </a:moveTo>
                <a:cubicBezTo>
                  <a:pt x="1984" y="446"/>
                  <a:pt x="1981" y="448"/>
                  <a:pt x="1981" y="452"/>
                </a:cubicBezTo>
                <a:cubicBezTo>
                  <a:pt x="1981" y="455"/>
                  <a:pt x="1984" y="458"/>
                  <a:pt x="1988" y="458"/>
                </a:cubicBezTo>
                <a:cubicBezTo>
                  <a:pt x="1993" y="458"/>
                  <a:pt x="1996" y="455"/>
                  <a:pt x="1996" y="452"/>
                </a:cubicBezTo>
                <a:cubicBezTo>
                  <a:pt x="1996" y="448"/>
                  <a:pt x="1993" y="446"/>
                  <a:pt x="1988" y="446"/>
                </a:cubicBezTo>
                <a:close/>
                <a:moveTo>
                  <a:pt x="1988" y="464"/>
                </a:moveTo>
                <a:cubicBezTo>
                  <a:pt x="1984" y="464"/>
                  <a:pt x="1981" y="467"/>
                  <a:pt x="1981" y="471"/>
                </a:cubicBezTo>
                <a:cubicBezTo>
                  <a:pt x="1981" y="475"/>
                  <a:pt x="1984" y="478"/>
                  <a:pt x="1988" y="478"/>
                </a:cubicBezTo>
                <a:cubicBezTo>
                  <a:pt x="1993" y="478"/>
                  <a:pt x="1996" y="475"/>
                  <a:pt x="1996" y="471"/>
                </a:cubicBezTo>
                <a:cubicBezTo>
                  <a:pt x="1996" y="467"/>
                  <a:pt x="1993" y="464"/>
                  <a:pt x="1988" y="464"/>
                </a:cubicBezTo>
                <a:close/>
                <a:moveTo>
                  <a:pt x="2011" y="503"/>
                </a:moveTo>
                <a:cubicBezTo>
                  <a:pt x="2007" y="503"/>
                  <a:pt x="2004" y="506"/>
                  <a:pt x="2004" y="509"/>
                </a:cubicBezTo>
                <a:cubicBezTo>
                  <a:pt x="2004" y="513"/>
                  <a:pt x="2007" y="516"/>
                  <a:pt x="2011" y="516"/>
                </a:cubicBezTo>
                <a:cubicBezTo>
                  <a:pt x="2016" y="516"/>
                  <a:pt x="2019" y="513"/>
                  <a:pt x="2019" y="509"/>
                </a:cubicBezTo>
                <a:cubicBezTo>
                  <a:pt x="2019" y="506"/>
                  <a:pt x="2016" y="503"/>
                  <a:pt x="2011" y="503"/>
                </a:cubicBezTo>
                <a:close/>
                <a:moveTo>
                  <a:pt x="2055" y="446"/>
                </a:moveTo>
                <a:cubicBezTo>
                  <a:pt x="2051" y="446"/>
                  <a:pt x="2047" y="448"/>
                  <a:pt x="2047" y="452"/>
                </a:cubicBezTo>
                <a:cubicBezTo>
                  <a:pt x="2047" y="455"/>
                  <a:pt x="2051" y="458"/>
                  <a:pt x="2055" y="458"/>
                </a:cubicBezTo>
                <a:cubicBezTo>
                  <a:pt x="2059" y="458"/>
                  <a:pt x="2063" y="455"/>
                  <a:pt x="2063" y="452"/>
                </a:cubicBezTo>
                <a:cubicBezTo>
                  <a:pt x="2063" y="448"/>
                  <a:pt x="2059" y="446"/>
                  <a:pt x="2055" y="446"/>
                </a:cubicBezTo>
                <a:close/>
                <a:moveTo>
                  <a:pt x="2055" y="464"/>
                </a:moveTo>
                <a:cubicBezTo>
                  <a:pt x="2051" y="464"/>
                  <a:pt x="2047" y="467"/>
                  <a:pt x="2047" y="471"/>
                </a:cubicBezTo>
                <a:cubicBezTo>
                  <a:pt x="2047" y="475"/>
                  <a:pt x="2051" y="478"/>
                  <a:pt x="2055" y="478"/>
                </a:cubicBezTo>
                <a:cubicBezTo>
                  <a:pt x="2059" y="478"/>
                  <a:pt x="2063" y="475"/>
                  <a:pt x="2063" y="471"/>
                </a:cubicBezTo>
                <a:cubicBezTo>
                  <a:pt x="2063" y="467"/>
                  <a:pt x="2059" y="464"/>
                  <a:pt x="2055" y="464"/>
                </a:cubicBezTo>
                <a:close/>
                <a:moveTo>
                  <a:pt x="2033" y="484"/>
                </a:moveTo>
                <a:cubicBezTo>
                  <a:pt x="2029" y="484"/>
                  <a:pt x="2025" y="487"/>
                  <a:pt x="2025" y="490"/>
                </a:cubicBezTo>
                <a:cubicBezTo>
                  <a:pt x="2025" y="494"/>
                  <a:pt x="2029" y="497"/>
                  <a:pt x="2033" y="497"/>
                </a:cubicBezTo>
                <a:cubicBezTo>
                  <a:pt x="2037" y="497"/>
                  <a:pt x="2041" y="494"/>
                  <a:pt x="2041" y="490"/>
                </a:cubicBezTo>
                <a:cubicBezTo>
                  <a:pt x="2041" y="487"/>
                  <a:pt x="2037" y="484"/>
                  <a:pt x="2033" y="484"/>
                </a:cubicBezTo>
                <a:close/>
                <a:moveTo>
                  <a:pt x="2055" y="484"/>
                </a:moveTo>
                <a:cubicBezTo>
                  <a:pt x="2051" y="484"/>
                  <a:pt x="2047" y="487"/>
                  <a:pt x="2047" y="490"/>
                </a:cubicBezTo>
                <a:cubicBezTo>
                  <a:pt x="2047" y="494"/>
                  <a:pt x="2051" y="497"/>
                  <a:pt x="2055" y="497"/>
                </a:cubicBezTo>
                <a:cubicBezTo>
                  <a:pt x="2059" y="497"/>
                  <a:pt x="2063" y="494"/>
                  <a:pt x="2063" y="490"/>
                </a:cubicBezTo>
                <a:cubicBezTo>
                  <a:pt x="2063" y="487"/>
                  <a:pt x="2059" y="484"/>
                  <a:pt x="2055" y="484"/>
                </a:cubicBezTo>
                <a:close/>
                <a:moveTo>
                  <a:pt x="2033" y="503"/>
                </a:moveTo>
                <a:cubicBezTo>
                  <a:pt x="2029" y="503"/>
                  <a:pt x="2025" y="506"/>
                  <a:pt x="2025" y="509"/>
                </a:cubicBezTo>
                <a:cubicBezTo>
                  <a:pt x="2025" y="513"/>
                  <a:pt x="2029" y="516"/>
                  <a:pt x="2033" y="516"/>
                </a:cubicBezTo>
                <a:cubicBezTo>
                  <a:pt x="2037" y="516"/>
                  <a:pt x="2041" y="513"/>
                  <a:pt x="2041" y="509"/>
                </a:cubicBezTo>
                <a:cubicBezTo>
                  <a:pt x="2041" y="506"/>
                  <a:pt x="2037" y="503"/>
                  <a:pt x="2033" y="503"/>
                </a:cubicBezTo>
                <a:close/>
                <a:moveTo>
                  <a:pt x="2077" y="446"/>
                </a:moveTo>
                <a:cubicBezTo>
                  <a:pt x="2073" y="446"/>
                  <a:pt x="2069" y="448"/>
                  <a:pt x="2069" y="452"/>
                </a:cubicBezTo>
                <a:cubicBezTo>
                  <a:pt x="2069" y="455"/>
                  <a:pt x="2073" y="458"/>
                  <a:pt x="2077" y="458"/>
                </a:cubicBezTo>
                <a:cubicBezTo>
                  <a:pt x="2081" y="458"/>
                  <a:pt x="2085" y="455"/>
                  <a:pt x="2085" y="452"/>
                </a:cubicBezTo>
                <a:cubicBezTo>
                  <a:pt x="2085" y="448"/>
                  <a:pt x="2081" y="446"/>
                  <a:pt x="2077" y="446"/>
                </a:cubicBezTo>
                <a:close/>
                <a:moveTo>
                  <a:pt x="2189" y="290"/>
                </a:moveTo>
                <a:cubicBezTo>
                  <a:pt x="2185" y="290"/>
                  <a:pt x="2181" y="293"/>
                  <a:pt x="2181" y="296"/>
                </a:cubicBezTo>
                <a:cubicBezTo>
                  <a:pt x="2181" y="300"/>
                  <a:pt x="2185" y="303"/>
                  <a:pt x="2189" y="303"/>
                </a:cubicBezTo>
                <a:cubicBezTo>
                  <a:pt x="2193" y="303"/>
                  <a:pt x="2197" y="300"/>
                  <a:pt x="2197" y="296"/>
                </a:cubicBezTo>
                <a:cubicBezTo>
                  <a:pt x="2197" y="293"/>
                  <a:pt x="2193" y="290"/>
                  <a:pt x="2189" y="290"/>
                </a:cubicBezTo>
                <a:close/>
                <a:moveTo>
                  <a:pt x="2166" y="309"/>
                </a:moveTo>
                <a:cubicBezTo>
                  <a:pt x="2162" y="309"/>
                  <a:pt x="2158" y="312"/>
                  <a:pt x="2158" y="316"/>
                </a:cubicBezTo>
                <a:cubicBezTo>
                  <a:pt x="2158" y="320"/>
                  <a:pt x="2162" y="323"/>
                  <a:pt x="2166" y="323"/>
                </a:cubicBezTo>
                <a:cubicBezTo>
                  <a:pt x="2170" y="323"/>
                  <a:pt x="2174" y="320"/>
                  <a:pt x="2174" y="316"/>
                </a:cubicBezTo>
                <a:cubicBezTo>
                  <a:pt x="2174" y="312"/>
                  <a:pt x="2170" y="309"/>
                  <a:pt x="2166" y="309"/>
                </a:cubicBezTo>
                <a:close/>
                <a:moveTo>
                  <a:pt x="2189" y="309"/>
                </a:moveTo>
                <a:cubicBezTo>
                  <a:pt x="2185" y="309"/>
                  <a:pt x="2181" y="312"/>
                  <a:pt x="2181" y="316"/>
                </a:cubicBezTo>
                <a:cubicBezTo>
                  <a:pt x="2181" y="320"/>
                  <a:pt x="2185" y="323"/>
                  <a:pt x="2189" y="323"/>
                </a:cubicBezTo>
                <a:cubicBezTo>
                  <a:pt x="2193" y="323"/>
                  <a:pt x="2197" y="320"/>
                  <a:pt x="2197" y="316"/>
                </a:cubicBezTo>
                <a:cubicBezTo>
                  <a:pt x="2197" y="312"/>
                  <a:pt x="2193" y="309"/>
                  <a:pt x="2189" y="309"/>
                </a:cubicBezTo>
                <a:close/>
                <a:moveTo>
                  <a:pt x="2166" y="329"/>
                </a:moveTo>
                <a:cubicBezTo>
                  <a:pt x="2162" y="329"/>
                  <a:pt x="2158" y="332"/>
                  <a:pt x="2158" y="335"/>
                </a:cubicBezTo>
                <a:cubicBezTo>
                  <a:pt x="2158" y="339"/>
                  <a:pt x="2162" y="342"/>
                  <a:pt x="2166" y="342"/>
                </a:cubicBezTo>
                <a:cubicBezTo>
                  <a:pt x="2170" y="342"/>
                  <a:pt x="2174" y="339"/>
                  <a:pt x="2174" y="335"/>
                </a:cubicBezTo>
                <a:cubicBezTo>
                  <a:pt x="2174" y="332"/>
                  <a:pt x="2170" y="329"/>
                  <a:pt x="2166" y="329"/>
                </a:cubicBezTo>
                <a:close/>
                <a:moveTo>
                  <a:pt x="2189" y="329"/>
                </a:moveTo>
                <a:cubicBezTo>
                  <a:pt x="2185" y="329"/>
                  <a:pt x="2181" y="332"/>
                  <a:pt x="2181" y="335"/>
                </a:cubicBezTo>
                <a:cubicBezTo>
                  <a:pt x="2181" y="339"/>
                  <a:pt x="2185" y="342"/>
                  <a:pt x="2189" y="342"/>
                </a:cubicBezTo>
                <a:cubicBezTo>
                  <a:pt x="2193" y="342"/>
                  <a:pt x="2197" y="339"/>
                  <a:pt x="2197" y="335"/>
                </a:cubicBezTo>
                <a:cubicBezTo>
                  <a:pt x="2197" y="332"/>
                  <a:pt x="2193" y="329"/>
                  <a:pt x="2189" y="329"/>
                </a:cubicBezTo>
                <a:close/>
                <a:moveTo>
                  <a:pt x="2166" y="348"/>
                </a:moveTo>
                <a:cubicBezTo>
                  <a:pt x="2162" y="348"/>
                  <a:pt x="2158" y="351"/>
                  <a:pt x="2158" y="355"/>
                </a:cubicBezTo>
                <a:cubicBezTo>
                  <a:pt x="2158" y="359"/>
                  <a:pt x="2162" y="362"/>
                  <a:pt x="2166" y="362"/>
                </a:cubicBezTo>
                <a:cubicBezTo>
                  <a:pt x="2170" y="362"/>
                  <a:pt x="2174" y="359"/>
                  <a:pt x="2174" y="355"/>
                </a:cubicBezTo>
                <a:cubicBezTo>
                  <a:pt x="2174" y="351"/>
                  <a:pt x="2170" y="348"/>
                  <a:pt x="2166" y="348"/>
                </a:cubicBezTo>
                <a:close/>
                <a:moveTo>
                  <a:pt x="2211" y="290"/>
                </a:moveTo>
                <a:cubicBezTo>
                  <a:pt x="2207" y="290"/>
                  <a:pt x="2203" y="293"/>
                  <a:pt x="2203" y="296"/>
                </a:cubicBezTo>
                <a:cubicBezTo>
                  <a:pt x="2203" y="300"/>
                  <a:pt x="2207" y="303"/>
                  <a:pt x="2211" y="303"/>
                </a:cubicBezTo>
                <a:cubicBezTo>
                  <a:pt x="2215" y="303"/>
                  <a:pt x="2218" y="300"/>
                  <a:pt x="2218" y="296"/>
                </a:cubicBezTo>
                <a:cubicBezTo>
                  <a:pt x="2218" y="293"/>
                  <a:pt x="2215" y="290"/>
                  <a:pt x="2211" y="290"/>
                </a:cubicBezTo>
                <a:close/>
                <a:moveTo>
                  <a:pt x="2211" y="309"/>
                </a:moveTo>
                <a:cubicBezTo>
                  <a:pt x="2207" y="309"/>
                  <a:pt x="2203" y="312"/>
                  <a:pt x="2203" y="316"/>
                </a:cubicBezTo>
                <a:cubicBezTo>
                  <a:pt x="2203" y="320"/>
                  <a:pt x="2207" y="323"/>
                  <a:pt x="2211" y="323"/>
                </a:cubicBezTo>
                <a:cubicBezTo>
                  <a:pt x="2215" y="323"/>
                  <a:pt x="2218" y="320"/>
                  <a:pt x="2218" y="316"/>
                </a:cubicBezTo>
                <a:cubicBezTo>
                  <a:pt x="2218" y="312"/>
                  <a:pt x="2215" y="309"/>
                  <a:pt x="2211" y="309"/>
                </a:cubicBezTo>
                <a:close/>
                <a:moveTo>
                  <a:pt x="1966" y="659"/>
                </a:moveTo>
                <a:cubicBezTo>
                  <a:pt x="1962" y="659"/>
                  <a:pt x="1959" y="662"/>
                  <a:pt x="1959" y="666"/>
                </a:cubicBezTo>
                <a:cubicBezTo>
                  <a:pt x="1959" y="670"/>
                  <a:pt x="1962" y="673"/>
                  <a:pt x="1966" y="673"/>
                </a:cubicBezTo>
                <a:cubicBezTo>
                  <a:pt x="1970" y="673"/>
                  <a:pt x="1974" y="670"/>
                  <a:pt x="1974" y="666"/>
                </a:cubicBezTo>
                <a:cubicBezTo>
                  <a:pt x="1974" y="662"/>
                  <a:pt x="1970" y="659"/>
                  <a:pt x="1966" y="659"/>
                </a:cubicBezTo>
                <a:close/>
                <a:moveTo>
                  <a:pt x="1966" y="679"/>
                </a:moveTo>
                <a:cubicBezTo>
                  <a:pt x="1962" y="679"/>
                  <a:pt x="1959" y="682"/>
                  <a:pt x="1959" y="686"/>
                </a:cubicBezTo>
                <a:cubicBezTo>
                  <a:pt x="1959" y="689"/>
                  <a:pt x="1962" y="692"/>
                  <a:pt x="1966" y="692"/>
                </a:cubicBezTo>
                <a:cubicBezTo>
                  <a:pt x="1970" y="692"/>
                  <a:pt x="1974" y="689"/>
                  <a:pt x="1974" y="686"/>
                </a:cubicBezTo>
                <a:cubicBezTo>
                  <a:pt x="1974" y="682"/>
                  <a:pt x="1970" y="679"/>
                  <a:pt x="1966" y="679"/>
                </a:cubicBezTo>
                <a:close/>
                <a:moveTo>
                  <a:pt x="1966" y="698"/>
                </a:moveTo>
                <a:cubicBezTo>
                  <a:pt x="1962" y="698"/>
                  <a:pt x="1959" y="701"/>
                  <a:pt x="1959" y="705"/>
                </a:cubicBezTo>
                <a:cubicBezTo>
                  <a:pt x="1959" y="708"/>
                  <a:pt x="1962" y="711"/>
                  <a:pt x="1966" y="711"/>
                </a:cubicBezTo>
                <a:cubicBezTo>
                  <a:pt x="1970" y="711"/>
                  <a:pt x="1974" y="708"/>
                  <a:pt x="1974" y="705"/>
                </a:cubicBezTo>
                <a:cubicBezTo>
                  <a:pt x="1974" y="701"/>
                  <a:pt x="1970" y="698"/>
                  <a:pt x="1966" y="698"/>
                </a:cubicBezTo>
                <a:close/>
                <a:moveTo>
                  <a:pt x="1966" y="736"/>
                </a:moveTo>
                <a:cubicBezTo>
                  <a:pt x="1962" y="736"/>
                  <a:pt x="1959" y="739"/>
                  <a:pt x="1959" y="743"/>
                </a:cubicBezTo>
                <a:cubicBezTo>
                  <a:pt x="1959" y="747"/>
                  <a:pt x="1962" y="750"/>
                  <a:pt x="1966" y="750"/>
                </a:cubicBezTo>
                <a:cubicBezTo>
                  <a:pt x="1970" y="750"/>
                  <a:pt x="1974" y="747"/>
                  <a:pt x="1974" y="743"/>
                </a:cubicBezTo>
                <a:cubicBezTo>
                  <a:pt x="1974" y="739"/>
                  <a:pt x="1970" y="736"/>
                  <a:pt x="1966" y="736"/>
                </a:cubicBezTo>
                <a:close/>
                <a:moveTo>
                  <a:pt x="1988" y="757"/>
                </a:moveTo>
                <a:cubicBezTo>
                  <a:pt x="1984" y="757"/>
                  <a:pt x="1981" y="759"/>
                  <a:pt x="1981" y="763"/>
                </a:cubicBezTo>
                <a:cubicBezTo>
                  <a:pt x="1981" y="766"/>
                  <a:pt x="1984" y="769"/>
                  <a:pt x="1988" y="769"/>
                </a:cubicBezTo>
                <a:cubicBezTo>
                  <a:pt x="1993" y="769"/>
                  <a:pt x="1996" y="766"/>
                  <a:pt x="1996" y="763"/>
                </a:cubicBezTo>
                <a:cubicBezTo>
                  <a:pt x="1996" y="759"/>
                  <a:pt x="1993" y="757"/>
                  <a:pt x="1988" y="757"/>
                </a:cubicBezTo>
                <a:close/>
                <a:moveTo>
                  <a:pt x="2011" y="757"/>
                </a:moveTo>
                <a:cubicBezTo>
                  <a:pt x="2007" y="757"/>
                  <a:pt x="2004" y="759"/>
                  <a:pt x="2004" y="763"/>
                </a:cubicBezTo>
                <a:cubicBezTo>
                  <a:pt x="2004" y="766"/>
                  <a:pt x="2007" y="769"/>
                  <a:pt x="2011" y="769"/>
                </a:cubicBezTo>
                <a:cubicBezTo>
                  <a:pt x="2016" y="769"/>
                  <a:pt x="2019" y="766"/>
                  <a:pt x="2019" y="763"/>
                </a:cubicBezTo>
                <a:cubicBezTo>
                  <a:pt x="2019" y="759"/>
                  <a:pt x="2016" y="757"/>
                  <a:pt x="2011" y="757"/>
                </a:cubicBezTo>
                <a:close/>
                <a:moveTo>
                  <a:pt x="1988" y="833"/>
                </a:moveTo>
                <a:cubicBezTo>
                  <a:pt x="1984" y="833"/>
                  <a:pt x="1981" y="837"/>
                  <a:pt x="1981" y="840"/>
                </a:cubicBezTo>
                <a:cubicBezTo>
                  <a:pt x="1981" y="844"/>
                  <a:pt x="1984" y="847"/>
                  <a:pt x="1988" y="847"/>
                </a:cubicBezTo>
                <a:cubicBezTo>
                  <a:pt x="1993" y="847"/>
                  <a:pt x="1996" y="844"/>
                  <a:pt x="1996" y="840"/>
                </a:cubicBezTo>
                <a:cubicBezTo>
                  <a:pt x="1996" y="837"/>
                  <a:pt x="1993" y="833"/>
                  <a:pt x="1988" y="833"/>
                </a:cubicBezTo>
                <a:close/>
                <a:moveTo>
                  <a:pt x="2011" y="833"/>
                </a:moveTo>
                <a:cubicBezTo>
                  <a:pt x="2007" y="833"/>
                  <a:pt x="2004" y="837"/>
                  <a:pt x="2004" y="840"/>
                </a:cubicBezTo>
                <a:cubicBezTo>
                  <a:pt x="2004" y="844"/>
                  <a:pt x="2007" y="847"/>
                  <a:pt x="2011" y="847"/>
                </a:cubicBezTo>
                <a:cubicBezTo>
                  <a:pt x="2016" y="847"/>
                  <a:pt x="2019" y="844"/>
                  <a:pt x="2019" y="840"/>
                </a:cubicBezTo>
                <a:cubicBezTo>
                  <a:pt x="2019" y="837"/>
                  <a:pt x="2016" y="833"/>
                  <a:pt x="2011" y="833"/>
                </a:cubicBezTo>
                <a:close/>
                <a:moveTo>
                  <a:pt x="1988" y="853"/>
                </a:moveTo>
                <a:cubicBezTo>
                  <a:pt x="1984" y="853"/>
                  <a:pt x="1981" y="856"/>
                  <a:pt x="1981" y="860"/>
                </a:cubicBezTo>
                <a:cubicBezTo>
                  <a:pt x="1981" y="864"/>
                  <a:pt x="1984" y="867"/>
                  <a:pt x="1988" y="867"/>
                </a:cubicBezTo>
                <a:cubicBezTo>
                  <a:pt x="1993" y="867"/>
                  <a:pt x="1996" y="864"/>
                  <a:pt x="1996" y="860"/>
                </a:cubicBezTo>
                <a:cubicBezTo>
                  <a:pt x="1996" y="856"/>
                  <a:pt x="1993" y="853"/>
                  <a:pt x="1988" y="853"/>
                </a:cubicBezTo>
                <a:close/>
                <a:moveTo>
                  <a:pt x="2011" y="853"/>
                </a:moveTo>
                <a:cubicBezTo>
                  <a:pt x="2007" y="853"/>
                  <a:pt x="2004" y="856"/>
                  <a:pt x="2004" y="860"/>
                </a:cubicBezTo>
                <a:cubicBezTo>
                  <a:pt x="2004" y="864"/>
                  <a:pt x="2007" y="867"/>
                  <a:pt x="2011" y="867"/>
                </a:cubicBezTo>
                <a:cubicBezTo>
                  <a:pt x="2016" y="867"/>
                  <a:pt x="2019" y="864"/>
                  <a:pt x="2019" y="860"/>
                </a:cubicBezTo>
                <a:cubicBezTo>
                  <a:pt x="2019" y="856"/>
                  <a:pt x="2016" y="853"/>
                  <a:pt x="2011" y="853"/>
                </a:cubicBezTo>
                <a:close/>
                <a:moveTo>
                  <a:pt x="1988" y="873"/>
                </a:moveTo>
                <a:cubicBezTo>
                  <a:pt x="1984" y="873"/>
                  <a:pt x="1981" y="876"/>
                  <a:pt x="1981" y="879"/>
                </a:cubicBezTo>
                <a:cubicBezTo>
                  <a:pt x="1981" y="883"/>
                  <a:pt x="1984" y="885"/>
                  <a:pt x="1988" y="885"/>
                </a:cubicBezTo>
                <a:cubicBezTo>
                  <a:pt x="1993" y="885"/>
                  <a:pt x="1996" y="883"/>
                  <a:pt x="1996" y="879"/>
                </a:cubicBezTo>
                <a:cubicBezTo>
                  <a:pt x="1996" y="876"/>
                  <a:pt x="1993" y="873"/>
                  <a:pt x="1988" y="873"/>
                </a:cubicBezTo>
                <a:close/>
                <a:moveTo>
                  <a:pt x="2011" y="873"/>
                </a:moveTo>
                <a:cubicBezTo>
                  <a:pt x="2007" y="873"/>
                  <a:pt x="2004" y="876"/>
                  <a:pt x="2004" y="879"/>
                </a:cubicBezTo>
                <a:cubicBezTo>
                  <a:pt x="2004" y="883"/>
                  <a:pt x="2007" y="885"/>
                  <a:pt x="2011" y="885"/>
                </a:cubicBezTo>
                <a:cubicBezTo>
                  <a:pt x="2016" y="885"/>
                  <a:pt x="2019" y="883"/>
                  <a:pt x="2019" y="879"/>
                </a:cubicBezTo>
                <a:cubicBezTo>
                  <a:pt x="2019" y="876"/>
                  <a:pt x="2016" y="873"/>
                  <a:pt x="2011" y="873"/>
                </a:cubicBezTo>
                <a:close/>
                <a:moveTo>
                  <a:pt x="1988" y="891"/>
                </a:moveTo>
                <a:cubicBezTo>
                  <a:pt x="1984" y="891"/>
                  <a:pt x="1981" y="894"/>
                  <a:pt x="1981" y="898"/>
                </a:cubicBezTo>
                <a:cubicBezTo>
                  <a:pt x="1981" y="902"/>
                  <a:pt x="1984" y="905"/>
                  <a:pt x="1988" y="905"/>
                </a:cubicBezTo>
                <a:cubicBezTo>
                  <a:pt x="1993" y="905"/>
                  <a:pt x="1996" y="902"/>
                  <a:pt x="1996" y="898"/>
                </a:cubicBezTo>
                <a:cubicBezTo>
                  <a:pt x="1996" y="894"/>
                  <a:pt x="1993" y="891"/>
                  <a:pt x="1988" y="891"/>
                </a:cubicBezTo>
                <a:close/>
                <a:moveTo>
                  <a:pt x="2011" y="891"/>
                </a:moveTo>
                <a:cubicBezTo>
                  <a:pt x="2007" y="891"/>
                  <a:pt x="2004" y="894"/>
                  <a:pt x="2004" y="898"/>
                </a:cubicBezTo>
                <a:cubicBezTo>
                  <a:pt x="2004" y="902"/>
                  <a:pt x="2007" y="905"/>
                  <a:pt x="2011" y="905"/>
                </a:cubicBezTo>
                <a:cubicBezTo>
                  <a:pt x="2016" y="905"/>
                  <a:pt x="2019" y="902"/>
                  <a:pt x="2019" y="898"/>
                </a:cubicBezTo>
                <a:cubicBezTo>
                  <a:pt x="2019" y="894"/>
                  <a:pt x="2016" y="891"/>
                  <a:pt x="2011" y="891"/>
                </a:cubicBezTo>
                <a:close/>
                <a:moveTo>
                  <a:pt x="2033" y="775"/>
                </a:moveTo>
                <a:cubicBezTo>
                  <a:pt x="2029" y="775"/>
                  <a:pt x="2025" y="778"/>
                  <a:pt x="2025" y="782"/>
                </a:cubicBezTo>
                <a:cubicBezTo>
                  <a:pt x="2025" y="786"/>
                  <a:pt x="2029" y="789"/>
                  <a:pt x="2033" y="789"/>
                </a:cubicBezTo>
                <a:cubicBezTo>
                  <a:pt x="2037" y="789"/>
                  <a:pt x="2041" y="786"/>
                  <a:pt x="2041" y="782"/>
                </a:cubicBezTo>
                <a:cubicBezTo>
                  <a:pt x="2041" y="778"/>
                  <a:pt x="2037" y="775"/>
                  <a:pt x="2033" y="775"/>
                </a:cubicBezTo>
                <a:close/>
                <a:moveTo>
                  <a:pt x="2055" y="775"/>
                </a:moveTo>
                <a:cubicBezTo>
                  <a:pt x="2051" y="775"/>
                  <a:pt x="2047" y="778"/>
                  <a:pt x="2047" y="782"/>
                </a:cubicBezTo>
                <a:cubicBezTo>
                  <a:pt x="2047" y="786"/>
                  <a:pt x="2051" y="789"/>
                  <a:pt x="2055" y="789"/>
                </a:cubicBezTo>
                <a:cubicBezTo>
                  <a:pt x="2059" y="789"/>
                  <a:pt x="2063" y="786"/>
                  <a:pt x="2063" y="782"/>
                </a:cubicBezTo>
                <a:cubicBezTo>
                  <a:pt x="2063" y="778"/>
                  <a:pt x="2059" y="775"/>
                  <a:pt x="2055" y="775"/>
                </a:cubicBezTo>
                <a:close/>
                <a:moveTo>
                  <a:pt x="2055" y="795"/>
                </a:moveTo>
                <a:cubicBezTo>
                  <a:pt x="2051" y="795"/>
                  <a:pt x="2047" y="798"/>
                  <a:pt x="2047" y="801"/>
                </a:cubicBezTo>
                <a:cubicBezTo>
                  <a:pt x="2047" y="805"/>
                  <a:pt x="2051" y="808"/>
                  <a:pt x="2055" y="808"/>
                </a:cubicBezTo>
                <a:cubicBezTo>
                  <a:pt x="2059" y="808"/>
                  <a:pt x="2063" y="805"/>
                  <a:pt x="2063" y="801"/>
                </a:cubicBezTo>
                <a:cubicBezTo>
                  <a:pt x="2063" y="798"/>
                  <a:pt x="2059" y="795"/>
                  <a:pt x="2055" y="795"/>
                </a:cubicBezTo>
                <a:close/>
                <a:moveTo>
                  <a:pt x="2033" y="853"/>
                </a:moveTo>
                <a:cubicBezTo>
                  <a:pt x="2029" y="853"/>
                  <a:pt x="2025" y="856"/>
                  <a:pt x="2025" y="860"/>
                </a:cubicBezTo>
                <a:cubicBezTo>
                  <a:pt x="2025" y="864"/>
                  <a:pt x="2029" y="867"/>
                  <a:pt x="2033" y="867"/>
                </a:cubicBezTo>
                <a:cubicBezTo>
                  <a:pt x="2037" y="867"/>
                  <a:pt x="2041" y="864"/>
                  <a:pt x="2041" y="860"/>
                </a:cubicBezTo>
                <a:cubicBezTo>
                  <a:pt x="2041" y="856"/>
                  <a:pt x="2037" y="853"/>
                  <a:pt x="2033" y="853"/>
                </a:cubicBezTo>
                <a:close/>
                <a:moveTo>
                  <a:pt x="2033" y="873"/>
                </a:moveTo>
                <a:cubicBezTo>
                  <a:pt x="2029" y="873"/>
                  <a:pt x="2025" y="876"/>
                  <a:pt x="2025" y="879"/>
                </a:cubicBezTo>
                <a:cubicBezTo>
                  <a:pt x="2025" y="883"/>
                  <a:pt x="2029" y="885"/>
                  <a:pt x="2033" y="885"/>
                </a:cubicBezTo>
                <a:cubicBezTo>
                  <a:pt x="2037" y="885"/>
                  <a:pt x="2041" y="883"/>
                  <a:pt x="2041" y="879"/>
                </a:cubicBezTo>
                <a:cubicBezTo>
                  <a:pt x="2041" y="876"/>
                  <a:pt x="2037" y="873"/>
                  <a:pt x="2033" y="873"/>
                </a:cubicBezTo>
                <a:close/>
                <a:moveTo>
                  <a:pt x="2055" y="873"/>
                </a:moveTo>
                <a:cubicBezTo>
                  <a:pt x="2051" y="873"/>
                  <a:pt x="2047" y="876"/>
                  <a:pt x="2047" y="879"/>
                </a:cubicBezTo>
                <a:cubicBezTo>
                  <a:pt x="2047" y="883"/>
                  <a:pt x="2051" y="885"/>
                  <a:pt x="2055" y="885"/>
                </a:cubicBezTo>
                <a:cubicBezTo>
                  <a:pt x="2059" y="885"/>
                  <a:pt x="2063" y="883"/>
                  <a:pt x="2063" y="879"/>
                </a:cubicBezTo>
                <a:cubicBezTo>
                  <a:pt x="2063" y="876"/>
                  <a:pt x="2059" y="873"/>
                  <a:pt x="2055" y="873"/>
                </a:cubicBezTo>
                <a:close/>
                <a:moveTo>
                  <a:pt x="2033" y="891"/>
                </a:moveTo>
                <a:cubicBezTo>
                  <a:pt x="2029" y="891"/>
                  <a:pt x="2025" y="894"/>
                  <a:pt x="2025" y="898"/>
                </a:cubicBezTo>
                <a:cubicBezTo>
                  <a:pt x="2025" y="902"/>
                  <a:pt x="2029" y="905"/>
                  <a:pt x="2033" y="905"/>
                </a:cubicBezTo>
                <a:cubicBezTo>
                  <a:pt x="2037" y="905"/>
                  <a:pt x="2041" y="902"/>
                  <a:pt x="2041" y="898"/>
                </a:cubicBezTo>
                <a:cubicBezTo>
                  <a:pt x="2041" y="894"/>
                  <a:pt x="2037" y="891"/>
                  <a:pt x="2033" y="891"/>
                </a:cubicBezTo>
                <a:close/>
                <a:moveTo>
                  <a:pt x="2055" y="891"/>
                </a:moveTo>
                <a:cubicBezTo>
                  <a:pt x="2051" y="891"/>
                  <a:pt x="2047" y="894"/>
                  <a:pt x="2047" y="898"/>
                </a:cubicBezTo>
                <a:cubicBezTo>
                  <a:pt x="2047" y="902"/>
                  <a:pt x="2051" y="905"/>
                  <a:pt x="2055" y="905"/>
                </a:cubicBezTo>
                <a:cubicBezTo>
                  <a:pt x="2059" y="905"/>
                  <a:pt x="2063" y="902"/>
                  <a:pt x="2063" y="898"/>
                </a:cubicBezTo>
                <a:cubicBezTo>
                  <a:pt x="2063" y="894"/>
                  <a:pt x="2059" y="891"/>
                  <a:pt x="2055" y="891"/>
                </a:cubicBezTo>
                <a:close/>
                <a:moveTo>
                  <a:pt x="2077" y="775"/>
                </a:moveTo>
                <a:cubicBezTo>
                  <a:pt x="2073" y="775"/>
                  <a:pt x="2069" y="778"/>
                  <a:pt x="2069" y="782"/>
                </a:cubicBezTo>
                <a:cubicBezTo>
                  <a:pt x="2069" y="786"/>
                  <a:pt x="2073" y="789"/>
                  <a:pt x="2077" y="789"/>
                </a:cubicBezTo>
                <a:cubicBezTo>
                  <a:pt x="2081" y="789"/>
                  <a:pt x="2085" y="786"/>
                  <a:pt x="2085" y="782"/>
                </a:cubicBezTo>
                <a:cubicBezTo>
                  <a:pt x="2085" y="778"/>
                  <a:pt x="2081" y="775"/>
                  <a:pt x="2077" y="775"/>
                </a:cubicBezTo>
                <a:close/>
                <a:moveTo>
                  <a:pt x="2077" y="795"/>
                </a:moveTo>
                <a:cubicBezTo>
                  <a:pt x="2073" y="795"/>
                  <a:pt x="2069" y="798"/>
                  <a:pt x="2069" y="801"/>
                </a:cubicBezTo>
                <a:cubicBezTo>
                  <a:pt x="2069" y="805"/>
                  <a:pt x="2073" y="808"/>
                  <a:pt x="2077" y="808"/>
                </a:cubicBezTo>
                <a:cubicBezTo>
                  <a:pt x="2081" y="808"/>
                  <a:pt x="2085" y="805"/>
                  <a:pt x="2085" y="801"/>
                </a:cubicBezTo>
                <a:cubicBezTo>
                  <a:pt x="2085" y="798"/>
                  <a:pt x="2081" y="795"/>
                  <a:pt x="2077" y="795"/>
                </a:cubicBezTo>
                <a:close/>
                <a:moveTo>
                  <a:pt x="2100" y="795"/>
                </a:moveTo>
                <a:cubicBezTo>
                  <a:pt x="2096" y="795"/>
                  <a:pt x="2092" y="798"/>
                  <a:pt x="2092" y="801"/>
                </a:cubicBezTo>
                <a:cubicBezTo>
                  <a:pt x="2092" y="805"/>
                  <a:pt x="2096" y="808"/>
                  <a:pt x="2100" y="808"/>
                </a:cubicBezTo>
                <a:cubicBezTo>
                  <a:pt x="2104" y="808"/>
                  <a:pt x="2108" y="805"/>
                  <a:pt x="2108" y="801"/>
                </a:cubicBezTo>
                <a:cubicBezTo>
                  <a:pt x="2108" y="798"/>
                  <a:pt x="2104" y="795"/>
                  <a:pt x="2100" y="795"/>
                </a:cubicBezTo>
                <a:close/>
                <a:moveTo>
                  <a:pt x="2077" y="833"/>
                </a:moveTo>
                <a:cubicBezTo>
                  <a:pt x="2073" y="833"/>
                  <a:pt x="2069" y="837"/>
                  <a:pt x="2069" y="840"/>
                </a:cubicBezTo>
                <a:cubicBezTo>
                  <a:pt x="2069" y="844"/>
                  <a:pt x="2073" y="847"/>
                  <a:pt x="2077" y="847"/>
                </a:cubicBezTo>
                <a:cubicBezTo>
                  <a:pt x="2081" y="847"/>
                  <a:pt x="2085" y="844"/>
                  <a:pt x="2085" y="840"/>
                </a:cubicBezTo>
                <a:cubicBezTo>
                  <a:pt x="2085" y="837"/>
                  <a:pt x="2081" y="833"/>
                  <a:pt x="2077" y="833"/>
                </a:cubicBezTo>
                <a:close/>
                <a:moveTo>
                  <a:pt x="2077" y="853"/>
                </a:moveTo>
                <a:cubicBezTo>
                  <a:pt x="2073" y="853"/>
                  <a:pt x="2069" y="856"/>
                  <a:pt x="2069" y="860"/>
                </a:cubicBezTo>
                <a:cubicBezTo>
                  <a:pt x="2069" y="864"/>
                  <a:pt x="2073" y="867"/>
                  <a:pt x="2077" y="867"/>
                </a:cubicBezTo>
                <a:cubicBezTo>
                  <a:pt x="2081" y="867"/>
                  <a:pt x="2085" y="864"/>
                  <a:pt x="2085" y="860"/>
                </a:cubicBezTo>
                <a:cubicBezTo>
                  <a:pt x="2085" y="856"/>
                  <a:pt x="2081" y="853"/>
                  <a:pt x="2077" y="853"/>
                </a:cubicBezTo>
                <a:close/>
                <a:moveTo>
                  <a:pt x="2077" y="873"/>
                </a:moveTo>
                <a:cubicBezTo>
                  <a:pt x="2073" y="873"/>
                  <a:pt x="2069" y="876"/>
                  <a:pt x="2069" y="879"/>
                </a:cubicBezTo>
                <a:cubicBezTo>
                  <a:pt x="2069" y="883"/>
                  <a:pt x="2073" y="885"/>
                  <a:pt x="2077" y="885"/>
                </a:cubicBezTo>
                <a:cubicBezTo>
                  <a:pt x="2081" y="885"/>
                  <a:pt x="2085" y="883"/>
                  <a:pt x="2085" y="879"/>
                </a:cubicBezTo>
                <a:cubicBezTo>
                  <a:pt x="2085" y="876"/>
                  <a:pt x="2081" y="873"/>
                  <a:pt x="2077" y="873"/>
                </a:cubicBezTo>
                <a:close/>
                <a:moveTo>
                  <a:pt x="2100" y="873"/>
                </a:moveTo>
                <a:cubicBezTo>
                  <a:pt x="2096" y="873"/>
                  <a:pt x="2092" y="876"/>
                  <a:pt x="2092" y="879"/>
                </a:cubicBezTo>
                <a:cubicBezTo>
                  <a:pt x="2092" y="883"/>
                  <a:pt x="2096" y="885"/>
                  <a:pt x="2100" y="885"/>
                </a:cubicBezTo>
                <a:cubicBezTo>
                  <a:pt x="2104" y="885"/>
                  <a:pt x="2108" y="883"/>
                  <a:pt x="2108" y="879"/>
                </a:cubicBezTo>
                <a:cubicBezTo>
                  <a:pt x="2108" y="876"/>
                  <a:pt x="2104" y="873"/>
                  <a:pt x="2100" y="873"/>
                </a:cubicBezTo>
                <a:close/>
                <a:moveTo>
                  <a:pt x="2077" y="891"/>
                </a:moveTo>
                <a:cubicBezTo>
                  <a:pt x="2073" y="891"/>
                  <a:pt x="2069" y="894"/>
                  <a:pt x="2069" y="898"/>
                </a:cubicBezTo>
                <a:cubicBezTo>
                  <a:pt x="2069" y="902"/>
                  <a:pt x="2073" y="905"/>
                  <a:pt x="2077" y="905"/>
                </a:cubicBezTo>
                <a:cubicBezTo>
                  <a:pt x="2081" y="905"/>
                  <a:pt x="2085" y="902"/>
                  <a:pt x="2085" y="898"/>
                </a:cubicBezTo>
                <a:cubicBezTo>
                  <a:pt x="2085" y="894"/>
                  <a:pt x="2081" y="891"/>
                  <a:pt x="2077" y="891"/>
                </a:cubicBezTo>
                <a:close/>
                <a:moveTo>
                  <a:pt x="2100" y="891"/>
                </a:moveTo>
                <a:cubicBezTo>
                  <a:pt x="2096" y="891"/>
                  <a:pt x="2092" y="894"/>
                  <a:pt x="2092" y="898"/>
                </a:cubicBezTo>
                <a:cubicBezTo>
                  <a:pt x="2092" y="902"/>
                  <a:pt x="2096" y="905"/>
                  <a:pt x="2100" y="905"/>
                </a:cubicBezTo>
                <a:cubicBezTo>
                  <a:pt x="2104" y="905"/>
                  <a:pt x="2108" y="902"/>
                  <a:pt x="2108" y="898"/>
                </a:cubicBezTo>
                <a:cubicBezTo>
                  <a:pt x="2108" y="894"/>
                  <a:pt x="2104" y="891"/>
                  <a:pt x="2100" y="891"/>
                </a:cubicBezTo>
                <a:close/>
                <a:moveTo>
                  <a:pt x="2122" y="891"/>
                </a:moveTo>
                <a:cubicBezTo>
                  <a:pt x="2118" y="891"/>
                  <a:pt x="2115" y="894"/>
                  <a:pt x="2115" y="898"/>
                </a:cubicBezTo>
                <a:cubicBezTo>
                  <a:pt x="2115" y="902"/>
                  <a:pt x="2118" y="905"/>
                  <a:pt x="2122" y="905"/>
                </a:cubicBezTo>
                <a:cubicBezTo>
                  <a:pt x="2126" y="905"/>
                  <a:pt x="2129" y="902"/>
                  <a:pt x="2129" y="898"/>
                </a:cubicBezTo>
                <a:cubicBezTo>
                  <a:pt x="2129" y="894"/>
                  <a:pt x="2126" y="891"/>
                  <a:pt x="2122" y="891"/>
                </a:cubicBezTo>
                <a:close/>
                <a:moveTo>
                  <a:pt x="1988" y="911"/>
                </a:moveTo>
                <a:cubicBezTo>
                  <a:pt x="1984" y="911"/>
                  <a:pt x="1981" y="914"/>
                  <a:pt x="1981" y="917"/>
                </a:cubicBezTo>
                <a:cubicBezTo>
                  <a:pt x="1981" y="921"/>
                  <a:pt x="1984" y="924"/>
                  <a:pt x="1988" y="924"/>
                </a:cubicBezTo>
                <a:cubicBezTo>
                  <a:pt x="1993" y="924"/>
                  <a:pt x="1996" y="921"/>
                  <a:pt x="1996" y="917"/>
                </a:cubicBezTo>
                <a:cubicBezTo>
                  <a:pt x="1996" y="914"/>
                  <a:pt x="1993" y="911"/>
                  <a:pt x="1988" y="911"/>
                </a:cubicBezTo>
                <a:close/>
                <a:moveTo>
                  <a:pt x="2011" y="911"/>
                </a:moveTo>
                <a:cubicBezTo>
                  <a:pt x="2007" y="911"/>
                  <a:pt x="2004" y="914"/>
                  <a:pt x="2004" y="917"/>
                </a:cubicBezTo>
                <a:cubicBezTo>
                  <a:pt x="2004" y="921"/>
                  <a:pt x="2007" y="924"/>
                  <a:pt x="2011" y="924"/>
                </a:cubicBezTo>
                <a:cubicBezTo>
                  <a:pt x="2016" y="924"/>
                  <a:pt x="2019" y="921"/>
                  <a:pt x="2019" y="917"/>
                </a:cubicBezTo>
                <a:cubicBezTo>
                  <a:pt x="2019" y="914"/>
                  <a:pt x="2016" y="911"/>
                  <a:pt x="2011" y="911"/>
                </a:cubicBezTo>
                <a:close/>
                <a:moveTo>
                  <a:pt x="1988" y="930"/>
                </a:moveTo>
                <a:cubicBezTo>
                  <a:pt x="1984" y="930"/>
                  <a:pt x="1981" y="933"/>
                  <a:pt x="1981" y="937"/>
                </a:cubicBezTo>
                <a:cubicBezTo>
                  <a:pt x="1981" y="940"/>
                  <a:pt x="1984" y="943"/>
                  <a:pt x="1988" y="943"/>
                </a:cubicBezTo>
                <a:cubicBezTo>
                  <a:pt x="1993" y="943"/>
                  <a:pt x="1996" y="940"/>
                  <a:pt x="1996" y="937"/>
                </a:cubicBezTo>
                <a:cubicBezTo>
                  <a:pt x="1996" y="933"/>
                  <a:pt x="1993" y="930"/>
                  <a:pt x="1988" y="930"/>
                </a:cubicBezTo>
                <a:close/>
                <a:moveTo>
                  <a:pt x="2011" y="930"/>
                </a:moveTo>
                <a:cubicBezTo>
                  <a:pt x="2007" y="930"/>
                  <a:pt x="2004" y="933"/>
                  <a:pt x="2004" y="937"/>
                </a:cubicBezTo>
                <a:cubicBezTo>
                  <a:pt x="2004" y="940"/>
                  <a:pt x="2007" y="943"/>
                  <a:pt x="2011" y="943"/>
                </a:cubicBezTo>
                <a:cubicBezTo>
                  <a:pt x="2016" y="943"/>
                  <a:pt x="2019" y="940"/>
                  <a:pt x="2019" y="937"/>
                </a:cubicBezTo>
                <a:cubicBezTo>
                  <a:pt x="2019" y="933"/>
                  <a:pt x="2016" y="930"/>
                  <a:pt x="2011" y="930"/>
                </a:cubicBezTo>
                <a:close/>
                <a:moveTo>
                  <a:pt x="1988" y="950"/>
                </a:moveTo>
                <a:cubicBezTo>
                  <a:pt x="1984" y="950"/>
                  <a:pt x="1981" y="953"/>
                  <a:pt x="1981" y="956"/>
                </a:cubicBezTo>
                <a:cubicBezTo>
                  <a:pt x="1981" y="960"/>
                  <a:pt x="1984" y="963"/>
                  <a:pt x="1988" y="963"/>
                </a:cubicBezTo>
                <a:cubicBezTo>
                  <a:pt x="1993" y="963"/>
                  <a:pt x="1996" y="960"/>
                  <a:pt x="1996" y="956"/>
                </a:cubicBezTo>
                <a:cubicBezTo>
                  <a:pt x="1996" y="953"/>
                  <a:pt x="1993" y="950"/>
                  <a:pt x="1988" y="950"/>
                </a:cubicBezTo>
                <a:close/>
                <a:moveTo>
                  <a:pt x="2011" y="950"/>
                </a:moveTo>
                <a:cubicBezTo>
                  <a:pt x="2007" y="950"/>
                  <a:pt x="2004" y="953"/>
                  <a:pt x="2004" y="956"/>
                </a:cubicBezTo>
                <a:cubicBezTo>
                  <a:pt x="2004" y="960"/>
                  <a:pt x="2007" y="963"/>
                  <a:pt x="2011" y="963"/>
                </a:cubicBezTo>
                <a:cubicBezTo>
                  <a:pt x="2016" y="963"/>
                  <a:pt x="2019" y="960"/>
                  <a:pt x="2019" y="956"/>
                </a:cubicBezTo>
                <a:cubicBezTo>
                  <a:pt x="2019" y="953"/>
                  <a:pt x="2016" y="950"/>
                  <a:pt x="2011" y="950"/>
                </a:cubicBezTo>
                <a:close/>
                <a:moveTo>
                  <a:pt x="1988" y="969"/>
                </a:moveTo>
                <a:cubicBezTo>
                  <a:pt x="1984" y="969"/>
                  <a:pt x="1981" y="972"/>
                  <a:pt x="1981" y="976"/>
                </a:cubicBezTo>
                <a:cubicBezTo>
                  <a:pt x="1981" y="980"/>
                  <a:pt x="1984" y="983"/>
                  <a:pt x="1988" y="983"/>
                </a:cubicBezTo>
                <a:cubicBezTo>
                  <a:pt x="1993" y="983"/>
                  <a:pt x="1996" y="980"/>
                  <a:pt x="1996" y="976"/>
                </a:cubicBezTo>
                <a:cubicBezTo>
                  <a:pt x="1996" y="972"/>
                  <a:pt x="1993" y="969"/>
                  <a:pt x="1988" y="969"/>
                </a:cubicBezTo>
                <a:close/>
                <a:moveTo>
                  <a:pt x="2011" y="969"/>
                </a:moveTo>
                <a:cubicBezTo>
                  <a:pt x="2007" y="969"/>
                  <a:pt x="2004" y="972"/>
                  <a:pt x="2004" y="976"/>
                </a:cubicBezTo>
                <a:cubicBezTo>
                  <a:pt x="2004" y="980"/>
                  <a:pt x="2007" y="983"/>
                  <a:pt x="2011" y="983"/>
                </a:cubicBezTo>
                <a:cubicBezTo>
                  <a:pt x="2016" y="983"/>
                  <a:pt x="2019" y="980"/>
                  <a:pt x="2019" y="976"/>
                </a:cubicBezTo>
                <a:cubicBezTo>
                  <a:pt x="2019" y="972"/>
                  <a:pt x="2016" y="969"/>
                  <a:pt x="2011" y="969"/>
                </a:cubicBezTo>
                <a:close/>
                <a:moveTo>
                  <a:pt x="2033" y="911"/>
                </a:moveTo>
                <a:cubicBezTo>
                  <a:pt x="2029" y="911"/>
                  <a:pt x="2025" y="914"/>
                  <a:pt x="2025" y="917"/>
                </a:cubicBezTo>
                <a:cubicBezTo>
                  <a:pt x="2025" y="921"/>
                  <a:pt x="2029" y="924"/>
                  <a:pt x="2033" y="924"/>
                </a:cubicBezTo>
                <a:cubicBezTo>
                  <a:pt x="2037" y="924"/>
                  <a:pt x="2041" y="921"/>
                  <a:pt x="2041" y="917"/>
                </a:cubicBezTo>
                <a:cubicBezTo>
                  <a:pt x="2041" y="914"/>
                  <a:pt x="2037" y="911"/>
                  <a:pt x="2033" y="911"/>
                </a:cubicBezTo>
                <a:close/>
                <a:moveTo>
                  <a:pt x="2055" y="911"/>
                </a:moveTo>
                <a:cubicBezTo>
                  <a:pt x="2051" y="911"/>
                  <a:pt x="2047" y="914"/>
                  <a:pt x="2047" y="917"/>
                </a:cubicBezTo>
                <a:cubicBezTo>
                  <a:pt x="2047" y="921"/>
                  <a:pt x="2051" y="924"/>
                  <a:pt x="2055" y="924"/>
                </a:cubicBezTo>
                <a:cubicBezTo>
                  <a:pt x="2059" y="924"/>
                  <a:pt x="2063" y="921"/>
                  <a:pt x="2063" y="917"/>
                </a:cubicBezTo>
                <a:cubicBezTo>
                  <a:pt x="2063" y="914"/>
                  <a:pt x="2059" y="911"/>
                  <a:pt x="2055" y="911"/>
                </a:cubicBezTo>
                <a:close/>
                <a:moveTo>
                  <a:pt x="2033" y="930"/>
                </a:moveTo>
                <a:cubicBezTo>
                  <a:pt x="2029" y="930"/>
                  <a:pt x="2025" y="933"/>
                  <a:pt x="2025" y="937"/>
                </a:cubicBezTo>
                <a:cubicBezTo>
                  <a:pt x="2025" y="940"/>
                  <a:pt x="2029" y="943"/>
                  <a:pt x="2033" y="943"/>
                </a:cubicBezTo>
                <a:cubicBezTo>
                  <a:pt x="2037" y="943"/>
                  <a:pt x="2041" y="940"/>
                  <a:pt x="2041" y="937"/>
                </a:cubicBezTo>
                <a:cubicBezTo>
                  <a:pt x="2041" y="933"/>
                  <a:pt x="2037" y="930"/>
                  <a:pt x="2033" y="930"/>
                </a:cubicBezTo>
                <a:close/>
                <a:moveTo>
                  <a:pt x="2055" y="930"/>
                </a:moveTo>
                <a:cubicBezTo>
                  <a:pt x="2051" y="930"/>
                  <a:pt x="2047" y="933"/>
                  <a:pt x="2047" y="937"/>
                </a:cubicBezTo>
                <a:cubicBezTo>
                  <a:pt x="2047" y="940"/>
                  <a:pt x="2051" y="943"/>
                  <a:pt x="2055" y="943"/>
                </a:cubicBezTo>
                <a:cubicBezTo>
                  <a:pt x="2059" y="943"/>
                  <a:pt x="2063" y="940"/>
                  <a:pt x="2063" y="937"/>
                </a:cubicBezTo>
                <a:cubicBezTo>
                  <a:pt x="2063" y="933"/>
                  <a:pt x="2059" y="930"/>
                  <a:pt x="2055" y="930"/>
                </a:cubicBezTo>
                <a:close/>
                <a:moveTo>
                  <a:pt x="2033" y="950"/>
                </a:moveTo>
                <a:cubicBezTo>
                  <a:pt x="2029" y="950"/>
                  <a:pt x="2025" y="953"/>
                  <a:pt x="2025" y="956"/>
                </a:cubicBezTo>
                <a:cubicBezTo>
                  <a:pt x="2025" y="960"/>
                  <a:pt x="2029" y="963"/>
                  <a:pt x="2033" y="963"/>
                </a:cubicBezTo>
                <a:cubicBezTo>
                  <a:pt x="2037" y="963"/>
                  <a:pt x="2041" y="960"/>
                  <a:pt x="2041" y="956"/>
                </a:cubicBezTo>
                <a:cubicBezTo>
                  <a:pt x="2041" y="953"/>
                  <a:pt x="2037" y="950"/>
                  <a:pt x="2033" y="950"/>
                </a:cubicBezTo>
                <a:close/>
                <a:moveTo>
                  <a:pt x="2055" y="950"/>
                </a:moveTo>
                <a:cubicBezTo>
                  <a:pt x="2051" y="950"/>
                  <a:pt x="2047" y="953"/>
                  <a:pt x="2047" y="956"/>
                </a:cubicBezTo>
                <a:cubicBezTo>
                  <a:pt x="2047" y="960"/>
                  <a:pt x="2051" y="963"/>
                  <a:pt x="2055" y="963"/>
                </a:cubicBezTo>
                <a:cubicBezTo>
                  <a:pt x="2059" y="963"/>
                  <a:pt x="2063" y="960"/>
                  <a:pt x="2063" y="956"/>
                </a:cubicBezTo>
                <a:cubicBezTo>
                  <a:pt x="2063" y="953"/>
                  <a:pt x="2059" y="950"/>
                  <a:pt x="2055" y="950"/>
                </a:cubicBezTo>
                <a:close/>
                <a:moveTo>
                  <a:pt x="2033" y="969"/>
                </a:moveTo>
                <a:cubicBezTo>
                  <a:pt x="2029" y="969"/>
                  <a:pt x="2025" y="972"/>
                  <a:pt x="2025" y="976"/>
                </a:cubicBezTo>
                <a:cubicBezTo>
                  <a:pt x="2025" y="980"/>
                  <a:pt x="2029" y="983"/>
                  <a:pt x="2033" y="983"/>
                </a:cubicBezTo>
                <a:cubicBezTo>
                  <a:pt x="2037" y="983"/>
                  <a:pt x="2041" y="980"/>
                  <a:pt x="2041" y="976"/>
                </a:cubicBezTo>
                <a:cubicBezTo>
                  <a:pt x="2041" y="972"/>
                  <a:pt x="2037" y="969"/>
                  <a:pt x="2033" y="969"/>
                </a:cubicBezTo>
                <a:close/>
                <a:moveTo>
                  <a:pt x="2055" y="969"/>
                </a:moveTo>
                <a:cubicBezTo>
                  <a:pt x="2051" y="969"/>
                  <a:pt x="2047" y="972"/>
                  <a:pt x="2047" y="976"/>
                </a:cubicBezTo>
                <a:cubicBezTo>
                  <a:pt x="2047" y="980"/>
                  <a:pt x="2051" y="983"/>
                  <a:pt x="2055" y="983"/>
                </a:cubicBezTo>
                <a:cubicBezTo>
                  <a:pt x="2059" y="983"/>
                  <a:pt x="2063" y="980"/>
                  <a:pt x="2063" y="976"/>
                </a:cubicBezTo>
                <a:cubicBezTo>
                  <a:pt x="2063" y="972"/>
                  <a:pt x="2059" y="969"/>
                  <a:pt x="2055" y="969"/>
                </a:cubicBezTo>
                <a:close/>
                <a:moveTo>
                  <a:pt x="2033" y="988"/>
                </a:moveTo>
                <a:cubicBezTo>
                  <a:pt x="2029" y="988"/>
                  <a:pt x="2025" y="991"/>
                  <a:pt x="2025" y="995"/>
                </a:cubicBezTo>
                <a:cubicBezTo>
                  <a:pt x="2025" y="999"/>
                  <a:pt x="2029" y="1002"/>
                  <a:pt x="2033" y="1002"/>
                </a:cubicBezTo>
                <a:cubicBezTo>
                  <a:pt x="2037" y="1002"/>
                  <a:pt x="2041" y="999"/>
                  <a:pt x="2041" y="995"/>
                </a:cubicBezTo>
                <a:cubicBezTo>
                  <a:pt x="2041" y="991"/>
                  <a:pt x="2037" y="988"/>
                  <a:pt x="2033" y="988"/>
                </a:cubicBezTo>
                <a:close/>
                <a:moveTo>
                  <a:pt x="2055" y="988"/>
                </a:moveTo>
                <a:cubicBezTo>
                  <a:pt x="2051" y="988"/>
                  <a:pt x="2047" y="991"/>
                  <a:pt x="2047" y="995"/>
                </a:cubicBezTo>
                <a:cubicBezTo>
                  <a:pt x="2047" y="999"/>
                  <a:pt x="2051" y="1002"/>
                  <a:pt x="2055" y="1002"/>
                </a:cubicBezTo>
                <a:cubicBezTo>
                  <a:pt x="2059" y="1002"/>
                  <a:pt x="2063" y="999"/>
                  <a:pt x="2063" y="995"/>
                </a:cubicBezTo>
                <a:cubicBezTo>
                  <a:pt x="2063" y="991"/>
                  <a:pt x="2059" y="988"/>
                  <a:pt x="2055" y="988"/>
                </a:cubicBezTo>
                <a:close/>
                <a:moveTo>
                  <a:pt x="2055" y="1008"/>
                </a:moveTo>
                <a:cubicBezTo>
                  <a:pt x="2051" y="1008"/>
                  <a:pt x="2047" y="1011"/>
                  <a:pt x="2047" y="1014"/>
                </a:cubicBezTo>
                <a:cubicBezTo>
                  <a:pt x="2047" y="1018"/>
                  <a:pt x="2051" y="1021"/>
                  <a:pt x="2055" y="1021"/>
                </a:cubicBezTo>
                <a:cubicBezTo>
                  <a:pt x="2059" y="1021"/>
                  <a:pt x="2063" y="1018"/>
                  <a:pt x="2063" y="1014"/>
                </a:cubicBezTo>
                <a:cubicBezTo>
                  <a:pt x="2063" y="1011"/>
                  <a:pt x="2059" y="1008"/>
                  <a:pt x="2055" y="1008"/>
                </a:cubicBezTo>
                <a:close/>
                <a:moveTo>
                  <a:pt x="2077" y="911"/>
                </a:moveTo>
                <a:cubicBezTo>
                  <a:pt x="2073" y="911"/>
                  <a:pt x="2069" y="914"/>
                  <a:pt x="2069" y="917"/>
                </a:cubicBezTo>
                <a:cubicBezTo>
                  <a:pt x="2069" y="921"/>
                  <a:pt x="2073" y="924"/>
                  <a:pt x="2077" y="924"/>
                </a:cubicBezTo>
                <a:cubicBezTo>
                  <a:pt x="2081" y="924"/>
                  <a:pt x="2085" y="921"/>
                  <a:pt x="2085" y="917"/>
                </a:cubicBezTo>
                <a:cubicBezTo>
                  <a:pt x="2085" y="914"/>
                  <a:pt x="2081" y="911"/>
                  <a:pt x="2077" y="911"/>
                </a:cubicBezTo>
                <a:close/>
                <a:moveTo>
                  <a:pt x="2100" y="911"/>
                </a:moveTo>
                <a:cubicBezTo>
                  <a:pt x="2096" y="911"/>
                  <a:pt x="2092" y="914"/>
                  <a:pt x="2092" y="917"/>
                </a:cubicBezTo>
                <a:cubicBezTo>
                  <a:pt x="2092" y="921"/>
                  <a:pt x="2096" y="924"/>
                  <a:pt x="2100" y="924"/>
                </a:cubicBezTo>
                <a:cubicBezTo>
                  <a:pt x="2104" y="924"/>
                  <a:pt x="2108" y="921"/>
                  <a:pt x="2108" y="917"/>
                </a:cubicBezTo>
                <a:cubicBezTo>
                  <a:pt x="2108" y="914"/>
                  <a:pt x="2104" y="911"/>
                  <a:pt x="2100" y="911"/>
                </a:cubicBezTo>
                <a:close/>
                <a:moveTo>
                  <a:pt x="2077" y="930"/>
                </a:moveTo>
                <a:cubicBezTo>
                  <a:pt x="2073" y="930"/>
                  <a:pt x="2069" y="933"/>
                  <a:pt x="2069" y="937"/>
                </a:cubicBezTo>
                <a:cubicBezTo>
                  <a:pt x="2069" y="940"/>
                  <a:pt x="2073" y="943"/>
                  <a:pt x="2077" y="943"/>
                </a:cubicBezTo>
                <a:cubicBezTo>
                  <a:pt x="2081" y="943"/>
                  <a:pt x="2085" y="940"/>
                  <a:pt x="2085" y="937"/>
                </a:cubicBezTo>
                <a:cubicBezTo>
                  <a:pt x="2085" y="933"/>
                  <a:pt x="2081" y="930"/>
                  <a:pt x="2077" y="930"/>
                </a:cubicBezTo>
                <a:close/>
                <a:moveTo>
                  <a:pt x="2100" y="930"/>
                </a:moveTo>
                <a:cubicBezTo>
                  <a:pt x="2096" y="930"/>
                  <a:pt x="2092" y="933"/>
                  <a:pt x="2092" y="937"/>
                </a:cubicBezTo>
                <a:cubicBezTo>
                  <a:pt x="2092" y="940"/>
                  <a:pt x="2096" y="943"/>
                  <a:pt x="2100" y="943"/>
                </a:cubicBezTo>
                <a:cubicBezTo>
                  <a:pt x="2104" y="943"/>
                  <a:pt x="2108" y="940"/>
                  <a:pt x="2108" y="937"/>
                </a:cubicBezTo>
                <a:cubicBezTo>
                  <a:pt x="2108" y="933"/>
                  <a:pt x="2104" y="930"/>
                  <a:pt x="2100" y="930"/>
                </a:cubicBezTo>
                <a:close/>
                <a:moveTo>
                  <a:pt x="2077" y="950"/>
                </a:moveTo>
                <a:cubicBezTo>
                  <a:pt x="2073" y="950"/>
                  <a:pt x="2069" y="953"/>
                  <a:pt x="2069" y="956"/>
                </a:cubicBezTo>
                <a:cubicBezTo>
                  <a:pt x="2069" y="960"/>
                  <a:pt x="2073" y="963"/>
                  <a:pt x="2077" y="963"/>
                </a:cubicBezTo>
                <a:cubicBezTo>
                  <a:pt x="2081" y="963"/>
                  <a:pt x="2085" y="960"/>
                  <a:pt x="2085" y="956"/>
                </a:cubicBezTo>
                <a:cubicBezTo>
                  <a:pt x="2085" y="953"/>
                  <a:pt x="2081" y="950"/>
                  <a:pt x="2077" y="950"/>
                </a:cubicBezTo>
                <a:close/>
                <a:moveTo>
                  <a:pt x="2100" y="950"/>
                </a:moveTo>
                <a:cubicBezTo>
                  <a:pt x="2096" y="950"/>
                  <a:pt x="2092" y="953"/>
                  <a:pt x="2092" y="956"/>
                </a:cubicBezTo>
                <a:cubicBezTo>
                  <a:pt x="2092" y="960"/>
                  <a:pt x="2096" y="963"/>
                  <a:pt x="2100" y="963"/>
                </a:cubicBezTo>
                <a:cubicBezTo>
                  <a:pt x="2104" y="963"/>
                  <a:pt x="2108" y="960"/>
                  <a:pt x="2108" y="956"/>
                </a:cubicBezTo>
                <a:cubicBezTo>
                  <a:pt x="2108" y="953"/>
                  <a:pt x="2104" y="950"/>
                  <a:pt x="2100" y="950"/>
                </a:cubicBezTo>
                <a:close/>
                <a:moveTo>
                  <a:pt x="2077" y="969"/>
                </a:moveTo>
                <a:cubicBezTo>
                  <a:pt x="2073" y="969"/>
                  <a:pt x="2069" y="972"/>
                  <a:pt x="2069" y="976"/>
                </a:cubicBezTo>
                <a:cubicBezTo>
                  <a:pt x="2069" y="980"/>
                  <a:pt x="2073" y="983"/>
                  <a:pt x="2077" y="983"/>
                </a:cubicBezTo>
                <a:cubicBezTo>
                  <a:pt x="2081" y="983"/>
                  <a:pt x="2085" y="980"/>
                  <a:pt x="2085" y="976"/>
                </a:cubicBezTo>
                <a:cubicBezTo>
                  <a:pt x="2085" y="972"/>
                  <a:pt x="2081" y="969"/>
                  <a:pt x="2077" y="969"/>
                </a:cubicBezTo>
                <a:close/>
                <a:moveTo>
                  <a:pt x="2100" y="969"/>
                </a:moveTo>
                <a:cubicBezTo>
                  <a:pt x="2096" y="969"/>
                  <a:pt x="2092" y="972"/>
                  <a:pt x="2092" y="976"/>
                </a:cubicBezTo>
                <a:cubicBezTo>
                  <a:pt x="2092" y="980"/>
                  <a:pt x="2096" y="983"/>
                  <a:pt x="2100" y="983"/>
                </a:cubicBezTo>
                <a:cubicBezTo>
                  <a:pt x="2104" y="983"/>
                  <a:pt x="2108" y="980"/>
                  <a:pt x="2108" y="976"/>
                </a:cubicBezTo>
                <a:cubicBezTo>
                  <a:pt x="2108" y="972"/>
                  <a:pt x="2104" y="969"/>
                  <a:pt x="2100" y="969"/>
                </a:cubicBezTo>
                <a:close/>
                <a:moveTo>
                  <a:pt x="2077" y="988"/>
                </a:moveTo>
                <a:cubicBezTo>
                  <a:pt x="2073" y="988"/>
                  <a:pt x="2069" y="991"/>
                  <a:pt x="2069" y="995"/>
                </a:cubicBezTo>
                <a:cubicBezTo>
                  <a:pt x="2069" y="999"/>
                  <a:pt x="2073" y="1002"/>
                  <a:pt x="2077" y="1002"/>
                </a:cubicBezTo>
                <a:cubicBezTo>
                  <a:pt x="2081" y="1002"/>
                  <a:pt x="2085" y="999"/>
                  <a:pt x="2085" y="995"/>
                </a:cubicBezTo>
                <a:cubicBezTo>
                  <a:pt x="2085" y="991"/>
                  <a:pt x="2081" y="988"/>
                  <a:pt x="2077" y="988"/>
                </a:cubicBezTo>
                <a:close/>
                <a:moveTo>
                  <a:pt x="2100" y="988"/>
                </a:moveTo>
                <a:cubicBezTo>
                  <a:pt x="2096" y="988"/>
                  <a:pt x="2092" y="991"/>
                  <a:pt x="2092" y="995"/>
                </a:cubicBezTo>
                <a:cubicBezTo>
                  <a:pt x="2092" y="999"/>
                  <a:pt x="2096" y="1002"/>
                  <a:pt x="2100" y="1002"/>
                </a:cubicBezTo>
                <a:cubicBezTo>
                  <a:pt x="2104" y="1002"/>
                  <a:pt x="2108" y="999"/>
                  <a:pt x="2108" y="995"/>
                </a:cubicBezTo>
                <a:cubicBezTo>
                  <a:pt x="2108" y="991"/>
                  <a:pt x="2104" y="988"/>
                  <a:pt x="2100" y="988"/>
                </a:cubicBezTo>
                <a:close/>
                <a:moveTo>
                  <a:pt x="2077" y="1008"/>
                </a:moveTo>
                <a:cubicBezTo>
                  <a:pt x="2073" y="1008"/>
                  <a:pt x="2069" y="1011"/>
                  <a:pt x="2069" y="1014"/>
                </a:cubicBezTo>
                <a:cubicBezTo>
                  <a:pt x="2069" y="1018"/>
                  <a:pt x="2073" y="1021"/>
                  <a:pt x="2077" y="1021"/>
                </a:cubicBezTo>
                <a:cubicBezTo>
                  <a:pt x="2081" y="1021"/>
                  <a:pt x="2085" y="1018"/>
                  <a:pt x="2085" y="1014"/>
                </a:cubicBezTo>
                <a:cubicBezTo>
                  <a:pt x="2085" y="1011"/>
                  <a:pt x="2081" y="1008"/>
                  <a:pt x="2077" y="1008"/>
                </a:cubicBezTo>
                <a:close/>
                <a:moveTo>
                  <a:pt x="2100" y="1008"/>
                </a:moveTo>
                <a:cubicBezTo>
                  <a:pt x="2096" y="1008"/>
                  <a:pt x="2092" y="1011"/>
                  <a:pt x="2092" y="1014"/>
                </a:cubicBezTo>
                <a:cubicBezTo>
                  <a:pt x="2092" y="1018"/>
                  <a:pt x="2096" y="1021"/>
                  <a:pt x="2100" y="1021"/>
                </a:cubicBezTo>
                <a:cubicBezTo>
                  <a:pt x="2104" y="1021"/>
                  <a:pt x="2108" y="1018"/>
                  <a:pt x="2108" y="1014"/>
                </a:cubicBezTo>
                <a:cubicBezTo>
                  <a:pt x="2108" y="1011"/>
                  <a:pt x="2104" y="1008"/>
                  <a:pt x="2100" y="1008"/>
                </a:cubicBezTo>
                <a:close/>
                <a:moveTo>
                  <a:pt x="2077" y="1026"/>
                </a:moveTo>
                <a:cubicBezTo>
                  <a:pt x="2073" y="1026"/>
                  <a:pt x="2069" y="1029"/>
                  <a:pt x="2069" y="1033"/>
                </a:cubicBezTo>
                <a:cubicBezTo>
                  <a:pt x="2069" y="1037"/>
                  <a:pt x="2073" y="1040"/>
                  <a:pt x="2077" y="1040"/>
                </a:cubicBezTo>
                <a:cubicBezTo>
                  <a:pt x="2081" y="1040"/>
                  <a:pt x="2085" y="1037"/>
                  <a:pt x="2085" y="1033"/>
                </a:cubicBezTo>
                <a:cubicBezTo>
                  <a:pt x="2085" y="1029"/>
                  <a:pt x="2081" y="1026"/>
                  <a:pt x="2077" y="1026"/>
                </a:cubicBezTo>
                <a:close/>
                <a:moveTo>
                  <a:pt x="2100" y="1026"/>
                </a:moveTo>
                <a:cubicBezTo>
                  <a:pt x="2096" y="1026"/>
                  <a:pt x="2092" y="1029"/>
                  <a:pt x="2092" y="1033"/>
                </a:cubicBezTo>
                <a:cubicBezTo>
                  <a:pt x="2092" y="1037"/>
                  <a:pt x="2096" y="1040"/>
                  <a:pt x="2100" y="1040"/>
                </a:cubicBezTo>
                <a:cubicBezTo>
                  <a:pt x="2104" y="1040"/>
                  <a:pt x="2108" y="1037"/>
                  <a:pt x="2108" y="1033"/>
                </a:cubicBezTo>
                <a:cubicBezTo>
                  <a:pt x="2108" y="1029"/>
                  <a:pt x="2104" y="1026"/>
                  <a:pt x="2100" y="1026"/>
                </a:cubicBezTo>
                <a:close/>
                <a:moveTo>
                  <a:pt x="2100" y="1066"/>
                </a:moveTo>
                <a:cubicBezTo>
                  <a:pt x="2096" y="1066"/>
                  <a:pt x="2092" y="1069"/>
                  <a:pt x="2092" y="1073"/>
                </a:cubicBezTo>
                <a:cubicBezTo>
                  <a:pt x="2092" y="1076"/>
                  <a:pt x="2096" y="1079"/>
                  <a:pt x="2100" y="1079"/>
                </a:cubicBezTo>
                <a:cubicBezTo>
                  <a:pt x="2104" y="1079"/>
                  <a:pt x="2108" y="1076"/>
                  <a:pt x="2108" y="1073"/>
                </a:cubicBezTo>
                <a:cubicBezTo>
                  <a:pt x="2108" y="1069"/>
                  <a:pt x="2104" y="1066"/>
                  <a:pt x="2100" y="1066"/>
                </a:cubicBezTo>
                <a:close/>
                <a:moveTo>
                  <a:pt x="2100" y="1085"/>
                </a:moveTo>
                <a:cubicBezTo>
                  <a:pt x="2096" y="1085"/>
                  <a:pt x="2092" y="1088"/>
                  <a:pt x="2092" y="1092"/>
                </a:cubicBezTo>
                <a:cubicBezTo>
                  <a:pt x="2092" y="1095"/>
                  <a:pt x="2096" y="1098"/>
                  <a:pt x="2100" y="1098"/>
                </a:cubicBezTo>
                <a:cubicBezTo>
                  <a:pt x="2104" y="1098"/>
                  <a:pt x="2108" y="1095"/>
                  <a:pt x="2108" y="1092"/>
                </a:cubicBezTo>
                <a:cubicBezTo>
                  <a:pt x="2108" y="1088"/>
                  <a:pt x="2104" y="1085"/>
                  <a:pt x="2100" y="1085"/>
                </a:cubicBezTo>
                <a:close/>
                <a:moveTo>
                  <a:pt x="2122" y="911"/>
                </a:moveTo>
                <a:cubicBezTo>
                  <a:pt x="2118" y="911"/>
                  <a:pt x="2115" y="914"/>
                  <a:pt x="2115" y="917"/>
                </a:cubicBezTo>
                <a:cubicBezTo>
                  <a:pt x="2115" y="921"/>
                  <a:pt x="2118" y="924"/>
                  <a:pt x="2122" y="924"/>
                </a:cubicBezTo>
                <a:cubicBezTo>
                  <a:pt x="2126" y="924"/>
                  <a:pt x="2129" y="921"/>
                  <a:pt x="2129" y="917"/>
                </a:cubicBezTo>
                <a:cubicBezTo>
                  <a:pt x="2129" y="914"/>
                  <a:pt x="2126" y="911"/>
                  <a:pt x="2122" y="911"/>
                </a:cubicBezTo>
                <a:close/>
                <a:moveTo>
                  <a:pt x="2122" y="930"/>
                </a:moveTo>
                <a:cubicBezTo>
                  <a:pt x="2118" y="930"/>
                  <a:pt x="2115" y="933"/>
                  <a:pt x="2115" y="937"/>
                </a:cubicBezTo>
                <a:cubicBezTo>
                  <a:pt x="2115" y="940"/>
                  <a:pt x="2118" y="943"/>
                  <a:pt x="2122" y="943"/>
                </a:cubicBezTo>
                <a:cubicBezTo>
                  <a:pt x="2126" y="943"/>
                  <a:pt x="2129" y="940"/>
                  <a:pt x="2129" y="937"/>
                </a:cubicBezTo>
                <a:cubicBezTo>
                  <a:pt x="2129" y="933"/>
                  <a:pt x="2126" y="930"/>
                  <a:pt x="2122" y="930"/>
                </a:cubicBezTo>
                <a:close/>
                <a:moveTo>
                  <a:pt x="2144" y="930"/>
                </a:moveTo>
                <a:cubicBezTo>
                  <a:pt x="2140" y="930"/>
                  <a:pt x="2136" y="933"/>
                  <a:pt x="2136" y="937"/>
                </a:cubicBezTo>
                <a:cubicBezTo>
                  <a:pt x="2136" y="940"/>
                  <a:pt x="2140" y="943"/>
                  <a:pt x="2144" y="943"/>
                </a:cubicBezTo>
                <a:cubicBezTo>
                  <a:pt x="2148" y="943"/>
                  <a:pt x="2152" y="940"/>
                  <a:pt x="2152" y="937"/>
                </a:cubicBezTo>
                <a:cubicBezTo>
                  <a:pt x="2152" y="933"/>
                  <a:pt x="2148" y="930"/>
                  <a:pt x="2144" y="930"/>
                </a:cubicBezTo>
                <a:close/>
                <a:moveTo>
                  <a:pt x="2122" y="950"/>
                </a:moveTo>
                <a:cubicBezTo>
                  <a:pt x="2118" y="950"/>
                  <a:pt x="2115" y="953"/>
                  <a:pt x="2115" y="956"/>
                </a:cubicBezTo>
                <a:cubicBezTo>
                  <a:pt x="2115" y="960"/>
                  <a:pt x="2118" y="963"/>
                  <a:pt x="2122" y="963"/>
                </a:cubicBezTo>
                <a:cubicBezTo>
                  <a:pt x="2126" y="963"/>
                  <a:pt x="2129" y="960"/>
                  <a:pt x="2129" y="956"/>
                </a:cubicBezTo>
                <a:cubicBezTo>
                  <a:pt x="2129" y="953"/>
                  <a:pt x="2126" y="950"/>
                  <a:pt x="2122" y="950"/>
                </a:cubicBezTo>
                <a:close/>
                <a:moveTo>
                  <a:pt x="2144" y="950"/>
                </a:moveTo>
                <a:cubicBezTo>
                  <a:pt x="2140" y="950"/>
                  <a:pt x="2136" y="953"/>
                  <a:pt x="2136" y="956"/>
                </a:cubicBezTo>
                <a:cubicBezTo>
                  <a:pt x="2136" y="960"/>
                  <a:pt x="2140" y="963"/>
                  <a:pt x="2144" y="963"/>
                </a:cubicBezTo>
                <a:cubicBezTo>
                  <a:pt x="2148" y="963"/>
                  <a:pt x="2152" y="960"/>
                  <a:pt x="2152" y="956"/>
                </a:cubicBezTo>
                <a:cubicBezTo>
                  <a:pt x="2152" y="953"/>
                  <a:pt x="2148" y="950"/>
                  <a:pt x="2144" y="950"/>
                </a:cubicBezTo>
                <a:close/>
                <a:moveTo>
                  <a:pt x="2122" y="969"/>
                </a:moveTo>
                <a:cubicBezTo>
                  <a:pt x="2118" y="969"/>
                  <a:pt x="2115" y="972"/>
                  <a:pt x="2115" y="976"/>
                </a:cubicBezTo>
                <a:cubicBezTo>
                  <a:pt x="2115" y="980"/>
                  <a:pt x="2118" y="983"/>
                  <a:pt x="2122" y="983"/>
                </a:cubicBezTo>
                <a:cubicBezTo>
                  <a:pt x="2126" y="983"/>
                  <a:pt x="2129" y="980"/>
                  <a:pt x="2129" y="976"/>
                </a:cubicBezTo>
                <a:cubicBezTo>
                  <a:pt x="2129" y="972"/>
                  <a:pt x="2126" y="969"/>
                  <a:pt x="2122" y="969"/>
                </a:cubicBezTo>
                <a:close/>
                <a:moveTo>
                  <a:pt x="2144" y="969"/>
                </a:moveTo>
                <a:cubicBezTo>
                  <a:pt x="2140" y="969"/>
                  <a:pt x="2136" y="972"/>
                  <a:pt x="2136" y="976"/>
                </a:cubicBezTo>
                <a:cubicBezTo>
                  <a:pt x="2136" y="980"/>
                  <a:pt x="2140" y="983"/>
                  <a:pt x="2144" y="983"/>
                </a:cubicBezTo>
                <a:cubicBezTo>
                  <a:pt x="2148" y="983"/>
                  <a:pt x="2152" y="980"/>
                  <a:pt x="2152" y="976"/>
                </a:cubicBezTo>
                <a:cubicBezTo>
                  <a:pt x="2152" y="972"/>
                  <a:pt x="2148" y="969"/>
                  <a:pt x="2144" y="969"/>
                </a:cubicBezTo>
                <a:close/>
                <a:moveTo>
                  <a:pt x="2122" y="988"/>
                </a:moveTo>
                <a:cubicBezTo>
                  <a:pt x="2118" y="988"/>
                  <a:pt x="2115" y="991"/>
                  <a:pt x="2115" y="995"/>
                </a:cubicBezTo>
                <a:cubicBezTo>
                  <a:pt x="2115" y="999"/>
                  <a:pt x="2118" y="1002"/>
                  <a:pt x="2122" y="1002"/>
                </a:cubicBezTo>
                <a:cubicBezTo>
                  <a:pt x="2126" y="1002"/>
                  <a:pt x="2129" y="999"/>
                  <a:pt x="2129" y="995"/>
                </a:cubicBezTo>
                <a:cubicBezTo>
                  <a:pt x="2129" y="991"/>
                  <a:pt x="2126" y="988"/>
                  <a:pt x="2122" y="988"/>
                </a:cubicBezTo>
                <a:close/>
                <a:moveTo>
                  <a:pt x="2122" y="1008"/>
                </a:moveTo>
                <a:cubicBezTo>
                  <a:pt x="2118" y="1008"/>
                  <a:pt x="2115" y="1011"/>
                  <a:pt x="2115" y="1014"/>
                </a:cubicBezTo>
                <a:cubicBezTo>
                  <a:pt x="2115" y="1018"/>
                  <a:pt x="2118" y="1021"/>
                  <a:pt x="2122" y="1021"/>
                </a:cubicBezTo>
                <a:cubicBezTo>
                  <a:pt x="2126" y="1021"/>
                  <a:pt x="2129" y="1018"/>
                  <a:pt x="2129" y="1014"/>
                </a:cubicBezTo>
                <a:cubicBezTo>
                  <a:pt x="2129" y="1011"/>
                  <a:pt x="2126" y="1008"/>
                  <a:pt x="2122" y="1008"/>
                </a:cubicBezTo>
                <a:close/>
                <a:moveTo>
                  <a:pt x="2278" y="1008"/>
                </a:moveTo>
                <a:cubicBezTo>
                  <a:pt x="2274" y="1008"/>
                  <a:pt x="2270" y="1011"/>
                  <a:pt x="2270" y="1014"/>
                </a:cubicBezTo>
                <a:cubicBezTo>
                  <a:pt x="2270" y="1018"/>
                  <a:pt x="2274" y="1021"/>
                  <a:pt x="2278" y="1021"/>
                </a:cubicBezTo>
                <a:cubicBezTo>
                  <a:pt x="2282" y="1021"/>
                  <a:pt x="2285" y="1018"/>
                  <a:pt x="2285" y="1014"/>
                </a:cubicBezTo>
                <a:cubicBezTo>
                  <a:pt x="2285" y="1011"/>
                  <a:pt x="2282" y="1008"/>
                  <a:pt x="2278" y="1008"/>
                </a:cubicBezTo>
                <a:close/>
                <a:moveTo>
                  <a:pt x="2278" y="1026"/>
                </a:moveTo>
                <a:cubicBezTo>
                  <a:pt x="2274" y="1026"/>
                  <a:pt x="2270" y="1029"/>
                  <a:pt x="2270" y="1033"/>
                </a:cubicBezTo>
                <a:cubicBezTo>
                  <a:pt x="2270" y="1037"/>
                  <a:pt x="2274" y="1040"/>
                  <a:pt x="2278" y="1040"/>
                </a:cubicBezTo>
                <a:cubicBezTo>
                  <a:pt x="2282" y="1040"/>
                  <a:pt x="2285" y="1037"/>
                  <a:pt x="2285" y="1033"/>
                </a:cubicBezTo>
                <a:cubicBezTo>
                  <a:pt x="2285" y="1029"/>
                  <a:pt x="2282" y="1026"/>
                  <a:pt x="2278" y="1026"/>
                </a:cubicBezTo>
                <a:close/>
                <a:moveTo>
                  <a:pt x="2278" y="1046"/>
                </a:moveTo>
                <a:cubicBezTo>
                  <a:pt x="2274" y="1046"/>
                  <a:pt x="2270" y="1049"/>
                  <a:pt x="2270" y="1053"/>
                </a:cubicBezTo>
                <a:cubicBezTo>
                  <a:pt x="2270" y="1057"/>
                  <a:pt x="2274" y="1060"/>
                  <a:pt x="2278" y="1060"/>
                </a:cubicBezTo>
                <a:cubicBezTo>
                  <a:pt x="2282" y="1060"/>
                  <a:pt x="2285" y="1057"/>
                  <a:pt x="2285" y="1053"/>
                </a:cubicBezTo>
                <a:cubicBezTo>
                  <a:pt x="2285" y="1049"/>
                  <a:pt x="2282" y="1046"/>
                  <a:pt x="2278" y="1046"/>
                </a:cubicBezTo>
                <a:close/>
                <a:moveTo>
                  <a:pt x="2122" y="1066"/>
                </a:moveTo>
                <a:cubicBezTo>
                  <a:pt x="2118" y="1066"/>
                  <a:pt x="2115" y="1069"/>
                  <a:pt x="2115" y="1073"/>
                </a:cubicBezTo>
                <a:cubicBezTo>
                  <a:pt x="2115" y="1076"/>
                  <a:pt x="2118" y="1079"/>
                  <a:pt x="2122" y="1079"/>
                </a:cubicBezTo>
                <a:cubicBezTo>
                  <a:pt x="2126" y="1079"/>
                  <a:pt x="2129" y="1076"/>
                  <a:pt x="2129" y="1073"/>
                </a:cubicBezTo>
                <a:cubicBezTo>
                  <a:pt x="2129" y="1069"/>
                  <a:pt x="2126" y="1066"/>
                  <a:pt x="2122" y="1066"/>
                </a:cubicBezTo>
                <a:close/>
                <a:moveTo>
                  <a:pt x="2233" y="1085"/>
                </a:moveTo>
                <a:cubicBezTo>
                  <a:pt x="2228" y="1085"/>
                  <a:pt x="2225" y="1088"/>
                  <a:pt x="2225" y="1092"/>
                </a:cubicBezTo>
                <a:cubicBezTo>
                  <a:pt x="2225" y="1095"/>
                  <a:pt x="2228" y="1098"/>
                  <a:pt x="2233" y="1098"/>
                </a:cubicBezTo>
                <a:cubicBezTo>
                  <a:pt x="2237" y="1098"/>
                  <a:pt x="2240" y="1095"/>
                  <a:pt x="2240" y="1092"/>
                </a:cubicBezTo>
                <a:cubicBezTo>
                  <a:pt x="2240" y="1088"/>
                  <a:pt x="2237" y="1085"/>
                  <a:pt x="2233" y="1085"/>
                </a:cubicBezTo>
                <a:close/>
                <a:moveTo>
                  <a:pt x="2233" y="1104"/>
                </a:moveTo>
                <a:cubicBezTo>
                  <a:pt x="2228" y="1104"/>
                  <a:pt x="2225" y="1107"/>
                  <a:pt x="2225" y="1111"/>
                </a:cubicBezTo>
                <a:cubicBezTo>
                  <a:pt x="2225" y="1115"/>
                  <a:pt x="2228" y="1118"/>
                  <a:pt x="2233" y="1118"/>
                </a:cubicBezTo>
                <a:cubicBezTo>
                  <a:pt x="2237" y="1118"/>
                  <a:pt x="2240" y="1115"/>
                  <a:pt x="2240" y="1111"/>
                </a:cubicBezTo>
                <a:cubicBezTo>
                  <a:pt x="2240" y="1107"/>
                  <a:pt x="2237" y="1104"/>
                  <a:pt x="2233" y="1104"/>
                </a:cubicBezTo>
                <a:close/>
                <a:moveTo>
                  <a:pt x="2255" y="1066"/>
                </a:moveTo>
                <a:cubicBezTo>
                  <a:pt x="2250" y="1066"/>
                  <a:pt x="2247" y="1069"/>
                  <a:pt x="2247" y="1073"/>
                </a:cubicBezTo>
                <a:cubicBezTo>
                  <a:pt x="2247" y="1076"/>
                  <a:pt x="2250" y="1079"/>
                  <a:pt x="2255" y="1079"/>
                </a:cubicBezTo>
                <a:cubicBezTo>
                  <a:pt x="2259" y="1079"/>
                  <a:pt x="2262" y="1076"/>
                  <a:pt x="2262" y="1073"/>
                </a:cubicBezTo>
                <a:cubicBezTo>
                  <a:pt x="2262" y="1069"/>
                  <a:pt x="2259" y="1066"/>
                  <a:pt x="2255" y="1066"/>
                </a:cubicBezTo>
                <a:close/>
                <a:moveTo>
                  <a:pt x="2255" y="1085"/>
                </a:moveTo>
                <a:cubicBezTo>
                  <a:pt x="2250" y="1085"/>
                  <a:pt x="2247" y="1088"/>
                  <a:pt x="2247" y="1092"/>
                </a:cubicBezTo>
                <a:cubicBezTo>
                  <a:pt x="2247" y="1095"/>
                  <a:pt x="2250" y="1098"/>
                  <a:pt x="2255" y="1098"/>
                </a:cubicBezTo>
                <a:cubicBezTo>
                  <a:pt x="2259" y="1098"/>
                  <a:pt x="2262" y="1095"/>
                  <a:pt x="2262" y="1092"/>
                </a:cubicBezTo>
                <a:cubicBezTo>
                  <a:pt x="2262" y="1088"/>
                  <a:pt x="2259" y="1085"/>
                  <a:pt x="2255" y="1085"/>
                </a:cubicBezTo>
                <a:close/>
                <a:moveTo>
                  <a:pt x="2300" y="1026"/>
                </a:moveTo>
                <a:cubicBezTo>
                  <a:pt x="2296" y="1026"/>
                  <a:pt x="2293" y="1029"/>
                  <a:pt x="2293" y="1033"/>
                </a:cubicBezTo>
                <a:cubicBezTo>
                  <a:pt x="2293" y="1037"/>
                  <a:pt x="2296" y="1040"/>
                  <a:pt x="2300" y="1040"/>
                </a:cubicBezTo>
                <a:cubicBezTo>
                  <a:pt x="2305" y="1040"/>
                  <a:pt x="2308" y="1037"/>
                  <a:pt x="2308" y="1033"/>
                </a:cubicBezTo>
                <a:cubicBezTo>
                  <a:pt x="2308" y="1029"/>
                  <a:pt x="2305" y="1026"/>
                  <a:pt x="2300" y="1026"/>
                </a:cubicBezTo>
                <a:close/>
                <a:moveTo>
                  <a:pt x="2300" y="1046"/>
                </a:moveTo>
                <a:cubicBezTo>
                  <a:pt x="2296" y="1046"/>
                  <a:pt x="2293" y="1049"/>
                  <a:pt x="2293" y="1053"/>
                </a:cubicBezTo>
                <a:cubicBezTo>
                  <a:pt x="2293" y="1057"/>
                  <a:pt x="2296" y="1060"/>
                  <a:pt x="2300" y="1060"/>
                </a:cubicBezTo>
                <a:cubicBezTo>
                  <a:pt x="2305" y="1060"/>
                  <a:pt x="2308" y="1057"/>
                  <a:pt x="2308" y="1053"/>
                </a:cubicBezTo>
                <a:cubicBezTo>
                  <a:pt x="2308" y="1049"/>
                  <a:pt x="2305" y="1046"/>
                  <a:pt x="2300" y="1046"/>
                </a:cubicBezTo>
                <a:close/>
                <a:moveTo>
                  <a:pt x="52" y="175"/>
                </a:moveTo>
                <a:cubicBezTo>
                  <a:pt x="48" y="175"/>
                  <a:pt x="44" y="178"/>
                  <a:pt x="44" y="182"/>
                </a:cubicBezTo>
                <a:cubicBezTo>
                  <a:pt x="44" y="186"/>
                  <a:pt x="48" y="189"/>
                  <a:pt x="52" y="189"/>
                </a:cubicBezTo>
                <a:cubicBezTo>
                  <a:pt x="56" y="189"/>
                  <a:pt x="60" y="186"/>
                  <a:pt x="60" y="182"/>
                </a:cubicBezTo>
                <a:cubicBezTo>
                  <a:pt x="60" y="178"/>
                  <a:pt x="56" y="175"/>
                  <a:pt x="52" y="175"/>
                </a:cubicBezTo>
                <a:close/>
                <a:moveTo>
                  <a:pt x="52" y="195"/>
                </a:moveTo>
                <a:cubicBezTo>
                  <a:pt x="48" y="195"/>
                  <a:pt x="44" y="198"/>
                  <a:pt x="44" y="202"/>
                </a:cubicBezTo>
                <a:cubicBezTo>
                  <a:pt x="44" y="206"/>
                  <a:pt x="48" y="209"/>
                  <a:pt x="52" y="209"/>
                </a:cubicBezTo>
                <a:cubicBezTo>
                  <a:pt x="56" y="209"/>
                  <a:pt x="60" y="206"/>
                  <a:pt x="60" y="202"/>
                </a:cubicBezTo>
                <a:cubicBezTo>
                  <a:pt x="60" y="198"/>
                  <a:pt x="56" y="195"/>
                  <a:pt x="52" y="195"/>
                </a:cubicBezTo>
                <a:close/>
                <a:moveTo>
                  <a:pt x="29" y="214"/>
                </a:moveTo>
                <a:cubicBezTo>
                  <a:pt x="25" y="214"/>
                  <a:pt x="22" y="217"/>
                  <a:pt x="22" y="221"/>
                </a:cubicBezTo>
                <a:cubicBezTo>
                  <a:pt x="22" y="225"/>
                  <a:pt x="25" y="228"/>
                  <a:pt x="29" y="228"/>
                </a:cubicBezTo>
                <a:cubicBezTo>
                  <a:pt x="34" y="228"/>
                  <a:pt x="37" y="225"/>
                  <a:pt x="37" y="221"/>
                </a:cubicBezTo>
                <a:cubicBezTo>
                  <a:pt x="37" y="217"/>
                  <a:pt x="34" y="214"/>
                  <a:pt x="29" y="214"/>
                </a:cubicBezTo>
                <a:close/>
                <a:moveTo>
                  <a:pt x="52" y="214"/>
                </a:moveTo>
                <a:cubicBezTo>
                  <a:pt x="48" y="214"/>
                  <a:pt x="44" y="217"/>
                  <a:pt x="44" y="221"/>
                </a:cubicBezTo>
                <a:cubicBezTo>
                  <a:pt x="44" y="225"/>
                  <a:pt x="48" y="228"/>
                  <a:pt x="52" y="228"/>
                </a:cubicBezTo>
                <a:cubicBezTo>
                  <a:pt x="56" y="228"/>
                  <a:pt x="60" y="225"/>
                  <a:pt x="60" y="221"/>
                </a:cubicBezTo>
                <a:cubicBezTo>
                  <a:pt x="60" y="217"/>
                  <a:pt x="56" y="214"/>
                  <a:pt x="52" y="214"/>
                </a:cubicBezTo>
                <a:close/>
                <a:moveTo>
                  <a:pt x="52" y="234"/>
                </a:moveTo>
                <a:cubicBezTo>
                  <a:pt x="48" y="234"/>
                  <a:pt x="44" y="237"/>
                  <a:pt x="44" y="241"/>
                </a:cubicBezTo>
                <a:cubicBezTo>
                  <a:pt x="44" y="244"/>
                  <a:pt x="48" y="247"/>
                  <a:pt x="52" y="247"/>
                </a:cubicBezTo>
                <a:cubicBezTo>
                  <a:pt x="56" y="247"/>
                  <a:pt x="60" y="244"/>
                  <a:pt x="60" y="241"/>
                </a:cubicBezTo>
                <a:cubicBezTo>
                  <a:pt x="60" y="237"/>
                  <a:pt x="56" y="234"/>
                  <a:pt x="52" y="234"/>
                </a:cubicBezTo>
                <a:close/>
                <a:moveTo>
                  <a:pt x="52" y="254"/>
                </a:moveTo>
                <a:cubicBezTo>
                  <a:pt x="48" y="254"/>
                  <a:pt x="44" y="257"/>
                  <a:pt x="44" y="260"/>
                </a:cubicBezTo>
                <a:cubicBezTo>
                  <a:pt x="44" y="264"/>
                  <a:pt x="48" y="267"/>
                  <a:pt x="52" y="267"/>
                </a:cubicBezTo>
                <a:cubicBezTo>
                  <a:pt x="56" y="267"/>
                  <a:pt x="60" y="264"/>
                  <a:pt x="60" y="260"/>
                </a:cubicBezTo>
                <a:cubicBezTo>
                  <a:pt x="60" y="257"/>
                  <a:pt x="56" y="254"/>
                  <a:pt x="52" y="254"/>
                </a:cubicBezTo>
                <a:close/>
                <a:moveTo>
                  <a:pt x="74" y="156"/>
                </a:moveTo>
                <a:cubicBezTo>
                  <a:pt x="70" y="156"/>
                  <a:pt x="67" y="159"/>
                  <a:pt x="67" y="163"/>
                </a:cubicBezTo>
                <a:cubicBezTo>
                  <a:pt x="67" y="167"/>
                  <a:pt x="70" y="170"/>
                  <a:pt x="74" y="170"/>
                </a:cubicBezTo>
                <a:cubicBezTo>
                  <a:pt x="78" y="170"/>
                  <a:pt x="82" y="167"/>
                  <a:pt x="82" y="163"/>
                </a:cubicBezTo>
                <a:cubicBezTo>
                  <a:pt x="82" y="159"/>
                  <a:pt x="78" y="156"/>
                  <a:pt x="74" y="156"/>
                </a:cubicBezTo>
                <a:close/>
                <a:moveTo>
                  <a:pt x="96" y="155"/>
                </a:moveTo>
                <a:cubicBezTo>
                  <a:pt x="92" y="155"/>
                  <a:pt x="88" y="158"/>
                  <a:pt x="88" y="162"/>
                </a:cubicBezTo>
                <a:cubicBezTo>
                  <a:pt x="88" y="166"/>
                  <a:pt x="92" y="169"/>
                  <a:pt x="96" y="169"/>
                </a:cubicBezTo>
                <a:cubicBezTo>
                  <a:pt x="100" y="169"/>
                  <a:pt x="104" y="166"/>
                  <a:pt x="104" y="162"/>
                </a:cubicBezTo>
                <a:cubicBezTo>
                  <a:pt x="104" y="158"/>
                  <a:pt x="100" y="155"/>
                  <a:pt x="96" y="155"/>
                </a:cubicBezTo>
                <a:close/>
                <a:moveTo>
                  <a:pt x="74" y="175"/>
                </a:moveTo>
                <a:cubicBezTo>
                  <a:pt x="70" y="175"/>
                  <a:pt x="67" y="178"/>
                  <a:pt x="67" y="182"/>
                </a:cubicBezTo>
                <a:cubicBezTo>
                  <a:pt x="67" y="186"/>
                  <a:pt x="70" y="189"/>
                  <a:pt x="74" y="189"/>
                </a:cubicBezTo>
                <a:cubicBezTo>
                  <a:pt x="78" y="189"/>
                  <a:pt x="82" y="186"/>
                  <a:pt x="82" y="182"/>
                </a:cubicBezTo>
                <a:cubicBezTo>
                  <a:pt x="82" y="178"/>
                  <a:pt x="78" y="175"/>
                  <a:pt x="74" y="175"/>
                </a:cubicBezTo>
                <a:close/>
                <a:moveTo>
                  <a:pt x="96" y="175"/>
                </a:moveTo>
                <a:cubicBezTo>
                  <a:pt x="92" y="175"/>
                  <a:pt x="88" y="178"/>
                  <a:pt x="88" y="182"/>
                </a:cubicBezTo>
                <a:cubicBezTo>
                  <a:pt x="88" y="185"/>
                  <a:pt x="92" y="188"/>
                  <a:pt x="96" y="188"/>
                </a:cubicBezTo>
                <a:cubicBezTo>
                  <a:pt x="100" y="188"/>
                  <a:pt x="104" y="185"/>
                  <a:pt x="104" y="182"/>
                </a:cubicBezTo>
                <a:cubicBezTo>
                  <a:pt x="104" y="178"/>
                  <a:pt x="100" y="175"/>
                  <a:pt x="96" y="175"/>
                </a:cubicBezTo>
                <a:close/>
                <a:moveTo>
                  <a:pt x="74" y="195"/>
                </a:moveTo>
                <a:cubicBezTo>
                  <a:pt x="70" y="195"/>
                  <a:pt x="67" y="198"/>
                  <a:pt x="67" y="202"/>
                </a:cubicBezTo>
                <a:cubicBezTo>
                  <a:pt x="67" y="206"/>
                  <a:pt x="70" y="209"/>
                  <a:pt x="74" y="209"/>
                </a:cubicBezTo>
                <a:cubicBezTo>
                  <a:pt x="78" y="209"/>
                  <a:pt x="82" y="206"/>
                  <a:pt x="82" y="202"/>
                </a:cubicBezTo>
                <a:cubicBezTo>
                  <a:pt x="82" y="198"/>
                  <a:pt x="78" y="195"/>
                  <a:pt x="74" y="195"/>
                </a:cubicBezTo>
                <a:close/>
                <a:moveTo>
                  <a:pt x="96" y="194"/>
                </a:moveTo>
                <a:cubicBezTo>
                  <a:pt x="92" y="194"/>
                  <a:pt x="88" y="197"/>
                  <a:pt x="88" y="201"/>
                </a:cubicBezTo>
                <a:cubicBezTo>
                  <a:pt x="88" y="205"/>
                  <a:pt x="92" y="208"/>
                  <a:pt x="96" y="208"/>
                </a:cubicBezTo>
                <a:cubicBezTo>
                  <a:pt x="100" y="208"/>
                  <a:pt x="104" y="205"/>
                  <a:pt x="104" y="201"/>
                </a:cubicBezTo>
                <a:cubicBezTo>
                  <a:pt x="104" y="197"/>
                  <a:pt x="100" y="194"/>
                  <a:pt x="96" y="194"/>
                </a:cubicBezTo>
                <a:close/>
                <a:moveTo>
                  <a:pt x="74" y="214"/>
                </a:moveTo>
                <a:cubicBezTo>
                  <a:pt x="70" y="214"/>
                  <a:pt x="67" y="217"/>
                  <a:pt x="67" y="220"/>
                </a:cubicBezTo>
                <a:cubicBezTo>
                  <a:pt x="67" y="224"/>
                  <a:pt x="70" y="227"/>
                  <a:pt x="74" y="227"/>
                </a:cubicBezTo>
                <a:cubicBezTo>
                  <a:pt x="78" y="227"/>
                  <a:pt x="82" y="224"/>
                  <a:pt x="82" y="220"/>
                </a:cubicBezTo>
                <a:cubicBezTo>
                  <a:pt x="82" y="217"/>
                  <a:pt x="78" y="214"/>
                  <a:pt x="74" y="214"/>
                </a:cubicBezTo>
                <a:close/>
                <a:moveTo>
                  <a:pt x="96" y="214"/>
                </a:moveTo>
                <a:cubicBezTo>
                  <a:pt x="92" y="214"/>
                  <a:pt x="88" y="217"/>
                  <a:pt x="88" y="220"/>
                </a:cubicBezTo>
                <a:cubicBezTo>
                  <a:pt x="88" y="224"/>
                  <a:pt x="92" y="227"/>
                  <a:pt x="96" y="227"/>
                </a:cubicBezTo>
                <a:cubicBezTo>
                  <a:pt x="100" y="227"/>
                  <a:pt x="104" y="224"/>
                  <a:pt x="104" y="220"/>
                </a:cubicBezTo>
                <a:cubicBezTo>
                  <a:pt x="104" y="217"/>
                  <a:pt x="100" y="214"/>
                  <a:pt x="96" y="214"/>
                </a:cubicBezTo>
                <a:close/>
                <a:moveTo>
                  <a:pt x="74" y="233"/>
                </a:moveTo>
                <a:cubicBezTo>
                  <a:pt x="70" y="233"/>
                  <a:pt x="67" y="236"/>
                  <a:pt x="67" y="239"/>
                </a:cubicBezTo>
                <a:cubicBezTo>
                  <a:pt x="67" y="243"/>
                  <a:pt x="70" y="245"/>
                  <a:pt x="74" y="245"/>
                </a:cubicBezTo>
                <a:cubicBezTo>
                  <a:pt x="78" y="245"/>
                  <a:pt x="82" y="243"/>
                  <a:pt x="82" y="239"/>
                </a:cubicBezTo>
                <a:cubicBezTo>
                  <a:pt x="82" y="236"/>
                  <a:pt x="78" y="233"/>
                  <a:pt x="74" y="233"/>
                </a:cubicBezTo>
                <a:close/>
                <a:moveTo>
                  <a:pt x="96" y="233"/>
                </a:moveTo>
                <a:cubicBezTo>
                  <a:pt x="92" y="233"/>
                  <a:pt x="88" y="236"/>
                  <a:pt x="88" y="239"/>
                </a:cubicBezTo>
                <a:cubicBezTo>
                  <a:pt x="88" y="243"/>
                  <a:pt x="92" y="245"/>
                  <a:pt x="96" y="245"/>
                </a:cubicBezTo>
                <a:cubicBezTo>
                  <a:pt x="100" y="245"/>
                  <a:pt x="104" y="243"/>
                  <a:pt x="104" y="239"/>
                </a:cubicBezTo>
                <a:cubicBezTo>
                  <a:pt x="104" y="236"/>
                  <a:pt x="100" y="233"/>
                  <a:pt x="96" y="233"/>
                </a:cubicBezTo>
                <a:close/>
                <a:moveTo>
                  <a:pt x="74" y="252"/>
                </a:moveTo>
                <a:cubicBezTo>
                  <a:pt x="70" y="252"/>
                  <a:pt x="67" y="255"/>
                  <a:pt x="67" y="258"/>
                </a:cubicBezTo>
                <a:cubicBezTo>
                  <a:pt x="67" y="262"/>
                  <a:pt x="70" y="265"/>
                  <a:pt x="74" y="265"/>
                </a:cubicBezTo>
                <a:cubicBezTo>
                  <a:pt x="78" y="265"/>
                  <a:pt x="82" y="262"/>
                  <a:pt x="82" y="258"/>
                </a:cubicBezTo>
                <a:cubicBezTo>
                  <a:pt x="82" y="255"/>
                  <a:pt x="78" y="252"/>
                  <a:pt x="74" y="252"/>
                </a:cubicBezTo>
                <a:close/>
                <a:moveTo>
                  <a:pt x="96" y="252"/>
                </a:moveTo>
                <a:cubicBezTo>
                  <a:pt x="92" y="252"/>
                  <a:pt x="88" y="255"/>
                  <a:pt x="88" y="258"/>
                </a:cubicBezTo>
                <a:cubicBezTo>
                  <a:pt x="88" y="262"/>
                  <a:pt x="92" y="265"/>
                  <a:pt x="96" y="265"/>
                </a:cubicBezTo>
                <a:cubicBezTo>
                  <a:pt x="100" y="265"/>
                  <a:pt x="104" y="262"/>
                  <a:pt x="104" y="258"/>
                </a:cubicBezTo>
                <a:cubicBezTo>
                  <a:pt x="104" y="255"/>
                  <a:pt x="100" y="252"/>
                  <a:pt x="96" y="252"/>
                </a:cubicBezTo>
                <a:close/>
                <a:moveTo>
                  <a:pt x="74" y="271"/>
                </a:moveTo>
                <a:cubicBezTo>
                  <a:pt x="70" y="271"/>
                  <a:pt x="67" y="274"/>
                  <a:pt x="67" y="278"/>
                </a:cubicBezTo>
                <a:cubicBezTo>
                  <a:pt x="67" y="282"/>
                  <a:pt x="70" y="285"/>
                  <a:pt x="74" y="285"/>
                </a:cubicBezTo>
                <a:cubicBezTo>
                  <a:pt x="78" y="285"/>
                  <a:pt x="82" y="282"/>
                  <a:pt x="82" y="278"/>
                </a:cubicBezTo>
                <a:cubicBezTo>
                  <a:pt x="82" y="274"/>
                  <a:pt x="78" y="271"/>
                  <a:pt x="74" y="271"/>
                </a:cubicBezTo>
                <a:close/>
                <a:moveTo>
                  <a:pt x="96" y="271"/>
                </a:moveTo>
                <a:cubicBezTo>
                  <a:pt x="92" y="271"/>
                  <a:pt x="88" y="274"/>
                  <a:pt x="88" y="278"/>
                </a:cubicBezTo>
                <a:cubicBezTo>
                  <a:pt x="88" y="282"/>
                  <a:pt x="92" y="285"/>
                  <a:pt x="96" y="285"/>
                </a:cubicBezTo>
                <a:cubicBezTo>
                  <a:pt x="100" y="285"/>
                  <a:pt x="104" y="282"/>
                  <a:pt x="104" y="278"/>
                </a:cubicBezTo>
                <a:cubicBezTo>
                  <a:pt x="104" y="274"/>
                  <a:pt x="100" y="271"/>
                  <a:pt x="96" y="271"/>
                </a:cubicBezTo>
                <a:close/>
                <a:moveTo>
                  <a:pt x="118" y="155"/>
                </a:moveTo>
                <a:cubicBezTo>
                  <a:pt x="114" y="155"/>
                  <a:pt x="111" y="158"/>
                  <a:pt x="111" y="162"/>
                </a:cubicBezTo>
                <a:cubicBezTo>
                  <a:pt x="111" y="166"/>
                  <a:pt x="114" y="169"/>
                  <a:pt x="118" y="169"/>
                </a:cubicBezTo>
                <a:cubicBezTo>
                  <a:pt x="122" y="169"/>
                  <a:pt x="126" y="166"/>
                  <a:pt x="126" y="162"/>
                </a:cubicBezTo>
                <a:cubicBezTo>
                  <a:pt x="126" y="158"/>
                  <a:pt x="122" y="155"/>
                  <a:pt x="118" y="155"/>
                </a:cubicBezTo>
                <a:close/>
                <a:moveTo>
                  <a:pt x="118" y="175"/>
                </a:moveTo>
                <a:cubicBezTo>
                  <a:pt x="114" y="175"/>
                  <a:pt x="111" y="178"/>
                  <a:pt x="111" y="182"/>
                </a:cubicBezTo>
                <a:cubicBezTo>
                  <a:pt x="111" y="185"/>
                  <a:pt x="114" y="188"/>
                  <a:pt x="118" y="188"/>
                </a:cubicBezTo>
                <a:cubicBezTo>
                  <a:pt x="122" y="188"/>
                  <a:pt x="126" y="185"/>
                  <a:pt x="126" y="182"/>
                </a:cubicBezTo>
                <a:cubicBezTo>
                  <a:pt x="126" y="178"/>
                  <a:pt x="122" y="175"/>
                  <a:pt x="118" y="175"/>
                </a:cubicBezTo>
                <a:close/>
                <a:moveTo>
                  <a:pt x="141" y="175"/>
                </a:moveTo>
                <a:cubicBezTo>
                  <a:pt x="137" y="175"/>
                  <a:pt x="133" y="178"/>
                  <a:pt x="133" y="182"/>
                </a:cubicBezTo>
                <a:cubicBezTo>
                  <a:pt x="133" y="185"/>
                  <a:pt x="137" y="188"/>
                  <a:pt x="141" y="188"/>
                </a:cubicBezTo>
                <a:cubicBezTo>
                  <a:pt x="145" y="188"/>
                  <a:pt x="148" y="185"/>
                  <a:pt x="148" y="182"/>
                </a:cubicBezTo>
                <a:cubicBezTo>
                  <a:pt x="148" y="178"/>
                  <a:pt x="145" y="175"/>
                  <a:pt x="141" y="175"/>
                </a:cubicBezTo>
                <a:close/>
                <a:moveTo>
                  <a:pt x="118" y="194"/>
                </a:moveTo>
                <a:cubicBezTo>
                  <a:pt x="114" y="194"/>
                  <a:pt x="111" y="197"/>
                  <a:pt x="111" y="201"/>
                </a:cubicBezTo>
                <a:cubicBezTo>
                  <a:pt x="111" y="205"/>
                  <a:pt x="114" y="208"/>
                  <a:pt x="118" y="208"/>
                </a:cubicBezTo>
                <a:cubicBezTo>
                  <a:pt x="122" y="208"/>
                  <a:pt x="126" y="205"/>
                  <a:pt x="126" y="201"/>
                </a:cubicBezTo>
                <a:cubicBezTo>
                  <a:pt x="126" y="197"/>
                  <a:pt x="122" y="194"/>
                  <a:pt x="118" y="194"/>
                </a:cubicBezTo>
                <a:close/>
                <a:moveTo>
                  <a:pt x="141" y="194"/>
                </a:moveTo>
                <a:cubicBezTo>
                  <a:pt x="137" y="194"/>
                  <a:pt x="133" y="197"/>
                  <a:pt x="133" y="201"/>
                </a:cubicBezTo>
                <a:cubicBezTo>
                  <a:pt x="133" y="205"/>
                  <a:pt x="137" y="208"/>
                  <a:pt x="141" y="208"/>
                </a:cubicBezTo>
                <a:cubicBezTo>
                  <a:pt x="145" y="208"/>
                  <a:pt x="148" y="205"/>
                  <a:pt x="148" y="201"/>
                </a:cubicBezTo>
                <a:cubicBezTo>
                  <a:pt x="148" y="197"/>
                  <a:pt x="145" y="194"/>
                  <a:pt x="141" y="194"/>
                </a:cubicBezTo>
                <a:close/>
                <a:moveTo>
                  <a:pt x="118" y="214"/>
                </a:moveTo>
                <a:cubicBezTo>
                  <a:pt x="114" y="214"/>
                  <a:pt x="111" y="217"/>
                  <a:pt x="111" y="220"/>
                </a:cubicBezTo>
                <a:cubicBezTo>
                  <a:pt x="111" y="224"/>
                  <a:pt x="114" y="227"/>
                  <a:pt x="118" y="227"/>
                </a:cubicBezTo>
                <a:cubicBezTo>
                  <a:pt x="122" y="227"/>
                  <a:pt x="126" y="224"/>
                  <a:pt x="126" y="220"/>
                </a:cubicBezTo>
                <a:cubicBezTo>
                  <a:pt x="126" y="217"/>
                  <a:pt x="122" y="214"/>
                  <a:pt x="118" y="214"/>
                </a:cubicBezTo>
                <a:close/>
                <a:moveTo>
                  <a:pt x="141" y="214"/>
                </a:moveTo>
                <a:cubicBezTo>
                  <a:pt x="137" y="214"/>
                  <a:pt x="133" y="217"/>
                  <a:pt x="133" y="220"/>
                </a:cubicBezTo>
                <a:cubicBezTo>
                  <a:pt x="133" y="224"/>
                  <a:pt x="137" y="227"/>
                  <a:pt x="141" y="227"/>
                </a:cubicBezTo>
                <a:cubicBezTo>
                  <a:pt x="145" y="227"/>
                  <a:pt x="148" y="224"/>
                  <a:pt x="148" y="220"/>
                </a:cubicBezTo>
                <a:cubicBezTo>
                  <a:pt x="148" y="217"/>
                  <a:pt x="145" y="214"/>
                  <a:pt x="141" y="214"/>
                </a:cubicBezTo>
                <a:close/>
                <a:moveTo>
                  <a:pt x="118" y="233"/>
                </a:moveTo>
                <a:cubicBezTo>
                  <a:pt x="114" y="233"/>
                  <a:pt x="111" y="236"/>
                  <a:pt x="111" y="239"/>
                </a:cubicBezTo>
                <a:cubicBezTo>
                  <a:pt x="111" y="243"/>
                  <a:pt x="114" y="245"/>
                  <a:pt x="118" y="245"/>
                </a:cubicBezTo>
                <a:cubicBezTo>
                  <a:pt x="122" y="245"/>
                  <a:pt x="126" y="243"/>
                  <a:pt x="126" y="239"/>
                </a:cubicBezTo>
                <a:cubicBezTo>
                  <a:pt x="126" y="236"/>
                  <a:pt x="122" y="233"/>
                  <a:pt x="118" y="233"/>
                </a:cubicBezTo>
                <a:close/>
                <a:moveTo>
                  <a:pt x="141" y="233"/>
                </a:moveTo>
                <a:cubicBezTo>
                  <a:pt x="137" y="233"/>
                  <a:pt x="133" y="236"/>
                  <a:pt x="133" y="239"/>
                </a:cubicBezTo>
                <a:cubicBezTo>
                  <a:pt x="133" y="243"/>
                  <a:pt x="137" y="245"/>
                  <a:pt x="141" y="245"/>
                </a:cubicBezTo>
                <a:cubicBezTo>
                  <a:pt x="145" y="245"/>
                  <a:pt x="148" y="243"/>
                  <a:pt x="148" y="239"/>
                </a:cubicBezTo>
                <a:cubicBezTo>
                  <a:pt x="148" y="236"/>
                  <a:pt x="145" y="233"/>
                  <a:pt x="141" y="233"/>
                </a:cubicBezTo>
                <a:close/>
                <a:moveTo>
                  <a:pt x="118" y="252"/>
                </a:moveTo>
                <a:cubicBezTo>
                  <a:pt x="114" y="252"/>
                  <a:pt x="111" y="255"/>
                  <a:pt x="111" y="258"/>
                </a:cubicBezTo>
                <a:cubicBezTo>
                  <a:pt x="111" y="262"/>
                  <a:pt x="114" y="265"/>
                  <a:pt x="118" y="265"/>
                </a:cubicBezTo>
                <a:cubicBezTo>
                  <a:pt x="122" y="265"/>
                  <a:pt x="126" y="262"/>
                  <a:pt x="126" y="258"/>
                </a:cubicBezTo>
                <a:cubicBezTo>
                  <a:pt x="126" y="255"/>
                  <a:pt x="122" y="252"/>
                  <a:pt x="118" y="252"/>
                </a:cubicBezTo>
                <a:close/>
                <a:moveTo>
                  <a:pt x="141" y="252"/>
                </a:moveTo>
                <a:cubicBezTo>
                  <a:pt x="137" y="252"/>
                  <a:pt x="133" y="255"/>
                  <a:pt x="133" y="258"/>
                </a:cubicBezTo>
                <a:cubicBezTo>
                  <a:pt x="133" y="262"/>
                  <a:pt x="137" y="265"/>
                  <a:pt x="141" y="265"/>
                </a:cubicBezTo>
                <a:cubicBezTo>
                  <a:pt x="145" y="265"/>
                  <a:pt x="148" y="262"/>
                  <a:pt x="148" y="258"/>
                </a:cubicBezTo>
                <a:cubicBezTo>
                  <a:pt x="148" y="255"/>
                  <a:pt x="145" y="252"/>
                  <a:pt x="141" y="252"/>
                </a:cubicBezTo>
                <a:close/>
                <a:moveTo>
                  <a:pt x="118" y="271"/>
                </a:moveTo>
                <a:cubicBezTo>
                  <a:pt x="114" y="271"/>
                  <a:pt x="111" y="274"/>
                  <a:pt x="111" y="278"/>
                </a:cubicBezTo>
                <a:cubicBezTo>
                  <a:pt x="111" y="282"/>
                  <a:pt x="114" y="285"/>
                  <a:pt x="118" y="285"/>
                </a:cubicBezTo>
                <a:cubicBezTo>
                  <a:pt x="122" y="285"/>
                  <a:pt x="126" y="282"/>
                  <a:pt x="126" y="278"/>
                </a:cubicBezTo>
                <a:cubicBezTo>
                  <a:pt x="126" y="274"/>
                  <a:pt x="122" y="271"/>
                  <a:pt x="118" y="271"/>
                </a:cubicBezTo>
                <a:close/>
                <a:moveTo>
                  <a:pt x="320" y="116"/>
                </a:moveTo>
                <a:cubicBezTo>
                  <a:pt x="315" y="116"/>
                  <a:pt x="312" y="119"/>
                  <a:pt x="312" y="123"/>
                </a:cubicBezTo>
                <a:cubicBezTo>
                  <a:pt x="312" y="127"/>
                  <a:pt x="315" y="130"/>
                  <a:pt x="320" y="130"/>
                </a:cubicBezTo>
                <a:cubicBezTo>
                  <a:pt x="324" y="130"/>
                  <a:pt x="327" y="127"/>
                  <a:pt x="327" y="123"/>
                </a:cubicBezTo>
                <a:cubicBezTo>
                  <a:pt x="327" y="119"/>
                  <a:pt x="324" y="116"/>
                  <a:pt x="320" y="116"/>
                </a:cubicBezTo>
                <a:close/>
                <a:moveTo>
                  <a:pt x="164" y="175"/>
                </a:moveTo>
                <a:cubicBezTo>
                  <a:pt x="160" y="175"/>
                  <a:pt x="156" y="178"/>
                  <a:pt x="156" y="182"/>
                </a:cubicBezTo>
                <a:cubicBezTo>
                  <a:pt x="156" y="185"/>
                  <a:pt x="160" y="188"/>
                  <a:pt x="164" y="188"/>
                </a:cubicBezTo>
                <a:cubicBezTo>
                  <a:pt x="168" y="188"/>
                  <a:pt x="172" y="185"/>
                  <a:pt x="172" y="182"/>
                </a:cubicBezTo>
                <a:cubicBezTo>
                  <a:pt x="172" y="178"/>
                  <a:pt x="168" y="175"/>
                  <a:pt x="164" y="175"/>
                </a:cubicBezTo>
                <a:close/>
                <a:moveTo>
                  <a:pt x="186" y="175"/>
                </a:moveTo>
                <a:cubicBezTo>
                  <a:pt x="182" y="175"/>
                  <a:pt x="178" y="178"/>
                  <a:pt x="178" y="182"/>
                </a:cubicBezTo>
                <a:cubicBezTo>
                  <a:pt x="178" y="185"/>
                  <a:pt x="182" y="188"/>
                  <a:pt x="186" y="188"/>
                </a:cubicBezTo>
                <a:cubicBezTo>
                  <a:pt x="190" y="188"/>
                  <a:pt x="194" y="185"/>
                  <a:pt x="194" y="182"/>
                </a:cubicBezTo>
                <a:cubicBezTo>
                  <a:pt x="194" y="178"/>
                  <a:pt x="190" y="175"/>
                  <a:pt x="186" y="175"/>
                </a:cubicBezTo>
                <a:close/>
                <a:moveTo>
                  <a:pt x="164" y="194"/>
                </a:moveTo>
                <a:cubicBezTo>
                  <a:pt x="160" y="194"/>
                  <a:pt x="156" y="197"/>
                  <a:pt x="156" y="201"/>
                </a:cubicBezTo>
                <a:cubicBezTo>
                  <a:pt x="156" y="205"/>
                  <a:pt x="160" y="208"/>
                  <a:pt x="164" y="208"/>
                </a:cubicBezTo>
                <a:cubicBezTo>
                  <a:pt x="168" y="208"/>
                  <a:pt x="172" y="205"/>
                  <a:pt x="172" y="201"/>
                </a:cubicBezTo>
                <a:cubicBezTo>
                  <a:pt x="172" y="197"/>
                  <a:pt x="168" y="194"/>
                  <a:pt x="164" y="194"/>
                </a:cubicBezTo>
                <a:close/>
                <a:moveTo>
                  <a:pt x="186" y="194"/>
                </a:moveTo>
                <a:cubicBezTo>
                  <a:pt x="182" y="194"/>
                  <a:pt x="178" y="197"/>
                  <a:pt x="178" y="201"/>
                </a:cubicBezTo>
                <a:cubicBezTo>
                  <a:pt x="178" y="205"/>
                  <a:pt x="182" y="208"/>
                  <a:pt x="186" y="208"/>
                </a:cubicBezTo>
                <a:cubicBezTo>
                  <a:pt x="190" y="208"/>
                  <a:pt x="194" y="205"/>
                  <a:pt x="194" y="201"/>
                </a:cubicBezTo>
                <a:cubicBezTo>
                  <a:pt x="194" y="197"/>
                  <a:pt x="190" y="194"/>
                  <a:pt x="186" y="194"/>
                </a:cubicBezTo>
                <a:close/>
                <a:moveTo>
                  <a:pt x="164" y="214"/>
                </a:moveTo>
                <a:cubicBezTo>
                  <a:pt x="160" y="214"/>
                  <a:pt x="156" y="217"/>
                  <a:pt x="156" y="220"/>
                </a:cubicBezTo>
                <a:cubicBezTo>
                  <a:pt x="156" y="224"/>
                  <a:pt x="160" y="227"/>
                  <a:pt x="164" y="227"/>
                </a:cubicBezTo>
                <a:cubicBezTo>
                  <a:pt x="168" y="227"/>
                  <a:pt x="172" y="224"/>
                  <a:pt x="172" y="220"/>
                </a:cubicBezTo>
                <a:cubicBezTo>
                  <a:pt x="172" y="217"/>
                  <a:pt x="168" y="214"/>
                  <a:pt x="164" y="214"/>
                </a:cubicBezTo>
                <a:close/>
                <a:moveTo>
                  <a:pt x="186" y="214"/>
                </a:moveTo>
                <a:cubicBezTo>
                  <a:pt x="182" y="214"/>
                  <a:pt x="178" y="217"/>
                  <a:pt x="178" y="220"/>
                </a:cubicBezTo>
                <a:cubicBezTo>
                  <a:pt x="178" y="224"/>
                  <a:pt x="182" y="227"/>
                  <a:pt x="186" y="227"/>
                </a:cubicBezTo>
                <a:cubicBezTo>
                  <a:pt x="190" y="227"/>
                  <a:pt x="194" y="224"/>
                  <a:pt x="194" y="220"/>
                </a:cubicBezTo>
                <a:cubicBezTo>
                  <a:pt x="194" y="217"/>
                  <a:pt x="190" y="214"/>
                  <a:pt x="186" y="214"/>
                </a:cubicBezTo>
                <a:close/>
                <a:moveTo>
                  <a:pt x="164" y="233"/>
                </a:moveTo>
                <a:cubicBezTo>
                  <a:pt x="160" y="233"/>
                  <a:pt x="156" y="236"/>
                  <a:pt x="156" y="239"/>
                </a:cubicBezTo>
                <a:cubicBezTo>
                  <a:pt x="156" y="243"/>
                  <a:pt x="160" y="245"/>
                  <a:pt x="164" y="245"/>
                </a:cubicBezTo>
                <a:cubicBezTo>
                  <a:pt x="168" y="245"/>
                  <a:pt x="172" y="243"/>
                  <a:pt x="172" y="239"/>
                </a:cubicBezTo>
                <a:cubicBezTo>
                  <a:pt x="172" y="236"/>
                  <a:pt x="168" y="233"/>
                  <a:pt x="164" y="233"/>
                </a:cubicBezTo>
                <a:close/>
                <a:moveTo>
                  <a:pt x="186" y="233"/>
                </a:moveTo>
                <a:cubicBezTo>
                  <a:pt x="182" y="233"/>
                  <a:pt x="178" y="236"/>
                  <a:pt x="178" y="239"/>
                </a:cubicBezTo>
                <a:cubicBezTo>
                  <a:pt x="178" y="243"/>
                  <a:pt x="182" y="245"/>
                  <a:pt x="186" y="245"/>
                </a:cubicBezTo>
                <a:cubicBezTo>
                  <a:pt x="190" y="245"/>
                  <a:pt x="194" y="243"/>
                  <a:pt x="194" y="239"/>
                </a:cubicBezTo>
                <a:cubicBezTo>
                  <a:pt x="194" y="236"/>
                  <a:pt x="190" y="233"/>
                  <a:pt x="186" y="233"/>
                </a:cubicBezTo>
                <a:close/>
                <a:moveTo>
                  <a:pt x="164" y="252"/>
                </a:moveTo>
                <a:cubicBezTo>
                  <a:pt x="160" y="252"/>
                  <a:pt x="156" y="255"/>
                  <a:pt x="156" y="258"/>
                </a:cubicBezTo>
                <a:cubicBezTo>
                  <a:pt x="156" y="262"/>
                  <a:pt x="160" y="265"/>
                  <a:pt x="164" y="265"/>
                </a:cubicBezTo>
                <a:cubicBezTo>
                  <a:pt x="168" y="265"/>
                  <a:pt x="172" y="262"/>
                  <a:pt x="172" y="258"/>
                </a:cubicBezTo>
                <a:cubicBezTo>
                  <a:pt x="172" y="255"/>
                  <a:pt x="168" y="252"/>
                  <a:pt x="164" y="252"/>
                </a:cubicBezTo>
                <a:close/>
                <a:moveTo>
                  <a:pt x="186" y="252"/>
                </a:moveTo>
                <a:cubicBezTo>
                  <a:pt x="182" y="252"/>
                  <a:pt x="178" y="255"/>
                  <a:pt x="178" y="258"/>
                </a:cubicBezTo>
                <a:cubicBezTo>
                  <a:pt x="178" y="262"/>
                  <a:pt x="182" y="265"/>
                  <a:pt x="186" y="265"/>
                </a:cubicBezTo>
                <a:cubicBezTo>
                  <a:pt x="190" y="265"/>
                  <a:pt x="194" y="262"/>
                  <a:pt x="194" y="258"/>
                </a:cubicBezTo>
                <a:cubicBezTo>
                  <a:pt x="194" y="255"/>
                  <a:pt x="190" y="252"/>
                  <a:pt x="186" y="252"/>
                </a:cubicBezTo>
                <a:close/>
                <a:moveTo>
                  <a:pt x="208" y="175"/>
                </a:moveTo>
                <a:cubicBezTo>
                  <a:pt x="204" y="175"/>
                  <a:pt x="201" y="178"/>
                  <a:pt x="201" y="182"/>
                </a:cubicBezTo>
                <a:cubicBezTo>
                  <a:pt x="201" y="185"/>
                  <a:pt x="204" y="188"/>
                  <a:pt x="208" y="188"/>
                </a:cubicBezTo>
                <a:cubicBezTo>
                  <a:pt x="213" y="188"/>
                  <a:pt x="216" y="185"/>
                  <a:pt x="216" y="182"/>
                </a:cubicBezTo>
                <a:cubicBezTo>
                  <a:pt x="216" y="178"/>
                  <a:pt x="213" y="175"/>
                  <a:pt x="208" y="175"/>
                </a:cubicBezTo>
                <a:close/>
                <a:moveTo>
                  <a:pt x="231" y="175"/>
                </a:moveTo>
                <a:cubicBezTo>
                  <a:pt x="227" y="175"/>
                  <a:pt x="223" y="178"/>
                  <a:pt x="223" y="182"/>
                </a:cubicBezTo>
                <a:cubicBezTo>
                  <a:pt x="223" y="185"/>
                  <a:pt x="227" y="188"/>
                  <a:pt x="231" y="188"/>
                </a:cubicBezTo>
                <a:cubicBezTo>
                  <a:pt x="235" y="188"/>
                  <a:pt x="238" y="185"/>
                  <a:pt x="238" y="182"/>
                </a:cubicBezTo>
                <a:cubicBezTo>
                  <a:pt x="238" y="178"/>
                  <a:pt x="235" y="175"/>
                  <a:pt x="231" y="175"/>
                </a:cubicBezTo>
                <a:close/>
                <a:moveTo>
                  <a:pt x="208" y="194"/>
                </a:moveTo>
                <a:cubicBezTo>
                  <a:pt x="204" y="194"/>
                  <a:pt x="201" y="197"/>
                  <a:pt x="201" y="201"/>
                </a:cubicBezTo>
                <a:cubicBezTo>
                  <a:pt x="201" y="205"/>
                  <a:pt x="204" y="208"/>
                  <a:pt x="208" y="208"/>
                </a:cubicBezTo>
                <a:cubicBezTo>
                  <a:pt x="213" y="208"/>
                  <a:pt x="216" y="205"/>
                  <a:pt x="216" y="201"/>
                </a:cubicBezTo>
                <a:cubicBezTo>
                  <a:pt x="216" y="197"/>
                  <a:pt x="213" y="194"/>
                  <a:pt x="208" y="194"/>
                </a:cubicBezTo>
                <a:close/>
                <a:moveTo>
                  <a:pt x="231" y="194"/>
                </a:moveTo>
                <a:cubicBezTo>
                  <a:pt x="227" y="194"/>
                  <a:pt x="223" y="197"/>
                  <a:pt x="223" y="201"/>
                </a:cubicBezTo>
                <a:cubicBezTo>
                  <a:pt x="223" y="205"/>
                  <a:pt x="227" y="208"/>
                  <a:pt x="231" y="208"/>
                </a:cubicBezTo>
                <a:cubicBezTo>
                  <a:pt x="235" y="208"/>
                  <a:pt x="238" y="205"/>
                  <a:pt x="238" y="201"/>
                </a:cubicBezTo>
                <a:cubicBezTo>
                  <a:pt x="238" y="197"/>
                  <a:pt x="235" y="194"/>
                  <a:pt x="231" y="194"/>
                </a:cubicBezTo>
                <a:close/>
                <a:moveTo>
                  <a:pt x="208" y="214"/>
                </a:moveTo>
                <a:cubicBezTo>
                  <a:pt x="204" y="214"/>
                  <a:pt x="201" y="217"/>
                  <a:pt x="201" y="220"/>
                </a:cubicBezTo>
                <a:cubicBezTo>
                  <a:pt x="201" y="224"/>
                  <a:pt x="204" y="227"/>
                  <a:pt x="208" y="227"/>
                </a:cubicBezTo>
                <a:cubicBezTo>
                  <a:pt x="213" y="227"/>
                  <a:pt x="216" y="224"/>
                  <a:pt x="216" y="220"/>
                </a:cubicBezTo>
                <a:cubicBezTo>
                  <a:pt x="216" y="217"/>
                  <a:pt x="213" y="214"/>
                  <a:pt x="208" y="214"/>
                </a:cubicBezTo>
                <a:close/>
                <a:moveTo>
                  <a:pt x="231" y="214"/>
                </a:moveTo>
                <a:cubicBezTo>
                  <a:pt x="227" y="214"/>
                  <a:pt x="223" y="217"/>
                  <a:pt x="223" y="220"/>
                </a:cubicBezTo>
                <a:cubicBezTo>
                  <a:pt x="223" y="224"/>
                  <a:pt x="227" y="227"/>
                  <a:pt x="231" y="227"/>
                </a:cubicBezTo>
                <a:cubicBezTo>
                  <a:pt x="235" y="227"/>
                  <a:pt x="238" y="224"/>
                  <a:pt x="238" y="220"/>
                </a:cubicBezTo>
                <a:cubicBezTo>
                  <a:pt x="238" y="217"/>
                  <a:pt x="235" y="214"/>
                  <a:pt x="231" y="214"/>
                </a:cubicBezTo>
                <a:close/>
                <a:moveTo>
                  <a:pt x="208" y="233"/>
                </a:moveTo>
                <a:cubicBezTo>
                  <a:pt x="204" y="233"/>
                  <a:pt x="201" y="236"/>
                  <a:pt x="201" y="239"/>
                </a:cubicBezTo>
                <a:cubicBezTo>
                  <a:pt x="201" y="243"/>
                  <a:pt x="204" y="245"/>
                  <a:pt x="208" y="245"/>
                </a:cubicBezTo>
                <a:cubicBezTo>
                  <a:pt x="213" y="245"/>
                  <a:pt x="216" y="243"/>
                  <a:pt x="216" y="239"/>
                </a:cubicBezTo>
                <a:cubicBezTo>
                  <a:pt x="216" y="236"/>
                  <a:pt x="213" y="233"/>
                  <a:pt x="208" y="233"/>
                </a:cubicBezTo>
                <a:close/>
                <a:moveTo>
                  <a:pt x="231" y="233"/>
                </a:moveTo>
                <a:cubicBezTo>
                  <a:pt x="227" y="233"/>
                  <a:pt x="223" y="236"/>
                  <a:pt x="223" y="239"/>
                </a:cubicBezTo>
                <a:cubicBezTo>
                  <a:pt x="223" y="243"/>
                  <a:pt x="227" y="245"/>
                  <a:pt x="231" y="245"/>
                </a:cubicBezTo>
                <a:cubicBezTo>
                  <a:pt x="235" y="245"/>
                  <a:pt x="238" y="243"/>
                  <a:pt x="238" y="239"/>
                </a:cubicBezTo>
                <a:cubicBezTo>
                  <a:pt x="238" y="236"/>
                  <a:pt x="235" y="233"/>
                  <a:pt x="231" y="233"/>
                </a:cubicBezTo>
                <a:close/>
                <a:moveTo>
                  <a:pt x="208" y="252"/>
                </a:moveTo>
                <a:cubicBezTo>
                  <a:pt x="204" y="252"/>
                  <a:pt x="201" y="255"/>
                  <a:pt x="201" y="258"/>
                </a:cubicBezTo>
                <a:cubicBezTo>
                  <a:pt x="201" y="262"/>
                  <a:pt x="204" y="265"/>
                  <a:pt x="208" y="265"/>
                </a:cubicBezTo>
                <a:cubicBezTo>
                  <a:pt x="213" y="265"/>
                  <a:pt x="216" y="262"/>
                  <a:pt x="216" y="258"/>
                </a:cubicBezTo>
                <a:cubicBezTo>
                  <a:pt x="216" y="255"/>
                  <a:pt x="213" y="252"/>
                  <a:pt x="208" y="252"/>
                </a:cubicBezTo>
                <a:close/>
                <a:moveTo>
                  <a:pt x="231" y="252"/>
                </a:moveTo>
                <a:cubicBezTo>
                  <a:pt x="227" y="252"/>
                  <a:pt x="223" y="255"/>
                  <a:pt x="223" y="258"/>
                </a:cubicBezTo>
                <a:cubicBezTo>
                  <a:pt x="223" y="262"/>
                  <a:pt x="227" y="265"/>
                  <a:pt x="231" y="265"/>
                </a:cubicBezTo>
                <a:cubicBezTo>
                  <a:pt x="235" y="265"/>
                  <a:pt x="238" y="262"/>
                  <a:pt x="238" y="258"/>
                </a:cubicBezTo>
                <a:cubicBezTo>
                  <a:pt x="238" y="255"/>
                  <a:pt x="235" y="252"/>
                  <a:pt x="231" y="252"/>
                </a:cubicBezTo>
                <a:close/>
                <a:moveTo>
                  <a:pt x="231" y="271"/>
                </a:moveTo>
                <a:cubicBezTo>
                  <a:pt x="227" y="271"/>
                  <a:pt x="223" y="274"/>
                  <a:pt x="223" y="278"/>
                </a:cubicBezTo>
                <a:cubicBezTo>
                  <a:pt x="223" y="282"/>
                  <a:pt x="227" y="285"/>
                  <a:pt x="231" y="285"/>
                </a:cubicBezTo>
                <a:cubicBezTo>
                  <a:pt x="235" y="285"/>
                  <a:pt x="238" y="282"/>
                  <a:pt x="238" y="278"/>
                </a:cubicBezTo>
                <a:cubicBezTo>
                  <a:pt x="238" y="274"/>
                  <a:pt x="235" y="271"/>
                  <a:pt x="231" y="271"/>
                </a:cubicBezTo>
                <a:close/>
                <a:moveTo>
                  <a:pt x="253" y="155"/>
                </a:moveTo>
                <a:cubicBezTo>
                  <a:pt x="248" y="155"/>
                  <a:pt x="245" y="158"/>
                  <a:pt x="245" y="162"/>
                </a:cubicBezTo>
                <a:cubicBezTo>
                  <a:pt x="245" y="166"/>
                  <a:pt x="248" y="169"/>
                  <a:pt x="253" y="169"/>
                </a:cubicBezTo>
                <a:cubicBezTo>
                  <a:pt x="257" y="169"/>
                  <a:pt x="260" y="166"/>
                  <a:pt x="260" y="162"/>
                </a:cubicBezTo>
                <a:cubicBezTo>
                  <a:pt x="260" y="158"/>
                  <a:pt x="257" y="155"/>
                  <a:pt x="253" y="155"/>
                </a:cubicBezTo>
                <a:close/>
                <a:moveTo>
                  <a:pt x="275" y="155"/>
                </a:moveTo>
                <a:cubicBezTo>
                  <a:pt x="270" y="155"/>
                  <a:pt x="267" y="158"/>
                  <a:pt x="267" y="162"/>
                </a:cubicBezTo>
                <a:cubicBezTo>
                  <a:pt x="267" y="166"/>
                  <a:pt x="270" y="169"/>
                  <a:pt x="275" y="169"/>
                </a:cubicBezTo>
                <a:cubicBezTo>
                  <a:pt x="279" y="169"/>
                  <a:pt x="282" y="166"/>
                  <a:pt x="282" y="162"/>
                </a:cubicBezTo>
                <a:cubicBezTo>
                  <a:pt x="282" y="158"/>
                  <a:pt x="279" y="155"/>
                  <a:pt x="275" y="155"/>
                </a:cubicBezTo>
                <a:close/>
                <a:moveTo>
                  <a:pt x="253" y="175"/>
                </a:moveTo>
                <a:cubicBezTo>
                  <a:pt x="248" y="175"/>
                  <a:pt x="245" y="178"/>
                  <a:pt x="245" y="182"/>
                </a:cubicBezTo>
                <a:cubicBezTo>
                  <a:pt x="245" y="185"/>
                  <a:pt x="248" y="188"/>
                  <a:pt x="253" y="188"/>
                </a:cubicBezTo>
                <a:cubicBezTo>
                  <a:pt x="257" y="188"/>
                  <a:pt x="260" y="185"/>
                  <a:pt x="260" y="182"/>
                </a:cubicBezTo>
                <a:cubicBezTo>
                  <a:pt x="260" y="178"/>
                  <a:pt x="257" y="175"/>
                  <a:pt x="253" y="175"/>
                </a:cubicBezTo>
                <a:close/>
                <a:moveTo>
                  <a:pt x="275" y="175"/>
                </a:moveTo>
                <a:cubicBezTo>
                  <a:pt x="270" y="175"/>
                  <a:pt x="267" y="178"/>
                  <a:pt x="267" y="182"/>
                </a:cubicBezTo>
                <a:cubicBezTo>
                  <a:pt x="267" y="185"/>
                  <a:pt x="270" y="188"/>
                  <a:pt x="275" y="188"/>
                </a:cubicBezTo>
                <a:cubicBezTo>
                  <a:pt x="279" y="188"/>
                  <a:pt x="282" y="185"/>
                  <a:pt x="282" y="182"/>
                </a:cubicBezTo>
                <a:cubicBezTo>
                  <a:pt x="282" y="178"/>
                  <a:pt x="279" y="175"/>
                  <a:pt x="275" y="175"/>
                </a:cubicBezTo>
                <a:close/>
                <a:moveTo>
                  <a:pt x="253" y="194"/>
                </a:moveTo>
                <a:cubicBezTo>
                  <a:pt x="248" y="194"/>
                  <a:pt x="245" y="197"/>
                  <a:pt x="245" y="201"/>
                </a:cubicBezTo>
                <a:cubicBezTo>
                  <a:pt x="245" y="205"/>
                  <a:pt x="248" y="208"/>
                  <a:pt x="253" y="208"/>
                </a:cubicBezTo>
                <a:cubicBezTo>
                  <a:pt x="257" y="208"/>
                  <a:pt x="260" y="205"/>
                  <a:pt x="260" y="201"/>
                </a:cubicBezTo>
                <a:cubicBezTo>
                  <a:pt x="260" y="197"/>
                  <a:pt x="257" y="194"/>
                  <a:pt x="253" y="194"/>
                </a:cubicBezTo>
                <a:close/>
                <a:moveTo>
                  <a:pt x="275" y="194"/>
                </a:moveTo>
                <a:cubicBezTo>
                  <a:pt x="270" y="194"/>
                  <a:pt x="267" y="197"/>
                  <a:pt x="267" y="201"/>
                </a:cubicBezTo>
                <a:cubicBezTo>
                  <a:pt x="267" y="205"/>
                  <a:pt x="270" y="208"/>
                  <a:pt x="275" y="208"/>
                </a:cubicBezTo>
                <a:cubicBezTo>
                  <a:pt x="279" y="208"/>
                  <a:pt x="282" y="205"/>
                  <a:pt x="282" y="201"/>
                </a:cubicBezTo>
                <a:cubicBezTo>
                  <a:pt x="282" y="197"/>
                  <a:pt x="279" y="194"/>
                  <a:pt x="275" y="194"/>
                </a:cubicBezTo>
                <a:close/>
                <a:moveTo>
                  <a:pt x="253" y="214"/>
                </a:moveTo>
                <a:cubicBezTo>
                  <a:pt x="248" y="214"/>
                  <a:pt x="245" y="217"/>
                  <a:pt x="245" y="220"/>
                </a:cubicBezTo>
                <a:cubicBezTo>
                  <a:pt x="245" y="224"/>
                  <a:pt x="248" y="227"/>
                  <a:pt x="253" y="227"/>
                </a:cubicBezTo>
                <a:cubicBezTo>
                  <a:pt x="257" y="227"/>
                  <a:pt x="260" y="224"/>
                  <a:pt x="260" y="220"/>
                </a:cubicBezTo>
                <a:cubicBezTo>
                  <a:pt x="260" y="217"/>
                  <a:pt x="257" y="214"/>
                  <a:pt x="253" y="214"/>
                </a:cubicBezTo>
                <a:close/>
                <a:moveTo>
                  <a:pt x="275" y="214"/>
                </a:moveTo>
                <a:cubicBezTo>
                  <a:pt x="270" y="214"/>
                  <a:pt x="267" y="217"/>
                  <a:pt x="267" y="220"/>
                </a:cubicBezTo>
                <a:cubicBezTo>
                  <a:pt x="267" y="224"/>
                  <a:pt x="270" y="227"/>
                  <a:pt x="275" y="227"/>
                </a:cubicBezTo>
                <a:cubicBezTo>
                  <a:pt x="279" y="227"/>
                  <a:pt x="282" y="224"/>
                  <a:pt x="282" y="220"/>
                </a:cubicBezTo>
                <a:cubicBezTo>
                  <a:pt x="282" y="217"/>
                  <a:pt x="279" y="214"/>
                  <a:pt x="275" y="214"/>
                </a:cubicBezTo>
                <a:close/>
                <a:moveTo>
                  <a:pt x="253" y="233"/>
                </a:moveTo>
                <a:cubicBezTo>
                  <a:pt x="248" y="233"/>
                  <a:pt x="245" y="236"/>
                  <a:pt x="245" y="239"/>
                </a:cubicBezTo>
                <a:cubicBezTo>
                  <a:pt x="245" y="243"/>
                  <a:pt x="248" y="245"/>
                  <a:pt x="253" y="245"/>
                </a:cubicBezTo>
                <a:cubicBezTo>
                  <a:pt x="257" y="245"/>
                  <a:pt x="260" y="243"/>
                  <a:pt x="260" y="239"/>
                </a:cubicBezTo>
                <a:cubicBezTo>
                  <a:pt x="260" y="236"/>
                  <a:pt x="257" y="233"/>
                  <a:pt x="253" y="233"/>
                </a:cubicBezTo>
                <a:close/>
                <a:moveTo>
                  <a:pt x="275" y="233"/>
                </a:moveTo>
                <a:cubicBezTo>
                  <a:pt x="270" y="233"/>
                  <a:pt x="267" y="236"/>
                  <a:pt x="267" y="239"/>
                </a:cubicBezTo>
                <a:cubicBezTo>
                  <a:pt x="267" y="243"/>
                  <a:pt x="270" y="245"/>
                  <a:pt x="275" y="245"/>
                </a:cubicBezTo>
                <a:cubicBezTo>
                  <a:pt x="279" y="245"/>
                  <a:pt x="282" y="243"/>
                  <a:pt x="282" y="239"/>
                </a:cubicBezTo>
                <a:cubicBezTo>
                  <a:pt x="282" y="236"/>
                  <a:pt x="279" y="233"/>
                  <a:pt x="275" y="233"/>
                </a:cubicBezTo>
                <a:close/>
                <a:moveTo>
                  <a:pt x="253" y="252"/>
                </a:moveTo>
                <a:cubicBezTo>
                  <a:pt x="248" y="252"/>
                  <a:pt x="245" y="255"/>
                  <a:pt x="245" y="258"/>
                </a:cubicBezTo>
                <a:cubicBezTo>
                  <a:pt x="245" y="262"/>
                  <a:pt x="248" y="265"/>
                  <a:pt x="253" y="265"/>
                </a:cubicBezTo>
                <a:cubicBezTo>
                  <a:pt x="257" y="265"/>
                  <a:pt x="260" y="262"/>
                  <a:pt x="260" y="258"/>
                </a:cubicBezTo>
                <a:cubicBezTo>
                  <a:pt x="260" y="255"/>
                  <a:pt x="257" y="252"/>
                  <a:pt x="253" y="252"/>
                </a:cubicBezTo>
                <a:close/>
                <a:moveTo>
                  <a:pt x="275" y="252"/>
                </a:moveTo>
                <a:cubicBezTo>
                  <a:pt x="270" y="252"/>
                  <a:pt x="267" y="255"/>
                  <a:pt x="267" y="258"/>
                </a:cubicBezTo>
                <a:cubicBezTo>
                  <a:pt x="267" y="262"/>
                  <a:pt x="270" y="265"/>
                  <a:pt x="275" y="265"/>
                </a:cubicBezTo>
                <a:cubicBezTo>
                  <a:pt x="279" y="265"/>
                  <a:pt x="282" y="262"/>
                  <a:pt x="282" y="258"/>
                </a:cubicBezTo>
                <a:cubicBezTo>
                  <a:pt x="282" y="255"/>
                  <a:pt x="279" y="252"/>
                  <a:pt x="275" y="252"/>
                </a:cubicBezTo>
                <a:close/>
                <a:moveTo>
                  <a:pt x="253" y="271"/>
                </a:moveTo>
                <a:cubicBezTo>
                  <a:pt x="248" y="271"/>
                  <a:pt x="245" y="274"/>
                  <a:pt x="245" y="278"/>
                </a:cubicBezTo>
                <a:cubicBezTo>
                  <a:pt x="245" y="282"/>
                  <a:pt x="248" y="285"/>
                  <a:pt x="253" y="285"/>
                </a:cubicBezTo>
                <a:cubicBezTo>
                  <a:pt x="257" y="285"/>
                  <a:pt x="260" y="282"/>
                  <a:pt x="260" y="278"/>
                </a:cubicBezTo>
                <a:cubicBezTo>
                  <a:pt x="260" y="274"/>
                  <a:pt x="257" y="271"/>
                  <a:pt x="253" y="271"/>
                </a:cubicBezTo>
                <a:close/>
                <a:moveTo>
                  <a:pt x="275" y="271"/>
                </a:moveTo>
                <a:cubicBezTo>
                  <a:pt x="270" y="271"/>
                  <a:pt x="267" y="274"/>
                  <a:pt x="267" y="278"/>
                </a:cubicBezTo>
                <a:cubicBezTo>
                  <a:pt x="267" y="282"/>
                  <a:pt x="270" y="285"/>
                  <a:pt x="275" y="285"/>
                </a:cubicBezTo>
                <a:cubicBezTo>
                  <a:pt x="279" y="285"/>
                  <a:pt x="282" y="282"/>
                  <a:pt x="282" y="278"/>
                </a:cubicBezTo>
                <a:cubicBezTo>
                  <a:pt x="282" y="274"/>
                  <a:pt x="279" y="271"/>
                  <a:pt x="275" y="271"/>
                </a:cubicBezTo>
                <a:close/>
                <a:moveTo>
                  <a:pt x="320" y="136"/>
                </a:moveTo>
                <a:cubicBezTo>
                  <a:pt x="315" y="136"/>
                  <a:pt x="312" y="139"/>
                  <a:pt x="312" y="143"/>
                </a:cubicBezTo>
                <a:cubicBezTo>
                  <a:pt x="312" y="146"/>
                  <a:pt x="315" y="149"/>
                  <a:pt x="320" y="149"/>
                </a:cubicBezTo>
                <a:cubicBezTo>
                  <a:pt x="324" y="149"/>
                  <a:pt x="327" y="146"/>
                  <a:pt x="327" y="143"/>
                </a:cubicBezTo>
                <a:cubicBezTo>
                  <a:pt x="327" y="139"/>
                  <a:pt x="324" y="136"/>
                  <a:pt x="320" y="136"/>
                </a:cubicBezTo>
                <a:close/>
                <a:moveTo>
                  <a:pt x="297" y="175"/>
                </a:moveTo>
                <a:cubicBezTo>
                  <a:pt x="292" y="175"/>
                  <a:pt x="289" y="178"/>
                  <a:pt x="289" y="182"/>
                </a:cubicBezTo>
                <a:cubicBezTo>
                  <a:pt x="289" y="185"/>
                  <a:pt x="292" y="188"/>
                  <a:pt x="297" y="188"/>
                </a:cubicBezTo>
                <a:cubicBezTo>
                  <a:pt x="301" y="188"/>
                  <a:pt x="304" y="185"/>
                  <a:pt x="304" y="182"/>
                </a:cubicBezTo>
                <a:cubicBezTo>
                  <a:pt x="304" y="178"/>
                  <a:pt x="301" y="175"/>
                  <a:pt x="297" y="175"/>
                </a:cubicBezTo>
                <a:close/>
                <a:moveTo>
                  <a:pt x="320" y="175"/>
                </a:moveTo>
                <a:cubicBezTo>
                  <a:pt x="315" y="175"/>
                  <a:pt x="312" y="178"/>
                  <a:pt x="312" y="182"/>
                </a:cubicBezTo>
                <a:cubicBezTo>
                  <a:pt x="312" y="185"/>
                  <a:pt x="315" y="188"/>
                  <a:pt x="320" y="188"/>
                </a:cubicBezTo>
                <a:cubicBezTo>
                  <a:pt x="324" y="188"/>
                  <a:pt x="327" y="185"/>
                  <a:pt x="327" y="182"/>
                </a:cubicBezTo>
                <a:cubicBezTo>
                  <a:pt x="327" y="178"/>
                  <a:pt x="324" y="175"/>
                  <a:pt x="320" y="175"/>
                </a:cubicBezTo>
                <a:close/>
                <a:moveTo>
                  <a:pt x="297" y="194"/>
                </a:moveTo>
                <a:cubicBezTo>
                  <a:pt x="292" y="194"/>
                  <a:pt x="289" y="197"/>
                  <a:pt x="289" y="201"/>
                </a:cubicBezTo>
                <a:cubicBezTo>
                  <a:pt x="289" y="205"/>
                  <a:pt x="292" y="208"/>
                  <a:pt x="297" y="208"/>
                </a:cubicBezTo>
                <a:cubicBezTo>
                  <a:pt x="301" y="208"/>
                  <a:pt x="304" y="205"/>
                  <a:pt x="304" y="201"/>
                </a:cubicBezTo>
                <a:cubicBezTo>
                  <a:pt x="304" y="197"/>
                  <a:pt x="301" y="194"/>
                  <a:pt x="297" y="194"/>
                </a:cubicBezTo>
                <a:close/>
                <a:moveTo>
                  <a:pt x="320" y="194"/>
                </a:moveTo>
                <a:cubicBezTo>
                  <a:pt x="315" y="194"/>
                  <a:pt x="312" y="197"/>
                  <a:pt x="312" y="201"/>
                </a:cubicBezTo>
                <a:cubicBezTo>
                  <a:pt x="312" y="205"/>
                  <a:pt x="315" y="208"/>
                  <a:pt x="320" y="208"/>
                </a:cubicBezTo>
                <a:cubicBezTo>
                  <a:pt x="324" y="208"/>
                  <a:pt x="327" y="205"/>
                  <a:pt x="327" y="201"/>
                </a:cubicBezTo>
                <a:cubicBezTo>
                  <a:pt x="327" y="197"/>
                  <a:pt x="324" y="194"/>
                  <a:pt x="320" y="194"/>
                </a:cubicBezTo>
                <a:close/>
                <a:moveTo>
                  <a:pt x="297" y="214"/>
                </a:moveTo>
                <a:cubicBezTo>
                  <a:pt x="292" y="214"/>
                  <a:pt x="289" y="217"/>
                  <a:pt x="289" y="220"/>
                </a:cubicBezTo>
                <a:cubicBezTo>
                  <a:pt x="289" y="224"/>
                  <a:pt x="292" y="227"/>
                  <a:pt x="297" y="227"/>
                </a:cubicBezTo>
                <a:cubicBezTo>
                  <a:pt x="301" y="227"/>
                  <a:pt x="304" y="224"/>
                  <a:pt x="304" y="220"/>
                </a:cubicBezTo>
                <a:cubicBezTo>
                  <a:pt x="304" y="217"/>
                  <a:pt x="301" y="214"/>
                  <a:pt x="297" y="214"/>
                </a:cubicBezTo>
                <a:close/>
                <a:moveTo>
                  <a:pt x="320" y="214"/>
                </a:moveTo>
                <a:cubicBezTo>
                  <a:pt x="315" y="214"/>
                  <a:pt x="312" y="217"/>
                  <a:pt x="312" y="220"/>
                </a:cubicBezTo>
                <a:cubicBezTo>
                  <a:pt x="312" y="224"/>
                  <a:pt x="315" y="227"/>
                  <a:pt x="320" y="227"/>
                </a:cubicBezTo>
                <a:cubicBezTo>
                  <a:pt x="324" y="227"/>
                  <a:pt x="327" y="224"/>
                  <a:pt x="327" y="220"/>
                </a:cubicBezTo>
                <a:cubicBezTo>
                  <a:pt x="327" y="217"/>
                  <a:pt x="324" y="214"/>
                  <a:pt x="320" y="214"/>
                </a:cubicBezTo>
                <a:close/>
                <a:moveTo>
                  <a:pt x="297" y="233"/>
                </a:moveTo>
                <a:cubicBezTo>
                  <a:pt x="292" y="233"/>
                  <a:pt x="289" y="236"/>
                  <a:pt x="289" y="239"/>
                </a:cubicBezTo>
                <a:cubicBezTo>
                  <a:pt x="289" y="243"/>
                  <a:pt x="292" y="245"/>
                  <a:pt x="297" y="245"/>
                </a:cubicBezTo>
                <a:cubicBezTo>
                  <a:pt x="301" y="245"/>
                  <a:pt x="304" y="243"/>
                  <a:pt x="304" y="239"/>
                </a:cubicBezTo>
                <a:cubicBezTo>
                  <a:pt x="304" y="236"/>
                  <a:pt x="301" y="233"/>
                  <a:pt x="297" y="233"/>
                </a:cubicBezTo>
                <a:close/>
                <a:moveTo>
                  <a:pt x="320" y="233"/>
                </a:moveTo>
                <a:cubicBezTo>
                  <a:pt x="315" y="233"/>
                  <a:pt x="312" y="236"/>
                  <a:pt x="312" y="239"/>
                </a:cubicBezTo>
                <a:cubicBezTo>
                  <a:pt x="312" y="243"/>
                  <a:pt x="315" y="245"/>
                  <a:pt x="320" y="245"/>
                </a:cubicBezTo>
                <a:cubicBezTo>
                  <a:pt x="324" y="245"/>
                  <a:pt x="327" y="243"/>
                  <a:pt x="327" y="239"/>
                </a:cubicBezTo>
                <a:cubicBezTo>
                  <a:pt x="327" y="236"/>
                  <a:pt x="324" y="233"/>
                  <a:pt x="320" y="233"/>
                </a:cubicBezTo>
                <a:close/>
                <a:moveTo>
                  <a:pt x="297" y="252"/>
                </a:moveTo>
                <a:cubicBezTo>
                  <a:pt x="292" y="252"/>
                  <a:pt x="289" y="255"/>
                  <a:pt x="289" y="258"/>
                </a:cubicBezTo>
                <a:cubicBezTo>
                  <a:pt x="289" y="262"/>
                  <a:pt x="292" y="265"/>
                  <a:pt x="297" y="265"/>
                </a:cubicBezTo>
                <a:cubicBezTo>
                  <a:pt x="301" y="265"/>
                  <a:pt x="304" y="262"/>
                  <a:pt x="304" y="258"/>
                </a:cubicBezTo>
                <a:cubicBezTo>
                  <a:pt x="304" y="255"/>
                  <a:pt x="301" y="252"/>
                  <a:pt x="297" y="252"/>
                </a:cubicBezTo>
                <a:close/>
                <a:moveTo>
                  <a:pt x="320" y="252"/>
                </a:moveTo>
                <a:cubicBezTo>
                  <a:pt x="315" y="252"/>
                  <a:pt x="312" y="255"/>
                  <a:pt x="312" y="258"/>
                </a:cubicBezTo>
                <a:cubicBezTo>
                  <a:pt x="312" y="262"/>
                  <a:pt x="315" y="265"/>
                  <a:pt x="320" y="265"/>
                </a:cubicBezTo>
                <a:cubicBezTo>
                  <a:pt x="324" y="265"/>
                  <a:pt x="327" y="262"/>
                  <a:pt x="327" y="258"/>
                </a:cubicBezTo>
                <a:cubicBezTo>
                  <a:pt x="327" y="255"/>
                  <a:pt x="324" y="252"/>
                  <a:pt x="320" y="252"/>
                </a:cubicBezTo>
                <a:close/>
                <a:moveTo>
                  <a:pt x="297" y="271"/>
                </a:moveTo>
                <a:cubicBezTo>
                  <a:pt x="292" y="271"/>
                  <a:pt x="289" y="274"/>
                  <a:pt x="289" y="278"/>
                </a:cubicBezTo>
                <a:cubicBezTo>
                  <a:pt x="289" y="282"/>
                  <a:pt x="292" y="285"/>
                  <a:pt x="297" y="285"/>
                </a:cubicBezTo>
                <a:cubicBezTo>
                  <a:pt x="301" y="285"/>
                  <a:pt x="304" y="282"/>
                  <a:pt x="304" y="278"/>
                </a:cubicBezTo>
                <a:cubicBezTo>
                  <a:pt x="304" y="274"/>
                  <a:pt x="301" y="271"/>
                  <a:pt x="297" y="271"/>
                </a:cubicBezTo>
                <a:close/>
                <a:moveTo>
                  <a:pt x="320" y="271"/>
                </a:moveTo>
                <a:cubicBezTo>
                  <a:pt x="315" y="271"/>
                  <a:pt x="312" y="274"/>
                  <a:pt x="312" y="278"/>
                </a:cubicBezTo>
                <a:cubicBezTo>
                  <a:pt x="312" y="282"/>
                  <a:pt x="315" y="285"/>
                  <a:pt x="320" y="285"/>
                </a:cubicBezTo>
                <a:cubicBezTo>
                  <a:pt x="324" y="285"/>
                  <a:pt x="327" y="282"/>
                  <a:pt x="327" y="278"/>
                </a:cubicBezTo>
                <a:cubicBezTo>
                  <a:pt x="327" y="274"/>
                  <a:pt x="324" y="271"/>
                  <a:pt x="320" y="271"/>
                </a:cubicBezTo>
                <a:close/>
                <a:moveTo>
                  <a:pt x="341" y="78"/>
                </a:moveTo>
                <a:cubicBezTo>
                  <a:pt x="337" y="78"/>
                  <a:pt x="334" y="81"/>
                  <a:pt x="334" y="85"/>
                </a:cubicBezTo>
                <a:cubicBezTo>
                  <a:pt x="334" y="88"/>
                  <a:pt x="337" y="91"/>
                  <a:pt x="341" y="91"/>
                </a:cubicBezTo>
                <a:cubicBezTo>
                  <a:pt x="346" y="91"/>
                  <a:pt x="349" y="88"/>
                  <a:pt x="349" y="85"/>
                </a:cubicBezTo>
                <a:cubicBezTo>
                  <a:pt x="349" y="81"/>
                  <a:pt x="346" y="78"/>
                  <a:pt x="341" y="78"/>
                </a:cubicBezTo>
                <a:close/>
                <a:moveTo>
                  <a:pt x="364" y="78"/>
                </a:moveTo>
                <a:cubicBezTo>
                  <a:pt x="359" y="78"/>
                  <a:pt x="356" y="81"/>
                  <a:pt x="356" y="85"/>
                </a:cubicBezTo>
                <a:cubicBezTo>
                  <a:pt x="356" y="88"/>
                  <a:pt x="359" y="91"/>
                  <a:pt x="364" y="91"/>
                </a:cubicBezTo>
                <a:cubicBezTo>
                  <a:pt x="368" y="91"/>
                  <a:pt x="371" y="88"/>
                  <a:pt x="371" y="85"/>
                </a:cubicBezTo>
                <a:cubicBezTo>
                  <a:pt x="371" y="81"/>
                  <a:pt x="368" y="78"/>
                  <a:pt x="364" y="78"/>
                </a:cubicBezTo>
                <a:close/>
                <a:moveTo>
                  <a:pt x="364" y="97"/>
                </a:moveTo>
                <a:cubicBezTo>
                  <a:pt x="359" y="97"/>
                  <a:pt x="356" y="100"/>
                  <a:pt x="356" y="104"/>
                </a:cubicBezTo>
                <a:cubicBezTo>
                  <a:pt x="356" y="107"/>
                  <a:pt x="359" y="110"/>
                  <a:pt x="364" y="110"/>
                </a:cubicBezTo>
                <a:cubicBezTo>
                  <a:pt x="368" y="110"/>
                  <a:pt x="371" y="107"/>
                  <a:pt x="371" y="104"/>
                </a:cubicBezTo>
                <a:cubicBezTo>
                  <a:pt x="371" y="100"/>
                  <a:pt x="368" y="97"/>
                  <a:pt x="364" y="97"/>
                </a:cubicBezTo>
                <a:close/>
                <a:moveTo>
                  <a:pt x="341" y="116"/>
                </a:moveTo>
                <a:cubicBezTo>
                  <a:pt x="337" y="116"/>
                  <a:pt x="334" y="119"/>
                  <a:pt x="334" y="123"/>
                </a:cubicBezTo>
                <a:cubicBezTo>
                  <a:pt x="334" y="127"/>
                  <a:pt x="337" y="130"/>
                  <a:pt x="341" y="130"/>
                </a:cubicBezTo>
                <a:cubicBezTo>
                  <a:pt x="346" y="130"/>
                  <a:pt x="349" y="127"/>
                  <a:pt x="349" y="123"/>
                </a:cubicBezTo>
                <a:cubicBezTo>
                  <a:pt x="349" y="119"/>
                  <a:pt x="346" y="116"/>
                  <a:pt x="341" y="116"/>
                </a:cubicBezTo>
                <a:close/>
                <a:moveTo>
                  <a:pt x="364" y="116"/>
                </a:moveTo>
                <a:cubicBezTo>
                  <a:pt x="359" y="116"/>
                  <a:pt x="356" y="119"/>
                  <a:pt x="356" y="123"/>
                </a:cubicBezTo>
                <a:cubicBezTo>
                  <a:pt x="356" y="127"/>
                  <a:pt x="359" y="130"/>
                  <a:pt x="364" y="130"/>
                </a:cubicBezTo>
                <a:cubicBezTo>
                  <a:pt x="368" y="130"/>
                  <a:pt x="371" y="127"/>
                  <a:pt x="371" y="123"/>
                </a:cubicBezTo>
                <a:cubicBezTo>
                  <a:pt x="371" y="119"/>
                  <a:pt x="368" y="116"/>
                  <a:pt x="364" y="116"/>
                </a:cubicBezTo>
                <a:close/>
                <a:moveTo>
                  <a:pt x="385" y="78"/>
                </a:moveTo>
                <a:cubicBezTo>
                  <a:pt x="381" y="78"/>
                  <a:pt x="378" y="81"/>
                  <a:pt x="378" y="85"/>
                </a:cubicBezTo>
                <a:cubicBezTo>
                  <a:pt x="378" y="88"/>
                  <a:pt x="381" y="91"/>
                  <a:pt x="385" y="91"/>
                </a:cubicBezTo>
                <a:cubicBezTo>
                  <a:pt x="389" y="91"/>
                  <a:pt x="393" y="88"/>
                  <a:pt x="393" y="85"/>
                </a:cubicBezTo>
                <a:cubicBezTo>
                  <a:pt x="393" y="81"/>
                  <a:pt x="389" y="78"/>
                  <a:pt x="385" y="78"/>
                </a:cubicBezTo>
                <a:close/>
                <a:moveTo>
                  <a:pt x="408" y="78"/>
                </a:moveTo>
                <a:cubicBezTo>
                  <a:pt x="404" y="78"/>
                  <a:pt x="401" y="81"/>
                  <a:pt x="401" y="85"/>
                </a:cubicBezTo>
                <a:cubicBezTo>
                  <a:pt x="401" y="88"/>
                  <a:pt x="404" y="91"/>
                  <a:pt x="408" y="91"/>
                </a:cubicBezTo>
                <a:cubicBezTo>
                  <a:pt x="413" y="91"/>
                  <a:pt x="416" y="88"/>
                  <a:pt x="416" y="85"/>
                </a:cubicBezTo>
                <a:cubicBezTo>
                  <a:pt x="416" y="81"/>
                  <a:pt x="413" y="78"/>
                  <a:pt x="408" y="78"/>
                </a:cubicBezTo>
                <a:close/>
                <a:moveTo>
                  <a:pt x="385" y="98"/>
                </a:moveTo>
                <a:cubicBezTo>
                  <a:pt x="381" y="98"/>
                  <a:pt x="378" y="101"/>
                  <a:pt x="378" y="105"/>
                </a:cubicBezTo>
                <a:cubicBezTo>
                  <a:pt x="378" y="108"/>
                  <a:pt x="381" y="112"/>
                  <a:pt x="385" y="112"/>
                </a:cubicBezTo>
                <a:cubicBezTo>
                  <a:pt x="389" y="112"/>
                  <a:pt x="393" y="108"/>
                  <a:pt x="393" y="105"/>
                </a:cubicBezTo>
                <a:cubicBezTo>
                  <a:pt x="393" y="101"/>
                  <a:pt x="389" y="98"/>
                  <a:pt x="385" y="98"/>
                </a:cubicBezTo>
                <a:close/>
                <a:moveTo>
                  <a:pt x="408" y="97"/>
                </a:moveTo>
                <a:cubicBezTo>
                  <a:pt x="404" y="97"/>
                  <a:pt x="401" y="100"/>
                  <a:pt x="401" y="104"/>
                </a:cubicBezTo>
                <a:cubicBezTo>
                  <a:pt x="401" y="107"/>
                  <a:pt x="404" y="110"/>
                  <a:pt x="408" y="110"/>
                </a:cubicBezTo>
                <a:cubicBezTo>
                  <a:pt x="413" y="110"/>
                  <a:pt x="416" y="107"/>
                  <a:pt x="416" y="104"/>
                </a:cubicBezTo>
                <a:cubicBezTo>
                  <a:pt x="416" y="100"/>
                  <a:pt x="413" y="97"/>
                  <a:pt x="408" y="97"/>
                </a:cubicBezTo>
                <a:close/>
                <a:moveTo>
                  <a:pt x="452" y="59"/>
                </a:moveTo>
                <a:cubicBezTo>
                  <a:pt x="448" y="59"/>
                  <a:pt x="445" y="62"/>
                  <a:pt x="445" y="65"/>
                </a:cubicBezTo>
                <a:cubicBezTo>
                  <a:pt x="445" y="69"/>
                  <a:pt x="448" y="72"/>
                  <a:pt x="452" y="72"/>
                </a:cubicBezTo>
                <a:cubicBezTo>
                  <a:pt x="457" y="72"/>
                  <a:pt x="460" y="69"/>
                  <a:pt x="460" y="65"/>
                </a:cubicBezTo>
                <a:cubicBezTo>
                  <a:pt x="460" y="62"/>
                  <a:pt x="457" y="59"/>
                  <a:pt x="452" y="59"/>
                </a:cubicBezTo>
                <a:close/>
                <a:moveTo>
                  <a:pt x="452" y="78"/>
                </a:moveTo>
                <a:cubicBezTo>
                  <a:pt x="448" y="78"/>
                  <a:pt x="445" y="81"/>
                  <a:pt x="445" y="85"/>
                </a:cubicBezTo>
                <a:cubicBezTo>
                  <a:pt x="445" y="88"/>
                  <a:pt x="448" y="91"/>
                  <a:pt x="452" y="91"/>
                </a:cubicBezTo>
                <a:cubicBezTo>
                  <a:pt x="457" y="91"/>
                  <a:pt x="460" y="88"/>
                  <a:pt x="460" y="85"/>
                </a:cubicBezTo>
                <a:cubicBezTo>
                  <a:pt x="460" y="81"/>
                  <a:pt x="457" y="78"/>
                  <a:pt x="452" y="78"/>
                </a:cubicBezTo>
                <a:close/>
                <a:moveTo>
                  <a:pt x="430" y="97"/>
                </a:moveTo>
                <a:cubicBezTo>
                  <a:pt x="426" y="97"/>
                  <a:pt x="423" y="100"/>
                  <a:pt x="423" y="104"/>
                </a:cubicBezTo>
                <a:cubicBezTo>
                  <a:pt x="423" y="107"/>
                  <a:pt x="426" y="110"/>
                  <a:pt x="430" y="110"/>
                </a:cubicBezTo>
                <a:cubicBezTo>
                  <a:pt x="434" y="110"/>
                  <a:pt x="438" y="107"/>
                  <a:pt x="438" y="104"/>
                </a:cubicBezTo>
                <a:cubicBezTo>
                  <a:pt x="438" y="100"/>
                  <a:pt x="434" y="97"/>
                  <a:pt x="430" y="97"/>
                </a:cubicBezTo>
                <a:close/>
                <a:moveTo>
                  <a:pt x="452" y="97"/>
                </a:moveTo>
                <a:cubicBezTo>
                  <a:pt x="448" y="97"/>
                  <a:pt x="445" y="100"/>
                  <a:pt x="445" y="104"/>
                </a:cubicBezTo>
                <a:cubicBezTo>
                  <a:pt x="445" y="107"/>
                  <a:pt x="448" y="110"/>
                  <a:pt x="452" y="110"/>
                </a:cubicBezTo>
                <a:cubicBezTo>
                  <a:pt x="457" y="110"/>
                  <a:pt x="460" y="107"/>
                  <a:pt x="460" y="104"/>
                </a:cubicBezTo>
                <a:cubicBezTo>
                  <a:pt x="460" y="100"/>
                  <a:pt x="457" y="97"/>
                  <a:pt x="452" y="97"/>
                </a:cubicBezTo>
                <a:close/>
                <a:moveTo>
                  <a:pt x="474" y="59"/>
                </a:moveTo>
                <a:cubicBezTo>
                  <a:pt x="470" y="59"/>
                  <a:pt x="467" y="62"/>
                  <a:pt x="467" y="65"/>
                </a:cubicBezTo>
                <a:cubicBezTo>
                  <a:pt x="467" y="69"/>
                  <a:pt x="470" y="72"/>
                  <a:pt x="474" y="72"/>
                </a:cubicBezTo>
                <a:cubicBezTo>
                  <a:pt x="478" y="72"/>
                  <a:pt x="482" y="69"/>
                  <a:pt x="482" y="65"/>
                </a:cubicBezTo>
                <a:cubicBezTo>
                  <a:pt x="482" y="62"/>
                  <a:pt x="478" y="59"/>
                  <a:pt x="474" y="59"/>
                </a:cubicBezTo>
                <a:close/>
                <a:moveTo>
                  <a:pt x="497" y="59"/>
                </a:moveTo>
                <a:cubicBezTo>
                  <a:pt x="493" y="59"/>
                  <a:pt x="490" y="62"/>
                  <a:pt x="490" y="65"/>
                </a:cubicBezTo>
                <a:cubicBezTo>
                  <a:pt x="490" y="69"/>
                  <a:pt x="493" y="72"/>
                  <a:pt x="497" y="72"/>
                </a:cubicBezTo>
                <a:cubicBezTo>
                  <a:pt x="501" y="72"/>
                  <a:pt x="505" y="69"/>
                  <a:pt x="505" y="65"/>
                </a:cubicBezTo>
                <a:cubicBezTo>
                  <a:pt x="505" y="62"/>
                  <a:pt x="501" y="59"/>
                  <a:pt x="497" y="59"/>
                </a:cubicBezTo>
                <a:close/>
                <a:moveTo>
                  <a:pt x="474" y="78"/>
                </a:moveTo>
                <a:cubicBezTo>
                  <a:pt x="470" y="78"/>
                  <a:pt x="467" y="81"/>
                  <a:pt x="467" y="85"/>
                </a:cubicBezTo>
                <a:cubicBezTo>
                  <a:pt x="467" y="88"/>
                  <a:pt x="470" y="91"/>
                  <a:pt x="474" y="91"/>
                </a:cubicBezTo>
                <a:cubicBezTo>
                  <a:pt x="478" y="91"/>
                  <a:pt x="482" y="88"/>
                  <a:pt x="482" y="85"/>
                </a:cubicBezTo>
                <a:cubicBezTo>
                  <a:pt x="482" y="81"/>
                  <a:pt x="478" y="78"/>
                  <a:pt x="474" y="78"/>
                </a:cubicBezTo>
                <a:close/>
                <a:moveTo>
                  <a:pt x="497" y="78"/>
                </a:moveTo>
                <a:cubicBezTo>
                  <a:pt x="493" y="78"/>
                  <a:pt x="490" y="81"/>
                  <a:pt x="490" y="85"/>
                </a:cubicBezTo>
                <a:cubicBezTo>
                  <a:pt x="490" y="88"/>
                  <a:pt x="493" y="91"/>
                  <a:pt x="497" y="91"/>
                </a:cubicBezTo>
                <a:cubicBezTo>
                  <a:pt x="501" y="91"/>
                  <a:pt x="505" y="88"/>
                  <a:pt x="505" y="85"/>
                </a:cubicBezTo>
                <a:cubicBezTo>
                  <a:pt x="505" y="81"/>
                  <a:pt x="501" y="78"/>
                  <a:pt x="497" y="78"/>
                </a:cubicBezTo>
                <a:close/>
                <a:moveTo>
                  <a:pt x="474" y="97"/>
                </a:moveTo>
                <a:cubicBezTo>
                  <a:pt x="470" y="97"/>
                  <a:pt x="467" y="100"/>
                  <a:pt x="467" y="104"/>
                </a:cubicBezTo>
                <a:cubicBezTo>
                  <a:pt x="467" y="107"/>
                  <a:pt x="470" y="110"/>
                  <a:pt x="474" y="110"/>
                </a:cubicBezTo>
                <a:cubicBezTo>
                  <a:pt x="478" y="110"/>
                  <a:pt x="482" y="107"/>
                  <a:pt x="482" y="104"/>
                </a:cubicBezTo>
                <a:cubicBezTo>
                  <a:pt x="482" y="100"/>
                  <a:pt x="478" y="97"/>
                  <a:pt x="474" y="97"/>
                </a:cubicBezTo>
                <a:close/>
                <a:moveTo>
                  <a:pt x="497" y="97"/>
                </a:moveTo>
                <a:cubicBezTo>
                  <a:pt x="493" y="97"/>
                  <a:pt x="490" y="100"/>
                  <a:pt x="490" y="104"/>
                </a:cubicBezTo>
                <a:cubicBezTo>
                  <a:pt x="490" y="107"/>
                  <a:pt x="493" y="110"/>
                  <a:pt x="497" y="110"/>
                </a:cubicBezTo>
                <a:cubicBezTo>
                  <a:pt x="501" y="110"/>
                  <a:pt x="505" y="107"/>
                  <a:pt x="505" y="104"/>
                </a:cubicBezTo>
                <a:cubicBezTo>
                  <a:pt x="505" y="100"/>
                  <a:pt x="501" y="97"/>
                  <a:pt x="497" y="97"/>
                </a:cubicBezTo>
                <a:close/>
                <a:moveTo>
                  <a:pt x="474" y="118"/>
                </a:moveTo>
                <a:cubicBezTo>
                  <a:pt x="470" y="118"/>
                  <a:pt x="467" y="121"/>
                  <a:pt x="467" y="125"/>
                </a:cubicBezTo>
                <a:cubicBezTo>
                  <a:pt x="467" y="128"/>
                  <a:pt x="470" y="131"/>
                  <a:pt x="474" y="131"/>
                </a:cubicBezTo>
                <a:cubicBezTo>
                  <a:pt x="478" y="131"/>
                  <a:pt x="482" y="128"/>
                  <a:pt x="482" y="125"/>
                </a:cubicBezTo>
                <a:cubicBezTo>
                  <a:pt x="482" y="121"/>
                  <a:pt x="478" y="118"/>
                  <a:pt x="474" y="118"/>
                </a:cubicBezTo>
                <a:close/>
                <a:moveTo>
                  <a:pt x="497" y="116"/>
                </a:moveTo>
                <a:cubicBezTo>
                  <a:pt x="493" y="116"/>
                  <a:pt x="490" y="119"/>
                  <a:pt x="490" y="123"/>
                </a:cubicBezTo>
                <a:cubicBezTo>
                  <a:pt x="490" y="127"/>
                  <a:pt x="493" y="130"/>
                  <a:pt x="497" y="130"/>
                </a:cubicBezTo>
                <a:cubicBezTo>
                  <a:pt x="501" y="130"/>
                  <a:pt x="505" y="127"/>
                  <a:pt x="505" y="123"/>
                </a:cubicBezTo>
                <a:cubicBezTo>
                  <a:pt x="505" y="119"/>
                  <a:pt x="501" y="116"/>
                  <a:pt x="497" y="116"/>
                </a:cubicBezTo>
                <a:close/>
                <a:moveTo>
                  <a:pt x="341" y="136"/>
                </a:moveTo>
                <a:cubicBezTo>
                  <a:pt x="337" y="136"/>
                  <a:pt x="334" y="139"/>
                  <a:pt x="334" y="143"/>
                </a:cubicBezTo>
                <a:cubicBezTo>
                  <a:pt x="334" y="146"/>
                  <a:pt x="337" y="149"/>
                  <a:pt x="341" y="149"/>
                </a:cubicBezTo>
                <a:cubicBezTo>
                  <a:pt x="346" y="149"/>
                  <a:pt x="349" y="146"/>
                  <a:pt x="349" y="143"/>
                </a:cubicBezTo>
                <a:cubicBezTo>
                  <a:pt x="349" y="139"/>
                  <a:pt x="346" y="136"/>
                  <a:pt x="341" y="136"/>
                </a:cubicBezTo>
                <a:close/>
                <a:moveTo>
                  <a:pt x="364" y="136"/>
                </a:moveTo>
                <a:cubicBezTo>
                  <a:pt x="359" y="136"/>
                  <a:pt x="356" y="139"/>
                  <a:pt x="356" y="143"/>
                </a:cubicBezTo>
                <a:cubicBezTo>
                  <a:pt x="356" y="146"/>
                  <a:pt x="359" y="149"/>
                  <a:pt x="364" y="149"/>
                </a:cubicBezTo>
                <a:cubicBezTo>
                  <a:pt x="368" y="149"/>
                  <a:pt x="371" y="146"/>
                  <a:pt x="371" y="143"/>
                </a:cubicBezTo>
                <a:cubicBezTo>
                  <a:pt x="371" y="139"/>
                  <a:pt x="368" y="136"/>
                  <a:pt x="364" y="136"/>
                </a:cubicBezTo>
                <a:close/>
                <a:moveTo>
                  <a:pt x="364" y="155"/>
                </a:moveTo>
                <a:cubicBezTo>
                  <a:pt x="359" y="155"/>
                  <a:pt x="356" y="158"/>
                  <a:pt x="356" y="162"/>
                </a:cubicBezTo>
                <a:cubicBezTo>
                  <a:pt x="356" y="166"/>
                  <a:pt x="359" y="169"/>
                  <a:pt x="364" y="169"/>
                </a:cubicBezTo>
                <a:cubicBezTo>
                  <a:pt x="368" y="169"/>
                  <a:pt x="371" y="166"/>
                  <a:pt x="371" y="162"/>
                </a:cubicBezTo>
                <a:cubicBezTo>
                  <a:pt x="371" y="158"/>
                  <a:pt x="368" y="155"/>
                  <a:pt x="364" y="155"/>
                </a:cubicBezTo>
                <a:close/>
                <a:moveTo>
                  <a:pt x="341" y="175"/>
                </a:moveTo>
                <a:cubicBezTo>
                  <a:pt x="337" y="175"/>
                  <a:pt x="334" y="178"/>
                  <a:pt x="334" y="182"/>
                </a:cubicBezTo>
                <a:cubicBezTo>
                  <a:pt x="334" y="185"/>
                  <a:pt x="337" y="188"/>
                  <a:pt x="341" y="188"/>
                </a:cubicBezTo>
                <a:cubicBezTo>
                  <a:pt x="346" y="188"/>
                  <a:pt x="349" y="185"/>
                  <a:pt x="349" y="182"/>
                </a:cubicBezTo>
                <a:cubicBezTo>
                  <a:pt x="349" y="178"/>
                  <a:pt x="346" y="175"/>
                  <a:pt x="341" y="175"/>
                </a:cubicBezTo>
                <a:close/>
                <a:moveTo>
                  <a:pt x="364" y="175"/>
                </a:moveTo>
                <a:cubicBezTo>
                  <a:pt x="359" y="175"/>
                  <a:pt x="356" y="178"/>
                  <a:pt x="356" y="182"/>
                </a:cubicBezTo>
                <a:cubicBezTo>
                  <a:pt x="356" y="185"/>
                  <a:pt x="359" y="188"/>
                  <a:pt x="364" y="188"/>
                </a:cubicBezTo>
                <a:cubicBezTo>
                  <a:pt x="368" y="188"/>
                  <a:pt x="371" y="185"/>
                  <a:pt x="371" y="182"/>
                </a:cubicBezTo>
                <a:cubicBezTo>
                  <a:pt x="371" y="178"/>
                  <a:pt x="368" y="175"/>
                  <a:pt x="364" y="175"/>
                </a:cubicBezTo>
                <a:close/>
                <a:moveTo>
                  <a:pt x="341" y="194"/>
                </a:moveTo>
                <a:cubicBezTo>
                  <a:pt x="337" y="194"/>
                  <a:pt x="334" y="197"/>
                  <a:pt x="334" y="201"/>
                </a:cubicBezTo>
                <a:cubicBezTo>
                  <a:pt x="334" y="205"/>
                  <a:pt x="337" y="208"/>
                  <a:pt x="341" y="208"/>
                </a:cubicBezTo>
                <a:cubicBezTo>
                  <a:pt x="346" y="208"/>
                  <a:pt x="349" y="205"/>
                  <a:pt x="349" y="201"/>
                </a:cubicBezTo>
                <a:cubicBezTo>
                  <a:pt x="349" y="197"/>
                  <a:pt x="346" y="194"/>
                  <a:pt x="341" y="194"/>
                </a:cubicBezTo>
                <a:close/>
                <a:moveTo>
                  <a:pt x="364" y="194"/>
                </a:moveTo>
                <a:cubicBezTo>
                  <a:pt x="359" y="194"/>
                  <a:pt x="356" y="197"/>
                  <a:pt x="356" y="201"/>
                </a:cubicBezTo>
                <a:cubicBezTo>
                  <a:pt x="356" y="205"/>
                  <a:pt x="359" y="208"/>
                  <a:pt x="364" y="208"/>
                </a:cubicBezTo>
                <a:cubicBezTo>
                  <a:pt x="368" y="208"/>
                  <a:pt x="371" y="205"/>
                  <a:pt x="371" y="201"/>
                </a:cubicBezTo>
                <a:cubicBezTo>
                  <a:pt x="371" y="197"/>
                  <a:pt x="368" y="194"/>
                  <a:pt x="364" y="194"/>
                </a:cubicBezTo>
                <a:close/>
                <a:moveTo>
                  <a:pt x="341" y="214"/>
                </a:moveTo>
                <a:cubicBezTo>
                  <a:pt x="337" y="214"/>
                  <a:pt x="334" y="217"/>
                  <a:pt x="334" y="220"/>
                </a:cubicBezTo>
                <a:cubicBezTo>
                  <a:pt x="334" y="224"/>
                  <a:pt x="337" y="227"/>
                  <a:pt x="341" y="227"/>
                </a:cubicBezTo>
                <a:cubicBezTo>
                  <a:pt x="346" y="227"/>
                  <a:pt x="349" y="224"/>
                  <a:pt x="349" y="220"/>
                </a:cubicBezTo>
                <a:cubicBezTo>
                  <a:pt x="349" y="217"/>
                  <a:pt x="346" y="214"/>
                  <a:pt x="341" y="214"/>
                </a:cubicBezTo>
                <a:close/>
                <a:moveTo>
                  <a:pt x="364" y="214"/>
                </a:moveTo>
                <a:cubicBezTo>
                  <a:pt x="359" y="214"/>
                  <a:pt x="356" y="217"/>
                  <a:pt x="356" y="220"/>
                </a:cubicBezTo>
                <a:cubicBezTo>
                  <a:pt x="356" y="224"/>
                  <a:pt x="359" y="227"/>
                  <a:pt x="364" y="227"/>
                </a:cubicBezTo>
                <a:cubicBezTo>
                  <a:pt x="368" y="227"/>
                  <a:pt x="371" y="224"/>
                  <a:pt x="371" y="220"/>
                </a:cubicBezTo>
                <a:cubicBezTo>
                  <a:pt x="371" y="217"/>
                  <a:pt x="368" y="214"/>
                  <a:pt x="364" y="214"/>
                </a:cubicBezTo>
                <a:close/>
                <a:moveTo>
                  <a:pt x="341" y="233"/>
                </a:moveTo>
                <a:cubicBezTo>
                  <a:pt x="337" y="233"/>
                  <a:pt x="334" y="236"/>
                  <a:pt x="334" y="239"/>
                </a:cubicBezTo>
                <a:cubicBezTo>
                  <a:pt x="334" y="243"/>
                  <a:pt x="337" y="245"/>
                  <a:pt x="341" y="245"/>
                </a:cubicBezTo>
                <a:cubicBezTo>
                  <a:pt x="346" y="245"/>
                  <a:pt x="349" y="243"/>
                  <a:pt x="349" y="239"/>
                </a:cubicBezTo>
                <a:cubicBezTo>
                  <a:pt x="349" y="236"/>
                  <a:pt x="346" y="233"/>
                  <a:pt x="341" y="233"/>
                </a:cubicBezTo>
                <a:close/>
                <a:moveTo>
                  <a:pt x="364" y="233"/>
                </a:moveTo>
                <a:cubicBezTo>
                  <a:pt x="359" y="233"/>
                  <a:pt x="356" y="236"/>
                  <a:pt x="356" y="239"/>
                </a:cubicBezTo>
                <a:cubicBezTo>
                  <a:pt x="356" y="243"/>
                  <a:pt x="359" y="245"/>
                  <a:pt x="364" y="245"/>
                </a:cubicBezTo>
                <a:cubicBezTo>
                  <a:pt x="368" y="245"/>
                  <a:pt x="371" y="243"/>
                  <a:pt x="371" y="239"/>
                </a:cubicBezTo>
                <a:cubicBezTo>
                  <a:pt x="371" y="236"/>
                  <a:pt x="368" y="233"/>
                  <a:pt x="364" y="233"/>
                </a:cubicBezTo>
                <a:close/>
                <a:moveTo>
                  <a:pt x="341" y="252"/>
                </a:moveTo>
                <a:cubicBezTo>
                  <a:pt x="337" y="252"/>
                  <a:pt x="334" y="255"/>
                  <a:pt x="334" y="258"/>
                </a:cubicBezTo>
                <a:cubicBezTo>
                  <a:pt x="334" y="262"/>
                  <a:pt x="337" y="265"/>
                  <a:pt x="341" y="265"/>
                </a:cubicBezTo>
                <a:cubicBezTo>
                  <a:pt x="346" y="265"/>
                  <a:pt x="349" y="262"/>
                  <a:pt x="349" y="258"/>
                </a:cubicBezTo>
                <a:cubicBezTo>
                  <a:pt x="349" y="255"/>
                  <a:pt x="346" y="252"/>
                  <a:pt x="341" y="252"/>
                </a:cubicBezTo>
                <a:close/>
                <a:moveTo>
                  <a:pt x="364" y="252"/>
                </a:moveTo>
                <a:cubicBezTo>
                  <a:pt x="359" y="252"/>
                  <a:pt x="356" y="255"/>
                  <a:pt x="356" y="258"/>
                </a:cubicBezTo>
                <a:cubicBezTo>
                  <a:pt x="356" y="262"/>
                  <a:pt x="359" y="265"/>
                  <a:pt x="364" y="265"/>
                </a:cubicBezTo>
                <a:cubicBezTo>
                  <a:pt x="368" y="265"/>
                  <a:pt x="371" y="262"/>
                  <a:pt x="371" y="258"/>
                </a:cubicBezTo>
                <a:cubicBezTo>
                  <a:pt x="371" y="255"/>
                  <a:pt x="368" y="252"/>
                  <a:pt x="364" y="252"/>
                </a:cubicBezTo>
                <a:close/>
                <a:moveTo>
                  <a:pt x="341" y="271"/>
                </a:moveTo>
                <a:cubicBezTo>
                  <a:pt x="337" y="271"/>
                  <a:pt x="334" y="274"/>
                  <a:pt x="334" y="278"/>
                </a:cubicBezTo>
                <a:cubicBezTo>
                  <a:pt x="334" y="282"/>
                  <a:pt x="337" y="285"/>
                  <a:pt x="341" y="285"/>
                </a:cubicBezTo>
                <a:cubicBezTo>
                  <a:pt x="346" y="285"/>
                  <a:pt x="349" y="282"/>
                  <a:pt x="349" y="278"/>
                </a:cubicBezTo>
                <a:cubicBezTo>
                  <a:pt x="349" y="274"/>
                  <a:pt x="346" y="271"/>
                  <a:pt x="341" y="271"/>
                </a:cubicBezTo>
                <a:close/>
                <a:moveTo>
                  <a:pt x="364" y="271"/>
                </a:moveTo>
                <a:cubicBezTo>
                  <a:pt x="359" y="271"/>
                  <a:pt x="356" y="274"/>
                  <a:pt x="356" y="278"/>
                </a:cubicBezTo>
                <a:cubicBezTo>
                  <a:pt x="356" y="282"/>
                  <a:pt x="359" y="285"/>
                  <a:pt x="364" y="285"/>
                </a:cubicBezTo>
                <a:cubicBezTo>
                  <a:pt x="368" y="285"/>
                  <a:pt x="371" y="282"/>
                  <a:pt x="371" y="278"/>
                </a:cubicBezTo>
                <a:cubicBezTo>
                  <a:pt x="371" y="274"/>
                  <a:pt x="368" y="271"/>
                  <a:pt x="364" y="271"/>
                </a:cubicBezTo>
                <a:close/>
                <a:moveTo>
                  <a:pt x="385" y="137"/>
                </a:moveTo>
                <a:cubicBezTo>
                  <a:pt x="381" y="137"/>
                  <a:pt x="378" y="140"/>
                  <a:pt x="378" y="143"/>
                </a:cubicBezTo>
                <a:cubicBezTo>
                  <a:pt x="378" y="147"/>
                  <a:pt x="381" y="150"/>
                  <a:pt x="385" y="150"/>
                </a:cubicBezTo>
                <a:cubicBezTo>
                  <a:pt x="389" y="150"/>
                  <a:pt x="393" y="147"/>
                  <a:pt x="393" y="143"/>
                </a:cubicBezTo>
                <a:cubicBezTo>
                  <a:pt x="393" y="140"/>
                  <a:pt x="389" y="137"/>
                  <a:pt x="385" y="137"/>
                </a:cubicBezTo>
                <a:close/>
                <a:moveTo>
                  <a:pt x="408" y="136"/>
                </a:moveTo>
                <a:cubicBezTo>
                  <a:pt x="404" y="136"/>
                  <a:pt x="401" y="139"/>
                  <a:pt x="401" y="143"/>
                </a:cubicBezTo>
                <a:cubicBezTo>
                  <a:pt x="401" y="146"/>
                  <a:pt x="404" y="149"/>
                  <a:pt x="408" y="149"/>
                </a:cubicBezTo>
                <a:cubicBezTo>
                  <a:pt x="413" y="149"/>
                  <a:pt x="416" y="146"/>
                  <a:pt x="416" y="143"/>
                </a:cubicBezTo>
                <a:cubicBezTo>
                  <a:pt x="416" y="139"/>
                  <a:pt x="413" y="136"/>
                  <a:pt x="408" y="136"/>
                </a:cubicBezTo>
                <a:close/>
                <a:moveTo>
                  <a:pt x="385" y="156"/>
                </a:moveTo>
                <a:cubicBezTo>
                  <a:pt x="381" y="156"/>
                  <a:pt x="378" y="159"/>
                  <a:pt x="378" y="163"/>
                </a:cubicBezTo>
                <a:cubicBezTo>
                  <a:pt x="378" y="167"/>
                  <a:pt x="381" y="170"/>
                  <a:pt x="385" y="170"/>
                </a:cubicBezTo>
                <a:cubicBezTo>
                  <a:pt x="389" y="170"/>
                  <a:pt x="393" y="167"/>
                  <a:pt x="393" y="163"/>
                </a:cubicBezTo>
                <a:cubicBezTo>
                  <a:pt x="393" y="159"/>
                  <a:pt x="389" y="156"/>
                  <a:pt x="385" y="156"/>
                </a:cubicBezTo>
                <a:close/>
                <a:moveTo>
                  <a:pt x="408" y="155"/>
                </a:moveTo>
                <a:cubicBezTo>
                  <a:pt x="404" y="155"/>
                  <a:pt x="401" y="158"/>
                  <a:pt x="401" y="162"/>
                </a:cubicBezTo>
                <a:cubicBezTo>
                  <a:pt x="401" y="166"/>
                  <a:pt x="404" y="169"/>
                  <a:pt x="408" y="169"/>
                </a:cubicBezTo>
                <a:cubicBezTo>
                  <a:pt x="413" y="169"/>
                  <a:pt x="416" y="166"/>
                  <a:pt x="416" y="162"/>
                </a:cubicBezTo>
                <a:cubicBezTo>
                  <a:pt x="416" y="158"/>
                  <a:pt x="413" y="155"/>
                  <a:pt x="408" y="155"/>
                </a:cubicBezTo>
                <a:close/>
                <a:moveTo>
                  <a:pt x="385" y="175"/>
                </a:moveTo>
                <a:cubicBezTo>
                  <a:pt x="381" y="175"/>
                  <a:pt x="378" y="178"/>
                  <a:pt x="378" y="182"/>
                </a:cubicBezTo>
                <a:cubicBezTo>
                  <a:pt x="378" y="186"/>
                  <a:pt x="381" y="189"/>
                  <a:pt x="385" y="189"/>
                </a:cubicBezTo>
                <a:cubicBezTo>
                  <a:pt x="389" y="189"/>
                  <a:pt x="393" y="186"/>
                  <a:pt x="393" y="182"/>
                </a:cubicBezTo>
                <a:cubicBezTo>
                  <a:pt x="393" y="178"/>
                  <a:pt x="389" y="175"/>
                  <a:pt x="385" y="175"/>
                </a:cubicBezTo>
                <a:close/>
                <a:moveTo>
                  <a:pt x="408" y="175"/>
                </a:moveTo>
                <a:cubicBezTo>
                  <a:pt x="404" y="175"/>
                  <a:pt x="401" y="178"/>
                  <a:pt x="401" y="182"/>
                </a:cubicBezTo>
                <a:cubicBezTo>
                  <a:pt x="401" y="185"/>
                  <a:pt x="404" y="188"/>
                  <a:pt x="408" y="188"/>
                </a:cubicBezTo>
                <a:cubicBezTo>
                  <a:pt x="413" y="188"/>
                  <a:pt x="416" y="185"/>
                  <a:pt x="416" y="182"/>
                </a:cubicBezTo>
                <a:cubicBezTo>
                  <a:pt x="416" y="178"/>
                  <a:pt x="413" y="175"/>
                  <a:pt x="408" y="175"/>
                </a:cubicBezTo>
                <a:close/>
                <a:moveTo>
                  <a:pt x="385" y="195"/>
                </a:moveTo>
                <a:cubicBezTo>
                  <a:pt x="381" y="195"/>
                  <a:pt x="378" y="198"/>
                  <a:pt x="378" y="201"/>
                </a:cubicBezTo>
                <a:cubicBezTo>
                  <a:pt x="378" y="205"/>
                  <a:pt x="381" y="208"/>
                  <a:pt x="385" y="208"/>
                </a:cubicBezTo>
                <a:cubicBezTo>
                  <a:pt x="389" y="208"/>
                  <a:pt x="393" y="205"/>
                  <a:pt x="393" y="201"/>
                </a:cubicBezTo>
                <a:cubicBezTo>
                  <a:pt x="393" y="198"/>
                  <a:pt x="389" y="195"/>
                  <a:pt x="385" y="195"/>
                </a:cubicBezTo>
                <a:close/>
                <a:moveTo>
                  <a:pt x="408" y="194"/>
                </a:moveTo>
                <a:cubicBezTo>
                  <a:pt x="404" y="194"/>
                  <a:pt x="401" y="197"/>
                  <a:pt x="401" y="201"/>
                </a:cubicBezTo>
                <a:cubicBezTo>
                  <a:pt x="401" y="205"/>
                  <a:pt x="404" y="208"/>
                  <a:pt x="408" y="208"/>
                </a:cubicBezTo>
                <a:cubicBezTo>
                  <a:pt x="413" y="208"/>
                  <a:pt x="416" y="205"/>
                  <a:pt x="416" y="201"/>
                </a:cubicBezTo>
                <a:cubicBezTo>
                  <a:pt x="416" y="197"/>
                  <a:pt x="413" y="194"/>
                  <a:pt x="408" y="194"/>
                </a:cubicBezTo>
                <a:close/>
                <a:moveTo>
                  <a:pt x="385" y="214"/>
                </a:moveTo>
                <a:cubicBezTo>
                  <a:pt x="381" y="214"/>
                  <a:pt x="378" y="217"/>
                  <a:pt x="378" y="221"/>
                </a:cubicBezTo>
                <a:cubicBezTo>
                  <a:pt x="378" y="224"/>
                  <a:pt x="381" y="227"/>
                  <a:pt x="385" y="227"/>
                </a:cubicBezTo>
                <a:cubicBezTo>
                  <a:pt x="389" y="227"/>
                  <a:pt x="393" y="224"/>
                  <a:pt x="393" y="221"/>
                </a:cubicBezTo>
                <a:cubicBezTo>
                  <a:pt x="393" y="217"/>
                  <a:pt x="389" y="214"/>
                  <a:pt x="385" y="214"/>
                </a:cubicBezTo>
                <a:close/>
                <a:moveTo>
                  <a:pt x="408" y="214"/>
                </a:moveTo>
                <a:cubicBezTo>
                  <a:pt x="404" y="214"/>
                  <a:pt x="401" y="217"/>
                  <a:pt x="401" y="220"/>
                </a:cubicBezTo>
                <a:cubicBezTo>
                  <a:pt x="401" y="224"/>
                  <a:pt x="404" y="227"/>
                  <a:pt x="408" y="227"/>
                </a:cubicBezTo>
                <a:cubicBezTo>
                  <a:pt x="413" y="227"/>
                  <a:pt x="416" y="224"/>
                  <a:pt x="416" y="220"/>
                </a:cubicBezTo>
                <a:cubicBezTo>
                  <a:pt x="416" y="217"/>
                  <a:pt x="413" y="214"/>
                  <a:pt x="408" y="214"/>
                </a:cubicBezTo>
                <a:close/>
                <a:moveTo>
                  <a:pt x="385" y="233"/>
                </a:moveTo>
                <a:cubicBezTo>
                  <a:pt x="381" y="233"/>
                  <a:pt x="378" y="236"/>
                  <a:pt x="378" y="240"/>
                </a:cubicBezTo>
                <a:cubicBezTo>
                  <a:pt x="378" y="244"/>
                  <a:pt x="381" y="247"/>
                  <a:pt x="385" y="247"/>
                </a:cubicBezTo>
                <a:cubicBezTo>
                  <a:pt x="389" y="247"/>
                  <a:pt x="393" y="244"/>
                  <a:pt x="393" y="240"/>
                </a:cubicBezTo>
                <a:cubicBezTo>
                  <a:pt x="393" y="236"/>
                  <a:pt x="389" y="233"/>
                  <a:pt x="385" y="233"/>
                </a:cubicBezTo>
                <a:close/>
                <a:moveTo>
                  <a:pt x="408" y="233"/>
                </a:moveTo>
                <a:cubicBezTo>
                  <a:pt x="404" y="233"/>
                  <a:pt x="401" y="236"/>
                  <a:pt x="401" y="239"/>
                </a:cubicBezTo>
                <a:cubicBezTo>
                  <a:pt x="401" y="243"/>
                  <a:pt x="404" y="245"/>
                  <a:pt x="408" y="245"/>
                </a:cubicBezTo>
                <a:cubicBezTo>
                  <a:pt x="413" y="245"/>
                  <a:pt x="416" y="243"/>
                  <a:pt x="416" y="239"/>
                </a:cubicBezTo>
                <a:cubicBezTo>
                  <a:pt x="416" y="236"/>
                  <a:pt x="413" y="233"/>
                  <a:pt x="408" y="233"/>
                </a:cubicBezTo>
                <a:close/>
                <a:moveTo>
                  <a:pt x="385" y="252"/>
                </a:moveTo>
                <a:cubicBezTo>
                  <a:pt x="381" y="252"/>
                  <a:pt x="378" y="255"/>
                  <a:pt x="378" y="259"/>
                </a:cubicBezTo>
                <a:cubicBezTo>
                  <a:pt x="378" y="263"/>
                  <a:pt x="381" y="266"/>
                  <a:pt x="385" y="266"/>
                </a:cubicBezTo>
                <a:cubicBezTo>
                  <a:pt x="389" y="266"/>
                  <a:pt x="393" y="263"/>
                  <a:pt x="393" y="259"/>
                </a:cubicBezTo>
                <a:cubicBezTo>
                  <a:pt x="393" y="255"/>
                  <a:pt x="389" y="252"/>
                  <a:pt x="385" y="252"/>
                </a:cubicBezTo>
                <a:close/>
                <a:moveTo>
                  <a:pt x="408" y="252"/>
                </a:moveTo>
                <a:cubicBezTo>
                  <a:pt x="404" y="252"/>
                  <a:pt x="401" y="255"/>
                  <a:pt x="401" y="258"/>
                </a:cubicBezTo>
                <a:cubicBezTo>
                  <a:pt x="401" y="262"/>
                  <a:pt x="404" y="265"/>
                  <a:pt x="408" y="265"/>
                </a:cubicBezTo>
                <a:cubicBezTo>
                  <a:pt x="413" y="265"/>
                  <a:pt x="416" y="262"/>
                  <a:pt x="416" y="258"/>
                </a:cubicBezTo>
                <a:cubicBezTo>
                  <a:pt x="416" y="255"/>
                  <a:pt x="413" y="252"/>
                  <a:pt x="408" y="252"/>
                </a:cubicBezTo>
                <a:close/>
                <a:moveTo>
                  <a:pt x="385" y="272"/>
                </a:moveTo>
                <a:cubicBezTo>
                  <a:pt x="381" y="272"/>
                  <a:pt x="378" y="275"/>
                  <a:pt x="378" y="279"/>
                </a:cubicBezTo>
                <a:cubicBezTo>
                  <a:pt x="378" y="282"/>
                  <a:pt x="381" y="285"/>
                  <a:pt x="385" y="285"/>
                </a:cubicBezTo>
                <a:cubicBezTo>
                  <a:pt x="389" y="285"/>
                  <a:pt x="393" y="282"/>
                  <a:pt x="393" y="279"/>
                </a:cubicBezTo>
                <a:cubicBezTo>
                  <a:pt x="393" y="275"/>
                  <a:pt x="389" y="272"/>
                  <a:pt x="385" y="272"/>
                </a:cubicBezTo>
                <a:close/>
                <a:moveTo>
                  <a:pt x="408" y="271"/>
                </a:moveTo>
                <a:cubicBezTo>
                  <a:pt x="404" y="271"/>
                  <a:pt x="401" y="274"/>
                  <a:pt x="401" y="278"/>
                </a:cubicBezTo>
                <a:cubicBezTo>
                  <a:pt x="401" y="282"/>
                  <a:pt x="404" y="285"/>
                  <a:pt x="408" y="285"/>
                </a:cubicBezTo>
                <a:cubicBezTo>
                  <a:pt x="413" y="285"/>
                  <a:pt x="416" y="282"/>
                  <a:pt x="416" y="278"/>
                </a:cubicBezTo>
                <a:cubicBezTo>
                  <a:pt x="416" y="274"/>
                  <a:pt x="413" y="271"/>
                  <a:pt x="408" y="271"/>
                </a:cubicBezTo>
                <a:close/>
                <a:moveTo>
                  <a:pt x="430" y="136"/>
                </a:moveTo>
                <a:cubicBezTo>
                  <a:pt x="426" y="136"/>
                  <a:pt x="423" y="139"/>
                  <a:pt x="423" y="143"/>
                </a:cubicBezTo>
                <a:cubicBezTo>
                  <a:pt x="423" y="146"/>
                  <a:pt x="426" y="149"/>
                  <a:pt x="430" y="149"/>
                </a:cubicBezTo>
                <a:cubicBezTo>
                  <a:pt x="434" y="149"/>
                  <a:pt x="438" y="146"/>
                  <a:pt x="438" y="143"/>
                </a:cubicBezTo>
                <a:cubicBezTo>
                  <a:pt x="438" y="139"/>
                  <a:pt x="434" y="136"/>
                  <a:pt x="430" y="136"/>
                </a:cubicBezTo>
                <a:close/>
                <a:moveTo>
                  <a:pt x="430" y="155"/>
                </a:moveTo>
                <a:cubicBezTo>
                  <a:pt x="426" y="155"/>
                  <a:pt x="423" y="158"/>
                  <a:pt x="423" y="162"/>
                </a:cubicBezTo>
                <a:cubicBezTo>
                  <a:pt x="423" y="166"/>
                  <a:pt x="426" y="169"/>
                  <a:pt x="430" y="169"/>
                </a:cubicBezTo>
                <a:cubicBezTo>
                  <a:pt x="434" y="169"/>
                  <a:pt x="438" y="166"/>
                  <a:pt x="438" y="162"/>
                </a:cubicBezTo>
                <a:cubicBezTo>
                  <a:pt x="438" y="158"/>
                  <a:pt x="434" y="155"/>
                  <a:pt x="430" y="155"/>
                </a:cubicBezTo>
                <a:close/>
                <a:moveTo>
                  <a:pt x="452" y="155"/>
                </a:moveTo>
                <a:cubicBezTo>
                  <a:pt x="448" y="155"/>
                  <a:pt x="445" y="158"/>
                  <a:pt x="445" y="162"/>
                </a:cubicBezTo>
                <a:cubicBezTo>
                  <a:pt x="445" y="166"/>
                  <a:pt x="448" y="169"/>
                  <a:pt x="452" y="169"/>
                </a:cubicBezTo>
                <a:cubicBezTo>
                  <a:pt x="457" y="169"/>
                  <a:pt x="460" y="166"/>
                  <a:pt x="460" y="162"/>
                </a:cubicBezTo>
                <a:cubicBezTo>
                  <a:pt x="460" y="158"/>
                  <a:pt x="457" y="155"/>
                  <a:pt x="452" y="155"/>
                </a:cubicBezTo>
                <a:close/>
                <a:moveTo>
                  <a:pt x="430" y="175"/>
                </a:moveTo>
                <a:cubicBezTo>
                  <a:pt x="426" y="175"/>
                  <a:pt x="423" y="178"/>
                  <a:pt x="423" y="182"/>
                </a:cubicBezTo>
                <a:cubicBezTo>
                  <a:pt x="423" y="185"/>
                  <a:pt x="426" y="188"/>
                  <a:pt x="430" y="188"/>
                </a:cubicBezTo>
                <a:cubicBezTo>
                  <a:pt x="434" y="188"/>
                  <a:pt x="438" y="185"/>
                  <a:pt x="438" y="182"/>
                </a:cubicBezTo>
                <a:cubicBezTo>
                  <a:pt x="438" y="178"/>
                  <a:pt x="434" y="175"/>
                  <a:pt x="430" y="175"/>
                </a:cubicBezTo>
                <a:close/>
                <a:moveTo>
                  <a:pt x="452" y="175"/>
                </a:moveTo>
                <a:cubicBezTo>
                  <a:pt x="448" y="175"/>
                  <a:pt x="445" y="178"/>
                  <a:pt x="445" y="182"/>
                </a:cubicBezTo>
                <a:cubicBezTo>
                  <a:pt x="445" y="185"/>
                  <a:pt x="448" y="188"/>
                  <a:pt x="452" y="188"/>
                </a:cubicBezTo>
                <a:cubicBezTo>
                  <a:pt x="457" y="188"/>
                  <a:pt x="460" y="185"/>
                  <a:pt x="460" y="182"/>
                </a:cubicBezTo>
                <a:cubicBezTo>
                  <a:pt x="460" y="178"/>
                  <a:pt x="457" y="175"/>
                  <a:pt x="452" y="175"/>
                </a:cubicBezTo>
                <a:close/>
                <a:moveTo>
                  <a:pt x="430" y="194"/>
                </a:moveTo>
                <a:cubicBezTo>
                  <a:pt x="426" y="194"/>
                  <a:pt x="423" y="197"/>
                  <a:pt x="423" y="201"/>
                </a:cubicBezTo>
                <a:cubicBezTo>
                  <a:pt x="423" y="205"/>
                  <a:pt x="426" y="208"/>
                  <a:pt x="430" y="208"/>
                </a:cubicBezTo>
                <a:cubicBezTo>
                  <a:pt x="434" y="208"/>
                  <a:pt x="438" y="205"/>
                  <a:pt x="438" y="201"/>
                </a:cubicBezTo>
                <a:cubicBezTo>
                  <a:pt x="438" y="197"/>
                  <a:pt x="434" y="194"/>
                  <a:pt x="430" y="194"/>
                </a:cubicBezTo>
                <a:close/>
                <a:moveTo>
                  <a:pt x="452" y="194"/>
                </a:moveTo>
                <a:cubicBezTo>
                  <a:pt x="448" y="194"/>
                  <a:pt x="445" y="197"/>
                  <a:pt x="445" y="201"/>
                </a:cubicBezTo>
                <a:cubicBezTo>
                  <a:pt x="445" y="205"/>
                  <a:pt x="448" y="208"/>
                  <a:pt x="452" y="208"/>
                </a:cubicBezTo>
                <a:cubicBezTo>
                  <a:pt x="457" y="208"/>
                  <a:pt x="460" y="205"/>
                  <a:pt x="460" y="201"/>
                </a:cubicBezTo>
                <a:cubicBezTo>
                  <a:pt x="460" y="197"/>
                  <a:pt x="457" y="194"/>
                  <a:pt x="452" y="194"/>
                </a:cubicBezTo>
                <a:close/>
                <a:moveTo>
                  <a:pt x="430" y="214"/>
                </a:moveTo>
                <a:cubicBezTo>
                  <a:pt x="426" y="214"/>
                  <a:pt x="423" y="217"/>
                  <a:pt x="423" y="220"/>
                </a:cubicBezTo>
                <a:cubicBezTo>
                  <a:pt x="423" y="224"/>
                  <a:pt x="426" y="227"/>
                  <a:pt x="430" y="227"/>
                </a:cubicBezTo>
                <a:cubicBezTo>
                  <a:pt x="434" y="227"/>
                  <a:pt x="438" y="224"/>
                  <a:pt x="438" y="220"/>
                </a:cubicBezTo>
                <a:cubicBezTo>
                  <a:pt x="438" y="217"/>
                  <a:pt x="434" y="214"/>
                  <a:pt x="430" y="214"/>
                </a:cubicBezTo>
                <a:close/>
                <a:moveTo>
                  <a:pt x="452" y="214"/>
                </a:moveTo>
                <a:cubicBezTo>
                  <a:pt x="448" y="214"/>
                  <a:pt x="445" y="217"/>
                  <a:pt x="445" y="220"/>
                </a:cubicBezTo>
                <a:cubicBezTo>
                  <a:pt x="445" y="224"/>
                  <a:pt x="448" y="227"/>
                  <a:pt x="452" y="227"/>
                </a:cubicBezTo>
                <a:cubicBezTo>
                  <a:pt x="457" y="227"/>
                  <a:pt x="460" y="224"/>
                  <a:pt x="460" y="220"/>
                </a:cubicBezTo>
                <a:cubicBezTo>
                  <a:pt x="460" y="217"/>
                  <a:pt x="457" y="214"/>
                  <a:pt x="452" y="214"/>
                </a:cubicBezTo>
                <a:close/>
                <a:moveTo>
                  <a:pt x="430" y="233"/>
                </a:moveTo>
                <a:cubicBezTo>
                  <a:pt x="426" y="233"/>
                  <a:pt x="423" y="236"/>
                  <a:pt x="423" y="239"/>
                </a:cubicBezTo>
                <a:cubicBezTo>
                  <a:pt x="423" y="243"/>
                  <a:pt x="426" y="245"/>
                  <a:pt x="430" y="245"/>
                </a:cubicBezTo>
                <a:cubicBezTo>
                  <a:pt x="434" y="245"/>
                  <a:pt x="438" y="243"/>
                  <a:pt x="438" y="239"/>
                </a:cubicBezTo>
                <a:cubicBezTo>
                  <a:pt x="438" y="236"/>
                  <a:pt x="434" y="233"/>
                  <a:pt x="430" y="233"/>
                </a:cubicBezTo>
                <a:close/>
                <a:moveTo>
                  <a:pt x="452" y="233"/>
                </a:moveTo>
                <a:cubicBezTo>
                  <a:pt x="448" y="233"/>
                  <a:pt x="445" y="236"/>
                  <a:pt x="445" y="239"/>
                </a:cubicBezTo>
                <a:cubicBezTo>
                  <a:pt x="445" y="243"/>
                  <a:pt x="448" y="245"/>
                  <a:pt x="452" y="245"/>
                </a:cubicBezTo>
                <a:cubicBezTo>
                  <a:pt x="457" y="245"/>
                  <a:pt x="460" y="243"/>
                  <a:pt x="460" y="239"/>
                </a:cubicBezTo>
                <a:cubicBezTo>
                  <a:pt x="460" y="236"/>
                  <a:pt x="457" y="233"/>
                  <a:pt x="452" y="233"/>
                </a:cubicBezTo>
                <a:close/>
                <a:moveTo>
                  <a:pt x="430" y="252"/>
                </a:moveTo>
                <a:cubicBezTo>
                  <a:pt x="426" y="252"/>
                  <a:pt x="423" y="255"/>
                  <a:pt x="423" y="258"/>
                </a:cubicBezTo>
                <a:cubicBezTo>
                  <a:pt x="423" y="262"/>
                  <a:pt x="426" y="265"/>
                  <a:pt x="430" y="265"/>
                </a:cubicBezTo>
                <a:cubicBezTo>
                  <a:pt x="434" y="265"/>
                  <a:pt x="438" y="262"/>
                  <a:pt x="438" y="258"/>
                </a:cubicBezTo>
                <a:cubicBezTo>
                  <a:pt x="438" y="255"/>
                  <a:pt x="434" y="252"/>
                  <a:pt x="430" y="252"/>
                </a:cubicBezTo>
                <a:close/>
                <a:moveTo>
                  <a:pt x="452" y="252"/>
                </a:moveTo>
                <a:cubicBezTo>
                  <a:pt x="448" y="252"/>
                  <a:pt x="445" y="255"/>
                  <a:pt x="445" y="258"/>
                </a:cubicBezTo>
                <a:cubicBezTo>
                  <a:pt x="445" y="262"/>
                  <a:pt x="448" y="265"/>
                  <a:pt x="452" y="265"/>
                </a:cubicBezTo>
                <a:cubicBezTo>
                  <a:pt x="457" y="265"/>
                  <a:pt x="460" y="262"/>
                  <a:pt x="460" y="258"/>
                </a:cubicBezTo>
                <a:cubicBezTo>
                  <a:pt x="460" y="255"/>
                  <a:pt x="457" y="252"/>
                  <a:pt x="452" y="252"/>
                </a:cubicBezTo>
                <a:close/>
                <a:moveTo>
                  <a:pt x="430" y="271"/>
                </a:moveTo>
                <a:cubicBezTo>
                  <a:pt x="426" y="271"/>
                  <a:pt x="423" y="274"/>
                  <a:pt x="423" y="278"/>
                </a:cubicBezTo>
                <a:cubicBezTo>
                  <a:pt x="423" y="282"/>
                  <a:pt x="426" y="285"/>
                  <a:pt x="430" y="285"/>
                </a:cubicBezTo>
                <a:cubicBezTo>
                  <a:pt x="434" y="285"/>
                  <a:pt x="438" y="282"/>
                  <a:pt x="438" y="278"/>
                </a:cubicBezTo>
                <a:cubicBezTo>
                  <a:pt x="438" y="274"/>
                  <a:pt x="434" y="271"/>
                  <a:pt x="430" y="271"/>
                </a:cubicBezTo>
                <a:close/>
                <a:moveTo>
                  <a:pt x="452" y="271"/>
                </a:moveTo>
                <a:cubicBezTo>
                  <a:pt x="448" y="271"/>
                  <a:pt x="445" y="274"/>
                  <a:pt x="445" y="278"/>
                </a:cubicBezTo>
                <a:cubicBezTo>
                  <a:pt x="445" y="282"/>
                  <a:pt x="448" y="285"/>
                  <a:pt x="452" y="285"/>
                </a:cubicBezTo>
                <a:cubicBezTo>
                  <a:pt x="457" y="285"/>
                  <a:pt x="460" y="282"/>
                  <a:pt x="460" y="278"/>
                </a:cubicBezTo>
                <a:cubicBezTo>
                  <a:pt x="460" y="274"/>
                  <a:pt x="457" y="271"/>
                  <a:pt x="452" y="271"/>
                </a:cubicBezTo>
                <a:close/>
                <a:moveTo>
                  <a:pt x="474" y="137"/>
                </a:moveTo>
                <a:cubicBezTo>
                  <a:pt x="470" y="137"/>
                  <a:pt x="467" y="141"/>
                  <a:pt x="467" y="144"/>
                </a:cubicBezTo>
                <a:cubicBezTo>
                  <a:pt x="467" y="148"/>
                  <a:pt x="470" y="151"/>
                  <a:pt x="474" y="151"/>
                </a:cubicBezTo>
                <a:cubicBezTo>
                  <a:pt x="478" y="151"/>
                  <a:pt x="482" y="148"/>
                  <a:pt x="482" y="144"/>
                </a:cubicBezTo>
                <a:cubicBezTo>
                  <a:pt x="482" y="141"/>
                  <a:pt x="478" y="137"/>
                  <a:pt x="474" y="137"/>
                </a:cubicBezTo>
                <a:close/>
                <a:moveTo>
                  <a:pt x="497" y="136"/>
                </a:moveTo>
                <a:cubicBezTo>
                  <a:pt x="493" y="136"/>
                  <a:pt x="490" y="139"/>
                  <a:pt x="490" y="143"/>
                </a:cubicBezTo>
                <a:cubicBezTo>
                  <a:pt x="490" y="146"/>
                  <a:pt x="493" y="149"/>
                  <a:pt x="497" y="149"/>
                </a:cubicBezTo>
                <a:cubicBezTo>
                  <a:pt x="501" y="149"/>
                  <a:pt x="505" y="146"/>
                  <a:pt x="505" y="143"/>
                </a:cubicBezTo>
                <a:cubicBezTo>
                  <a:pt x="505" y="139"/>
                  <a:pt x="501" y="136"/>
                  <a:pt x="497" y="136"/>
                </a:cubicBezTo>
                <a:close/>
                <a:moveTo>
                  <a:pt x="474" y="176"/>
                </a:moveTo>
                <a:cubicBezTo>
                  <a:pt x="470" y="176"/>
                  <a:pt x="467" y="179"/>
                  <a:pt x="467" y="183"/>
                </a:cubicBezTo>
                <a:cubicBezTo>
                  <a:pt x="467" y="187"/>
                  <a:pt x="470" y="190"/>
                  <a:pt x="474" y="190"/>
                </a:cubicBezTo>
                <a:cubicBezTo>
                  <a:pt x="478" y="190"/>
                  <a:pt x="482" y="187"/>
                  <a:pt x="482" y="183"/>
                </a:cubicBezTo>
                <a:cubicBezTo>
                  <a:pt x="482" y="179"/>
                  <a:pt x="478" y="176"/>
                  <a:pt x="474" y="176"/>
                </a:cubicBezTo>
                <a:close/>
                <a:moveTo>
                  <a:pt x="497" y="175"/>
                </a:moveTo>
                <a:cubicBezTo>
                  <a:pt x="493" y="175"/>
                  <a:pt x="490" y="178"/>
                  <a:pt x="490" y="182"/>
                </a:cubicBezTo>
                <a:cubicBezTo>
                  <a:pt x="490" y="185"/>
                  <a:pt x="493" y="188"/>
                  <a:pt x="497" y="188"/>
                </a:cubicBezTo>
                <a:cubicBezTo>
                  <a:pt x="501" y="188"/>
                  <a:pt x="505" y="185"/>
                  <a:pt x="505" y="182"/>
                </a:cubicBezTo>
                <a:cubicBezTo>
                  <a:pt x="505" y="178"/>
                  <a:pt x="501" y="175"/>
                  <a:pt x="497" y="175"/>
                </a:cubicBezTo>
                <a:close/>
                <a:moveTo>
                  <a:pt x="474" y="196"/>
                </a:moveTo>
                <a:cubicBezTo>
                  <a:pt x="470" y="196"/>
                  <a:pt x="467" y="199"/>
                  <a:pt x="467" y="202"/>
                </a:cubicBezTo>
                <a:cubicBezTo>
                  <a:pt x="467" y="206"/>
                  <a:pt x="470" y="209"/>
                  <a:pt x="474" y="209"/>
                </a:cubicBezTo>
                <a:cubicBezTo>
                  <a:pt x="478" y="209"/>
                  <a:pt x="482" y="206"/>
                  <a:pt x="482" y="202"/>
                </a:cubicBezTo>
                <a:cubicBezTo>
                  <a:pt x="482" y="199"/>
                  <a:pt x="478" y="196"/>
                  <a:pt x="474" y="196"/>
                </a:cubicBezTo>
                <a:close/>
                <a:moveTo>
                  <a:pt x="497" y="194"/>
                </a:moveTo>
                <a:cubicBezTo>
                  <a:pt x="493" y="194"/>
                  <a:pt x="490" y="197"/>
                  <a:pt x="490" y="201"/>
                </a:cubicBezTo>
                <a:cubicBezTo>
                  <a:pt x="490" y="205"/>
                  <a:pt x="493" y="208"/>
                  <a:pt x="497" y="208"/>
                </a:cubicBezTo>
                <a:cubicBezTo>
                  <a:pt x="501" y="208"/>
                  <a:pt x="505" y="205"/>
                  <a:pt x="505" y="201"/>
                </a:cubicBezTo>
                <a:cubicBezTo>
                  <a:pt x="505" y="197"/>
                  <a:pt x="501" y="194"/>
                  <a:pt x="497" y="194"/>
                </a:cubicBezTo>
                <a:close/>
                <a:moveTo>
                  <a:pt x="474" y="215"/>
                </a:moveTo>
                <a:cubicBezTo>
                  <a:pt x="470" y="215"/>
                  <a:pt x="467" y="218"/>
                  <a:pt x="467" y="222"/>
                </a:cubicBezTo>
                <a:cubicBezTo>
                  <a:pt x="467" y="225"/>
                  <a:pt x="470" y="228"/>
                  <a:pt x="474" y="228"/>
                </a:cubicBezTo>
                <a:cubicBezTo>
                  <a:pt x="478" y="228"/>
                  <a:pt x="482" y="225"/>
                  <a:pt x="482" y="222"/>
                </a:cubicBezTo>
                <a:cubicBezTo>
                  <a:pt x="482" y="218"/>
                  <a:pt x="478" y="215"/>
                  <a:pt x="474" y="215"/>
                </a:cubicBezTo>
                <a:close/>
                <a:moveTo>
                  <a:pt x="497" y="214"/>
                </a:moveTo>
                <a:cubicBezTo>
                  <a:pt x="493" y="214"/>
                  <a:pt x="490" y="217"/>
                  <a:pt x="490" y="220"/>
                </a:cubicBezTo>
                <a:cubicBezTo>
                  <a:pt x="490" y="224"/>
                  <a:pt x="493" y="227"/>
                  <a:pt x="497" y="227"/>
                </a:cubicBezTo>
                <a:cubicBezTo>
                  <a:pt x="501" y="227"/>
                  <a:pt x="505" y="224"/>
                  <a:pt x="505" y="220"/>
                </a:cubicBezTo>
                <a:cubicBezTo>
                  <a:pt x="505" y="217"/>
                  <a:pt x="501" y="214"/>
                  <a:pt x="497" y="214"/>
                </a:cubicBezTo>
                <a:close/>
                <a:moveTo>
                  <a:pt x="474" y="235"/>
                </a:moveTo>
                <a:cubicBezTo>
                  <a:pt x="470" y="235"/>
                  <a:pt x="467" y="238"/>
                  <a:pt x="467" y="241"/>
                </a:cubicBezTo>
                <a:cubicBezTo>
                  <a:pt x="467" y="245"/>
                  <a:pt x="470" y="247"/>
                  <a:pt x="474" y="247"/>
                </a:cubicBezTo>
                <a:cubicBezTo>
                  <a:pt x="478" y="247"/>
                  <a:pt x="482" y="245"/>
                  <a:pt x="482" y="241"/>
                </a:cubicBezTo>
                <a:cubicBezTo>
                  <a:pt x="482" y="238"/>
                  <a:pt x="478" y="235"/>
                  <a:pt x="474" y="235"/>
                </a:cubicBezTo>
                <a:close/>
                <a:moveTo>
                  <a:pt x="497" y="233"/>
                </a:moveTo>
                <a:cubicBezTo>
                  <a:pt x="493" y="233"/>
                  <a:pt x="490" y="236"/>
                  <a:pt x="490" y="239"/>
                </a:cubicBezTo>
                <a:cubicBezTo>
                  <a:pt x="490" y="243"/>
                  <a:pt x="493" y="245"/>
                  <a:pt x="497" y="245"/>
                </a:cubicBezTo>
                <a:cubicBezTo>
                  <a:pt x="501" y="245"/>
                  <a:pt x="505" y="243"/>
                  <a:pt x="505" y="239"/>
                </a:cubicBezTo>
                <a:cubicBezTo>
                  <a:pt x="505" y="236"/>
                  <a:pt x="501" y="233"/>
                  <a:pt x="497" y="233"/>
                </a:cubicBezTo>
                <a:close/>
                <a:moveTo>
                  <a:pt x="474" y="254"/>
                </a:moveTo>
                <a:cubicBezTo>
                  <a:pt x="470" y="254"/>
                  <a:pt x="467" y="257"/>
                  <a:pt x="467" y="260"/>
                </a:cubicBezTo>
                <a:cubicBezTo>
                  <a:pt x="467" y="264"/>
                  <a:pt x="470" y="267"/>
                  <a:pt x="474" y="267"/>
                </a:cubicBezTo>
                <a:cubicBezTo>
                  <a:pt x="478" y="267"/>
                  <a:pt x="482" y="264"/>
                  <a:pt x="482" y="260"/>
                </a:cubicBezTo>
                <a:cubicBezTo>
                  <a:pt x="482" y="257"/>
                  <a:pt x="478" y="254"/>
                  <a:pt x="474" y="254"/>
                </a:cubicBezTo>
                <a:close/>
                <a:moveTo>
                  <a:pt x="497" y="252"/>
                </a:moveTo>
                <a:cubicBezTo>
                  <a:pt x="493" y="252"/>
                  <a:pt x="490" y="255"/>
                  <a:pt x="490" y="258"/>
                </a:cubicBezTo>
                <a:cubicBezTo>
                  <a:pt x="490" y="262"/>
                  <a:pt x="493" y="265"/>
                  <a:pt x="497" y="265"/>
                </a:cubicBezTo>
                <a:cubicBezTo>
                  <a:pt x="501" y="265"/>
                  <a:pt x="505" y="262"/>
                  <a:pt x="505" y="258"/>
                </a:cubicBezTo>
                <a:cubicBezTo>
                  <a:pt x="505" y="255"/>
                  <a:pt x="501" y="252"/>
                  <a:pt x="497" y="252"/>
                </a:cubicBezTo>
                <a:close/>
                <a:moveTo>
                  <a:pt x="474" y="273"/>
                </a:moveTo>
                <a:cubicBezTo>
                  <a:pt x="470" y="273"/>
                  <a:pt x="467" y="276"/>
                  <a:pt x="467" y="280"/>
                </a:cubicBezTo>
                <a:cubicBezTo>
                  <a:pt x="467" y="283"/>
                  <a:pt x="470" y="286"/>
                  <a:pt x="474" y="286"/>
                </a:cubicBezTo>
                <a:cubicBezTo>
                  <a:pt x="478" y="286"/>
                  <a:pt x="482" y="283"/>
                  <a:pt x="482" y="280"/>
                </a:cubicBezTo>
                <a:cubicBezTo>
                  <a:pt x="482" y="276"/>
                  <a:pt x="478" y="273"/>
                  <a:pt x="474" y="273"/>
                </a:cubicBezTo>
                <a:close/>
                <a:moveTo>
                  <a:pt x="497" y="271"/>
                </a:moveTo>
                <a:cubicBezTo>
                  <a:pt x="493" y="271"/>
                  <a:pt x="490" y="274"/>
                  <a:pt x="490" y="278"/>
                </a:cubicBezTo>
                <a:cubicBezTo>
                  <a:pt x="490" y="282"/>
                  <a:pt x="493" y="285"/>
                  <a:pt x="497" y="285"/>
                </a:cubicBezTo>
                <a:cubicBezTo>
                  <a:pt x="501" y="285"/>
                  <a:pt x="505" y="282"/>
                  <a:pt x="505" y="278"/>
                </a:cubicBezTo>
                <a:cubicBezTo>
                  <a:pt x="505" y="274"/>
                  <a:pt x="501" y="271"/>
                  <a:pt x="497" y="271"/>
                </a:cubicBezTo>
                <a:close/>
                <a:moveTo>
                  <a:pt x="7" y="329"/>
                </a:moveTo>
                <a:cubicBezTo>
                  <a:pt x="3" y="329"/>
                  <a:pt x="0" y="333"/>
                  <a:pt x="0" y="336"/>
                </a:cubicBezTo>
                <a:cubicBezTo>
                  <a:pt x="0" y="340"/>
                  <a:pt x="3" y="343"/>
                  <a:pt x="7" y="343"/>
                </a:cubicBezTo>
                <a:cubicBezTo>
                  <a:pt x="12" y="343"/>
                  <a:pt x="15" y="340"/>
                  <a:pt x="15" y="336"/>
                </a:cubicBezTo>
                <a:cubicBezTo>
                  <a:pt x="15" y="333"/>
                  <a:pt x="12" y="329"/>
                  <a:pt x="7" y="329"/>
                </a:cubicBezTo>
                <a:close/>
                <a:moveTo>
                  <a:pt x="52" y="310"/>
                </a:moveTo>
                <a:cubicBezTo>
                  <a:pt x="48" y="310"/>
                  <a:pt x="44" y="313"/>
                  <a:pt x="44" y="317"/>
                </a:cubicBezTo>
                <a:cubicBezTo>
                  <a:pt x="44" y="321"/>
                  <a:pt x="48" y="324"/>
                  <a:pt x="52" y="324"/>
                </a:cubicBezTo>
                <a:cubicBezTo>
                  <a:pt x="56" y="324"/>
                  <a:pt x="60" y="321"/>
                  <a:pt x="60" y="317"/>
                </a:cubicBezTo>
                <a:cubicBezTo>
                  <a:pt x="60" y="313"/>
                  <a:pt x="56" y="310"/>
                  <a:pt x="52" y="310"/>
                </a:cubicBezTo>
                <a:close/>
                <a:moveTo>
                  <a:pt x="29" y="329"/>
                </a:moveTo>
                <a:cubicBezTo>
                  <a:pt x="25" y="329"/>
                  <a:pt x="22" y="333"/>
                  <a:pt x="22" y="336"/>
                </a:cubicBezTo>
                <a:cubicBezTo>
                  <a:pt x="22" y="340"/>
                  <a:pt x="25" y="343"/>
                  <a:pt x="29" y="343"/>
                </a:cubicBezTo>
                <a:cubicBezTo>
                  <a:pt x="34" y="343"/>
                  <a:pt x="37" y="340"/>
                  <a:pt x="37" y="336"/>
                </a:cubicBezTo>
                <a:cubicBezTo>
                  <a:pt x="37" y="333"/>
                  <a:pt x="34" y="329"/>
                  <a:pt x="29" y="329"/>
                </a:cubicBezTo>
                <a:close/>
                <a:moveTo>
                  <a:pt x="74" y="290"/>
                </a:moveTo>
                <a:cubicBezTo>
                  <a:pt x="70" y="290"/>
                  <a:pt x="67" y="293"/>
                  <a:pt x="67" y="296"/>
                </a:cubicBezTo>
                <a:cubicBezTo>
                  <a:pt x="67" y="300"/>
                  <a:pt x="70" y="303"/>
                  <a:pt x="74" y="303"/>
                </a:cubicBezTo>
                <a:cubicBezTo>
                  <a:pt x="78" y="303"/>
                  <a:pt x="82" y="300"/>
                  <a:pt x="82" y="296"/>
                </a:cubicBezTo>
                <a:cubicBezTo>
                  <a:pt x="82" y="293"/>
                  <a:pt x="78" y="290"/>
                  <a:pt x="74" y="290"/>
                </a:cubicBezTo>
                <a:close/>
                <a:moveTo>
                  <a:pt x="96" y="290"/>
                </a:moveTo>
                <a:cubicBezTo>
                  <a:pt x="92" y="290"/>
                  <a:pt x="88" y="293"/>
                  <a:pt x="88" y="296"/>
                </a:cubicBezTo>
                <a:cubicBezTo>
                  <a:pt x="88" y="300"/>
                  <a:pt x="92" y="303"/>
                  <a:pt x="96" y="303"/>
                </a:cubicBezTo>
                <a:cubicBezTo>
                  <a:pt x="100" y="303"/>
                  <a:pt x="104" y="300"/>
                  <a:pt x="104" y="296"/>
                </a:cubicBezTo>
                <a:cubicBezTo>
                  <a:pt x="104" y="293"/>
                  <a:pt x="100" y="290"/>
                  <a:pt x="96" y="290"/>
                </a:cubicBezTo>
                <a:close/>
                <a:moveTo>
                  <a:pt x="118" y="290"/>
                </a:moveTo>
                <a:cubicBezTo>
                  <a:pt x="114" y="290"/>
                  <a:pt x="111" y="293"/>
                  <a:pt x="111" y="296"/>
                </a:cubicBezTo>
                <a:cubicBezTo>
                  <a:pt x="111" y="300"/>
                  <a:pt x="114" y="303"/>
                  <a:pt x="118" y="303"/>
                </a:cubicBezTo>
                <a:cubicBezTo>
                  <a:pt x="122" y="303"/>
                  <a:pt x="126" y="300"/>
                  <a:pt x="126" y="296"/>
                </a:cubicBezTo>
                <a:cubicBezTo>
                  <a:pt x="126" y="293"/>
                  <a:pt x="122" y="290"/>
                  <a:pt x="118" y="290"/>
                </a:cubicBezTo>
                <a:close/>
                <a:moveTo>
                  <a:pt x="231" y="290"/>
                </a:moveTo>
                <a:cubicBezTo>
                  <a:pt x="227" y="290"/>
                  <a:pt x="223" y="293"/>
                  <a:pt x="223" y="296"/>
                </a:cubicBezTo>
                <a:cubicBezTo>
                  <a:pt x="223" y="300"/>
                  <a:pt x="227" y="303"/>
                  <a:pt x="231" y="303"/>
                </a:cubicBezTo>
                <a:cubicBezTo>
                  <a:pt x="235" y="303"/>
                  <a:pt x="238" y="300"/>
                  <a:pt x="238" y="296"/>
                </a:cubicBezTo>
                <a:cubicBezTo>
                  <a:pt x="238" y="293"/>
                  <a:pt x="235" y="290"/>
                  <a:pt x="231" y="290"/>
                </a:cubicBezTo>
                <a:close/>
                <a:moveTo>
                  <a:pt x="253" y="290"/>
                </a:moveTo>
                <a:cubicBezTo>
                  <a:pt x="248" y="290"/>
                  <a:pt x="245" y="293"/>
                  <a:pt x="245" y="296"/>
                </a:cubicBezTo>
                <a:cubicBezTo>
                  <a:pt x="245" y="300"/>
                  <a:pt x="248" y="303"/>
                  <a:pt x="253" y="303"/>
                </a:cubicBezTo>
                <a:cubicBezTo>
                  <a:pt x="257" y="303"/>
                  <a:pt x="260" y="300"/>
                  <a:pt x="260" y="296"/>
                </a:cubicBezTo>
                <a:cubicBezTo>
                  <a:pt x="260" y="293"/>
                  <a:pt x="257" y="290"/>
                  <a:pt x="253" y="290"/>
                </a:cubicBezTo>
                <a:close/>
                <a:moveTo>
                  <a:pt x="275" y="290"/>
                </a:moveTo>
                <a:cubicBezTo>
                  <a:pt x="270" y="290"/>
                  <a:pt x="267" y="293"/>
                  <a:pt x="267" y="296"/>
                </a:cubicBezTo>
                <a:cubicBezTo>
                  <a:pt x="267" y="300"/>
                  <a:pt x="270" y="303"/>
                  <a:pt x="275" y="303"/>
                </a:cubicBezTo>
                <a:cubicBezTo>
                  <a:pt x="279" y="303"/>
                  <a:pt x="282" y="300"/>
                  <a:pt x="282" y="296"/>
                </a:cubicBezTo>
                <a:cubicBezTo>
                  <a:pt x="282" y="293"/>
                  <a:pt x="279" y="290"/>
                  <a:pt x="275" y="290"/>
                </a:cubicBezTo>
                <a:close/>
                <a:moveTo>
                  <a:pt x="275" y="309"/>
                </a:moveTo>
                <a:cubicBezTo>
                  <a:pt x="270" y="309"/>
                  <a:pt x="267" y="312"/>
                  <a:pt x="267" y="316"/>
                </a:cubicBezTo>
                <a:cubicBezTo>
                  <a:pt x="267" y="320"/>
                  <a:pt x="270" y="323"/>
                  <a:pt x="275" y="323"/>
                </a:cubicBezTo>
                <a:cubicBezTo>
                  <a:pt x="279" y="323"/>
                  <a:pt x="282" y="320"/>
                  <a:pt x="282" y="316"/>
                </a:cubicBezTo>
                <a:cubicBezTo>
                  <a:pt x="282" y="312"/>
                  <a:pt x="279" y="309"/>
                  <a:pt x="275" y="309"/>
                </a:cubicBezTo>
                <a:close/>
                <a:moveTo>
                  <a:pt x="275" y="329"/>
                </a:moveTo>
                <a:cubicBezTo>
                  <a:pt x="270" y="329"/>
                  <a:pt x="267" y="332"/>
                  <a:pt x="267" y="335"/>
                </a:cubicBezTo>
                <a:cubicBezTo>
                  <a:pt x="267" y="339"/>
                  <a:pt x="270" y="342"/>
                  <a:pt x="275" y="342"/>
                </a:cubicBezTo>
                <a:cubicBezTo>
                  <a:pt x="279" y="342"/>
                  <a:pt x="282" y="339"/>
                  <a:pt x="282" y="335"/>
                </a:cubicBezTo>
                <a:cubicBezTo>
                  <a:pt x="282" y="332"/>
                  <a:pt x="279" y="329"/>
                  <a:pt x="275" y="329"/>
                </a:cubicBezTo>
                <a:close/>
                <a:moveTo>
                  <a:pt x="297" y="290"/>
                </a:moveTo>
                <a:cubicBezTo>
                  <a:pt x="292" y="290"/>
                  <a:pt x="289" y="293"/>
                  <a:pt x="289" y="296"/>
                </a:cubicBezTo>
                <a:cubicBezTo>
                  <a:pt x="289" y="300"/>
                  <a:pt x="292" y="303"/>
                  <a:pt x="297" y="303"/>
                </a:cubicBezTo>
                <a:cubicBezTo>
                  <a:pt x="301" y="303"/>
                  <a:pt x="304" y="300"/>
                  <a:pt x="304" y="296"/>
                </a:cubicBezTo>
                <a:cubicBezTo>
                  <a:pt x="304" y="293"/>
                  <a:pt x="301" y="290"/>
                  <a:pt x="297" y="290"/>
                </a:cubicBezTo>
                <a:close/>
                <a:moveTo>
                  <a:pt x="320" y="290"/>
                </a:moveTo>
                <a:cubicBezTo>
                  <a:pt x="315" y="290"/>
                  <a:pt x="312" y="293"/>
                  <a:pt x="312" y="296"/>
                </a:cubicBezTo>
                <a:cubicBezTo>
                  <a:pt x="312" y="300"/>
                  <a:pt x="315" y="303"/>
                  <a:pt x="320" y="303"/>
                </a:cubicBezTo>
                <a:cubicBezTo>
                  <a:pt x="324" y="303"/>
                  <a:pt x="327" y="300"/>
                  <a:pt x="327" y="296"/>
                </a:cubicBezTo>
                <a:cubicBezTo>
                  <a:pt x="327" y="293"/>
                  <a:pt x="324" y="290"/>
                  <a:pt x="320" y="290"/>
                </a:cubicBezTo>
                <a:close/>
                <a:moveTo>
                  <a:pt x="297" y="309"/>
                </a:moveTo>
                <a:cubicBezTo>
                  <a:pt x="292" y="309"/>
                  <a:pt x="289" y="312"/>
                  <a:pt x="289" y="316"/>
                </a:cubicBezTo>
                <a:cubicBezTo>
                  <a:pt x="289" y="320"/>
                  <a:pt x="292" y="323"/>
                  <a:pt x="297" y="323"/>
                </a:cubicBezTo>
                <a:cubicBezTo>
                  <a:pt x="301" y="323"/>
                  <a:pt x="304" y="320"/>
                  <a:pt x="304" y="316"/>
                </a:cubicBezTo>
                <a:cubicBezTo>
                  <a:pt x="304" y="312"/>
                  <a:pt x="301" y="309"/>
                  <a:pt x="297" y="309"/>
                </a:cubicBezTo>
                <a:close/>
                <a:moveTo>
                  <a:pt x="320" y="309"/>
                </a:moveTo>
                <a:cubicBezTo>
                  <a:pt x="315" y="309"/>
                  <a:pt x="312" y="312"/>
                  <a:pt x="312" y="316"/>
                </a:cubicBezTo>
                <a:cubicBezTo>
                  <a:pt x="312" y="320"/>
                  <a:pt x="315" y="323"/>
                  <a:pt x="320" y="323"/>
                </a:cubicBezTo>
                <a:cubicBezTo>
                  <a:pt x="324" y="323"/>
                  <a:pt x="327" y="320"/>
                  <a:pt x="327" y="316"/>
                </a:cubicBezTo>
                <a:cubicBezTo>
                  <a:pt x="327" y="312"/>
                  <a:pt x="324" y="309"/>
                  <a:pt x="320" y="309"/>
                </a:cubicBezTo>
                <a:close/>
                <a:moveTo>
                  <a:pt x="297" y="329"/>
                </a:moveTo>
                <a:cubicBezTo>
                  <a:pt x="292" y="329"/>
                  <a:pt x="289" y="332"/>
                  <a:pt x="289" y="335"/>
                </a:cubicBezTo>
                <a:cubicBezTo>
                  <a:pt x="289" y="339"/>
                  <a:pt x="292" y="342"/>
                  <a:pt x="297" y="342"/>
                </a:cubicBezTo>
                <a:cubicBezTo>
                  <a:pt x="301" y="342"/>
                  <a:pt x="304" y="339"/>
                  <a:pt x="304" y="335"/>
                </a:cubicBezTo>
                <a:cubicBezTo>
                  <a:pt x="304" y="332"/>
                  <a:pt x="301" y="329"/>
                  <a:pt x="297" y="329"/>
                </a:cubicBezTo>
                <a:close/>
                <a:moveTo>
                  <a:pt x="320" y="329"/>
                </a:moveTo>
                <a:cubicBezTo>
                  <a:pt x="315" y="329"/>
                  <a:pt x="312" y="332"/>
                  <a:pt x="312" y="335"/>
                </a:cubicBezTo>
                <a:cubicBezTo>
                  <a:pt x="312" y="339"/>
                  <a:pt x="315" y="342"/>
                  <a:pt x="320" y="342"/>
                </a:cubicBezTo>
                <a:cubicBezTo>
                  <a:pt x="324" y="342"/>
                  <a:pt x="327" y="339"/>
                  <a:pt x="327" y="335"/>
                </a:cubicBezTo>
                <a:cubicBezTo>
                  <a:pt x="327" y="332"/>
                  <a:pt x="324" y="329"/>
                  <a:pt x="320" y="329"/>
                </a:cubicBezTo>
                <a:close/>
                <a:moveTo>
                  <a:pt x="297" y="348"/>
                </a:moveTo>
                <a:cubicBezTo>
                  <a:pt x="292" y="348"/>
                  <a:pt x="289" y="351"/>
                  <a:pt x="289" y="355"/>
                </a:cubicBezTo>
                <a:cubicBezTo>
                  <a:pt x="289" y="359"/>
                  <a:pt x="292" y="362"/>
                  <a:pt x="297" y="362"/>
                </a:cubicBezTo>
                <a:cubicBezTo>
                  <a:pt x="301" y="362"/>
                  <a:pt x="304" y="359"/>
                  <a:pt x="304" y="355"/>
                </a:cubicBezTo>
                <a:cubicBezTo>
                  <a:pt x="304" y="351"/>
                  <a:pt x="301" y="348"/>
                  <a:pt x="297" y="348"/>
                </a:cubicBezTo>
                <a:close/>
                <a:moveTo>
                  <a:pt x="320" y="348"/>
                </a:moveTo>
                <a:cubicBezTo>
                  <a:pt x="315" y="348"/>
                  <a:pt x="312" y="351"/>
                  <a:pt x="312" y="355"/>
                </a:cubicBezTo>
                <a:cubicBezTo>
                  <a:pt x="312" y="359"/>
                  <a:pt x="315" y="362"/>
                  <a:pt x="320" y="362"/>
                </a:cubicBezTo>
                <a:cubicBezTo>
                  <a:pt x="324" y="362"/>
                  <a:pt x="327" y="359"/>
                  <a:pt x="327" y="355"/>
                </a:cubicBezTo>
                <a:cubicBezTo>
                  <a:pt x="327" y="351"/>
                  <a:pt x="324" y="348"/>
                  <a:pt x="320" y="348"/>
                </a:cubicBezTo>
                <a:close/>
                <a:moveTo>
                  <a:pt x="320" y="368"/>
                </a:moveTo>
                <a:cubicBezTo>
                  <a:pt x="315" y="368"/>
                  <a:pt x="312" y="371"/>
                  <a:pt x="312" y="374"/>
                </a:cubicBezTo>
                <a:cubicBezTo>
                  <a:pt x="312" y="378"/>
                  <a:pt x="315" y="381"/>
                  <a:pt x="320" y="381"/>
                </a:cubicBezTo>
                <a:cubicBezTo>
                  <a:pt x="324" y="381"/>
                  <a:pt x="327" y="378"/>
                  <a:pt x="327" y="374"/>
                </a:cubicBezTo>
                <a:cubicBezTo>
                  <a:pt x="327" y="371"/>
                  <a:pt x="324" y="368"/>
                  <a:pt x="320" y="368"/>
                </a:cubicBezTo>
                <a:close/>
                <a:moveTo>
                  <a:pt x="320" y="406"/>
                </a:moveTo>
                <a:cubicBezTo>
                  <a:pt x="315" y="406"/>
                  <a:pt x="312" y="409"/>
                  <a:pt x="312" y="413"/>
                </a:cubicBezTo>
                <a:cubicBezTo>
                  <a:pt x="312" y="416"/>
                  <a:pt x="315" y="419"/>
                  <a:pt x="320" y="419"/>
                </a:cubicBezTo>
                <a:cubicBezTo>
                  <a:pt x="324" y="419"/>
                  <a:pt x="327" y="416"/>
                  <a:pt x="327" y="413"/>
                </a:cubicBezTo>
                <a:cubicBezTo>
                  <a:pt x="327" y="409"/>
                  <a:pt x="324" y="406"/>
                  <a:pt x="320" y="406"/>
                </a:cubicBezTo>
                <a:close/>
                <a:moveTo>
                  <a:pt x="320" y="425"/>
                </a:moveTo>
                <a:cubicBezTo>
                  <a:pt x="315" y="425"/>
                  <a:pt x="312" y="428"/>
                  <a:pt x="312" y="432"/>
                </a:cubicBezTo>
                <a:cubicBezTo>
                  <a:pt x="312" y="435"/>
                  <a:pt x="315" y="438"/>
                  <a:pt x="320" y="438"/>
                </a:cubicBezTo>
                <a:cubicBezTo>
                  <a:pt x="324" y="438"/>
                  <a:pt x="327" y="435"/>
                  <a:pt x="327" y="432"/>
                </a:cubicBezTo>
                <a:cubicBezTo>
                  <a:pt x="327" y="428"/>
                  <a:pt x="324" y="425"/>
                  <a:pt x="320" y="425"/>
                </a:cubicBezTo>
                <a:close/>
                <a:moveTo>
                  <a:pt x="320" y="446"/>
                </a:moveTo>
                <a:cubicBezTo>
                  <a:pt x="315" y="446"/>
                  <a:pt x="312" y="448"/>
                  <a:pt x="312" y="452"/>
                </a:cubicBezTo>
                <a:cubicBezTo>
                  <a:pt x="312" y="455"/>
                  <a:pt x="315" y="458"/>
                  <a:pt x="320" y="458"/>
                </a:cubicBezTo>
                <a:cubicBezTo>
                  <a:pt x="324" y="458"/>
                  <a:pt x="327" y="455"/>
                  <a:pt x="327" y="452"/>
                </a:cubicBezTo>
                <a:cubicBezTo>
                  <a:pt x="327" y="448"/>
                  <a:pt x="324" y="446"/>
                  <a:pt x="320" y="446"/>
                </a:cubicBezTo>
                <a:close/>
                <a:moveTo>
                  <a:pt x="320" y="464"/>
                </a:moveTo>
                <a:cubicBezTo>
                  <a:pt x="315" y="464"/>
                  <a:pt x="312" y="467"/>
                  <a:pt x="312" y="471"/>
                </a:cubicBezTo>
                <a:cubicBezTo>
                  <a:pt x="312" y="475"/>
                  <a:pt x="315" y="478"/>
                  <a:pt x="320" y="478"/>
                </a:cubicBezTo>
                <a:cubicBezTo>
                  <a:pt x="324" y="478"/>
                  <a:pt x="327" y="475"/>
                  <a:pt x="327" y="471"/>
                </a:cubicBezTo>
                <a:cubicBezTo>
                  <a:pt x="327" y="467"/>
                  <a:pt x="324" y="464"/>
                  <a:pt x="320" y="464"/>
                </a:cubicBezTo>
                <a:close/>
                <a:moveTo>
                  <a:pt x="341" y="290"/>
                </a:moveTo>
                <a:cubicBezTo>
                  <a:pt x="337" y="290"/>
                  <a:pt x="334" y="293"/>
                  <a:pt x="334" y="296"/>
                </a:cubicBezTo>
                <a:cubicBezTo>
                  <a:pt x="334" y="300"/>
                  <a:pt x="337" y="303"/>
                  <a:pt x="341" y="303"/>
                </a:cubicBezTo>
                <a:cubicBezTo>
                  <a:pt x="346" y="303"/>
                  <a:pt x="349" y="300"/>
                  <a:pt x="349" y="296"/>
                </a:cubicBezTo>
                <a:cubicBezTo>
                  <a:pt x="349" y="293"/>
                  <a:pt x="346" y="290"/>
                  <a:pt x="341" y="290"/>
                </a:cubicBezTo>
                <a:close/>
                <a:moveTo>
                  <a:pt x="364" y="290"/>
                </a:moveTo>
                <a:cubicBezTo>
                  <a:pt x="359" y="290"/>
                  <a:pt x="356" y="293"/>
                  <a:pt x="356" y="296"/>
                </a:cubicBezTo>
                <a:cubicBezTo>
                  <a:pt x="356" y="300"/>
                  <a:pt x="359" y="303"/>
                  <a:pt x="364" y="303"/>
                </a:cubicBezTo>
                <a:cubicBezTo>
                  <a:pt x="368" y="303"/>
                  <a:pt x="371" y="300"/>
                  <a:pt x="371" y="296"/>
                </a:cubicBezTo>
                <a:cubicBezTo>
                  <a:pt x="371" y="293"/>
                  <a:pt x="368" y="290"/>
                  <a:pt x="364" y="290"/>
                </a:cubicBezTo>
                <a:close/>
                <a:moveTo>
                  <a:pt x="341" y="309"/>
                </a:moveTo>
                <a:cubicBezTo>
                  <a:pt x="337" y="309"/>
                  <a:pt x="334" y="312"/>
                  <a:pt x="334" y="316"/>
                </a:cubicBezTo>
                <a:cubicBezTo>
                  <a:pt x="334" y="320"/>
                  <a:pt x="337" y="323"/>
                  <a:pt x="341" y="323"/>
                </a:cubicBezTo>
                <a:cubicBezTo>
                  <a:pt x="346" y="323"/>
                  <a:pt x="349" y="320"/>
                  <a:pt x="349" y="316"/>
                </a:cubicBezTo>
                <a:cubicBezTo>
                  <a:pt x="349" y="312"/>
                  <a:pt x="346" y="309"/>
                  <a:pt x="341" y="309"/>
                </a:cubicBezTo>
                <a:close/>
                <a:moveTo>
                  <a:pt x="364" y="309"/>
                </a:moveTo>
                <a:cubicBezTo>
                  <a:pt x="359" y="309"/>
                  <a:pt x="356" y="312"/>
                  <a:pt x="356" y="316"/>
                </a:cubicBezTo>
                <a:cubicBezTo>
                  <a:pt x="356" y="320"/>
                  <a:pt x="359" y="323"/>
                  <a:pt x="364" y="323"/>
                </a:cubicBezTo>
                <a:cubicBezTo>
                  <a:pt x="368" y="323"/>
                  <a:pt x="371" y="320"/>
                  <a:pt x="371" y="316"/>
                </a:cubicBezTo>
                <a:cubicBezTo>
                  <a:pt x="371" y="312"/>
                  <a:pt x="368" y="309"/>
                  <a:pt x="364" y="309"/>
                </a:cubicBezTo>
                <a:close/>
                <a:moveTo>
                  <a:pt x="341" y="329"/>
                </a:moveTo>
                <a:cubicBezTo>
                  <a:pt x="337" y="329"/>
                  <a:pt x="334" y="332"/>
                  <a:pt x="334" y="335"/>
                </a:cubicBezTo>
                <a:cubicBezTo>
                  <a:pt x="334" y="339"/>
                  <a:pt x="337" y="342"/>
                  <a:pt x="341" y="342"/>
                </a:cubicBezTo>
                <a:cubicBezTo>
                  <a:pt x="346" y="342"/>
                  <a:pt x="349" y="339"/>
                  <a:pt x="349" y="335"/>
                </a:cubicBezTo>
                <a:cubicBezTo>
                  <a:pt x="349" y="332"/>
                  <a:pt x="346" y="329"/>
                  <a:pt x="341" y="329"/>
                </a:cubicBezTo>
                <a:close/>
                <a:moveTo>
                  <a:pt x="364" y="329"/>
                </a:moveTo>
                <a:cubicBezTo>
                  <a:pt x="359" y="329"/>
                  <a:pt x="356" y="332"/>
                  <a:pt x="356" y="335"/>
                </a:cubicBezTo>
                <a:cubicBezTo>
                  <a:pt x="356" y="339"/>
                  <a:pt x="359" y="342"/>
                  <a:pt x="364" y="342"/>
                </a:cubicBezTo>
                <a:cubicBezTo>
                  <a:pt x="368" y="342"/>
                  <a:pt x="371" y="339"/>
                  <a:pt x="371" y="335"/>
                </a:cubicBezTo>
                <a:cubicBezTo>
                  <a:pt x="371" y="332"/>
                  <a:pt x="368" y="329"/>
                  <a:pt x="364" y="329"/>
                </a:cubicBezTo>
                <a:close/>
                <a:moveTo>
                  <a:pt x="341" y="348"/>
                </a:moveTo>
                <a:cubicBezTo>
                  <a:pt x="337" y="348"/>
                  <a:pt x="334" y="351"/>
                  <a:pt x="334" y="355"/>
                </a:cubicBezTo>
                <a:cubicBezTo>
                  <a:pt x="334" y="359"/>
                  <a:pt x="337" y="362"/>
                  <a:pt x="341" y="362"/>
                </a:cubicBezTo>
                <a:cubicBezTo>
                  <a:pt x="346" y="362"/>
                  <a:pt x="349" y="359"/>
                  <a:pt x="349" y="355"/>
                </a:cubicBezTo>
                <a:cubicBezTo>
                  <a:pt x="349" y="351"/>
                  <a:pt x="346" y="348"/>
                  <a:pt x="341" y="348"/>
                </a:cubicBezTo>
                <a:close/>
                <a:moveTo>
                  <a:pt x="364" y="348"/>
                </a:moveTo>
                <a:cubicBezTo>
                  <a:pt x="359" y="348"/>
                  <a:pt x="356" y="351"/>
                  <a:pt x="356" y="355"/>
                </a:cubicBezTo>
                <a:cubicBezTo>
                  <a:pt x="356" y="359"/>
                  <a:pt x="359" y="362"/>
                  <a:pt x="364" y="362"/>
                </a:cubicBezTo>
                <a:cubicBezTo>
                  <a:pt x="368" y="362"/>
                  <a:pt x="371" y="359"/>
                  <a:pt x="371" y="355"/>
                </a:cubicBezTo>
                <a:cubicBezTo>
                  <a:pt x="371" y="351"/>
                  <a:pt x="368" y="348"/>
                  <a:pt x="364" y="348"/>
                </a:cubicBezTo>
                <a:close/>
                <a:moveTo>
                  <a:pt x="341" y="368"/>
                </a:moveTo>
                <a:cubicBezTo>
                  <a:pt x="337" y="368"/>
                  <a:pt x="334" y="371"/>
                  <a:pt x="334" y="374"/>
                </a:cubicBezTo>
                <a:cubicBezTo>
                  <a:pt x="334" y="378"/>
                  <a:pt x="337" y="381"/>
                  <a:pt x="341" y="381"/>
                </a:cubicBezTo>
                <a:cubicBezTo>
                  <a:pt x="346" y="381"/>
                  <a:pt x="349" y="378"/>
                  <a:pt x="349" y="374"/>
                </a:cubicBezTo>
                <a:cubicBezTo>
                  <a:pt x="349" y="371"/>
                  <a:pt x="346" y="368"/>
                  <a:pt x="341" y="368"/>
                </a:cubicBezTo>
                <a:close/>
                <a:moveTo>
                  <a:pt x="364" y="368"/>
                </a:moveTo>
                <a:cubicBezTo>
                  <a:pt x="359" y="368"/>
                  <a:pt x="356" y="371"/>
                  <a:pt x="356" y="374"/>
                </a:cubicBezTo>
                <a:cubicBezTo>
                  <a:pt x="356" y="378"/>
                  <a:pt x="359" y="381"/>
                  <a:pt x="364" y="381"/>
                </a:cubicBezTo>
                <a:cubicBezTo>
                  <a:pt x="368" y="381"/>
                  <a:pt x="371" y="378"/>
                  <a:pt x="371" y="374"/>
                </a:cubicBezTo>
                <a:cubicBezTo>
                  <a:pt x="371" y="371"/>
                  <a:pt x="368" y="368"/>
                  <a:pt x="364" y="368"/>
                </a:cubicBezTo>
                <a:close/>
                <a:moveTo>
                  <a:pt x="341" y="387"/>
                </a:moveTo>
                <a:cubicBezTo>
                  <a:pt x="337" y="387"/>
                  <a:pt x="334" y="390"/>
                  <a:pt x="334" y="393"/>
                </a:cubicBezTo>
                <a:cubicBezTo>
                  <a:pt x="334" y="397"/>
                  <a:pt x="337" y="400"/>
                  <a:pt x="341" y="400"/>
                </a:cubicBezTo>
                <a:cubicBezTo>
                  <a:pt x="346" y="400"/>
                  <a:pt x="349" y="397"/>
                  <a:pt x="349" y="393"/>
                </a:cubicBezTo>
                <a:cubicBezTo>
                  <a:pt x="349" y="390"/>
                  <a:pt x="346" y="387"/>
                  <a:pt x="341" y="387"/>
                </a:cubicBezTo>
                <a:close/>
                <a:moveTo>
                  <a:pt x="364" y="387"/>
                </a:moveTo>
                <a:cubicBezTo>
                  <a:pt x="359" y="387"/>
                  <a:pt x="356" y="390"/>
                  <a:pt x="356" y="393"/>
                </a:cubicBezTo>
                <a:cubicBezTo>
                  <a:pt x="356" y="397"/>
                  <a:pt x="359" y="400"/>
                  <a:pt x="364" y="400"/>
                </a:cubicBezTo>
                <a:cubicBezTo>
                  <a:pt x="368" y="400"/>
                  <a:pt x="371" y="397"/>
                  <a:pt x="371" y="393"/>
                </a:cubicBezTo>
                <a:cubicBezTo>
                  <a:pt x="371" y="390"/>
                  <a:pt x="368" y="387"/>
                  <a:pt x="364" y="387"/>
                </a:cubicBezTo>
                <a:close/>
                <a:moveTo>
                  <a:pt x="341" y="406"/>
                </a:moveTo>
                <a:cubicBezTo>
                  <a:pt x="337" y="406"/>
                  <a:pt x="334" y="409"/>
                  <a:pt x="334" y="413"/>
                </a:cubicBezTo>
                <a:cubicBezTo>
                  <a:pt x="334" y="416"/>
                  <a:pt x="337" y="419"/>
                  <a:pt x="341" y="419"/>
                </a:cubicBezTo>
                <a:cubicBezTo>
                  <a:pt x="346" y="419"/>
                  <a:pt x="349" y="416"/>
                  <a:pt x="349" y="413"/>
                </a:cubicBezTo>
                <a:cubicBezTo>
                  <a:pt x="349" y="409"/>
                  <a:pt x="346" y="406"/>
                  <a:pt x="341" y="406"/>
                </a:cubicBezTo>
                <a:close/>
                <a:moveTo>
                  <a:pt x="364" y="406"/>
                </a:moveTo>
                <a:cubicBezTo>
                  <a:pt x="359" y="406"/>
                  <a:pt x="356" y="409"/>
                  <a:pt x="356" y="413"/>
                </a:cubicBezTo>
                <a:cubicBezTo>
                  <a:pt x="356" y="416"/>
                  <a:pt x="359" y="419"/>
                  <a:pt x="364" y="419"/>
                </a:cubicBezTo>
                <a:cubicBezTo>
                  <a:pt x="368" y="419"/>
                  <a:pt x="371" y="416"/>
                  <a:pt x="371" y="413"/>
                </a:cubicBezTo>
                <a:cubicBezTo>
                  <a:pt x="371" y="409"/>
                  <a:pt x="368" y="406"/>
                  <a:pt x="364" y="406"/>
                </a:cubicBezTo>
                <a:close/>
                <a:moveTo>
                  <a:pt x="341" y="425"/>
                </a:moveTo>
                <a:cubicBezTo>
                  <a:pt x="337" y="425"/>
                  <a:pt x="334" y="428"/>
                  <a:pt x="334" y="432"/>
                </a:cubicBezTo>
                <a:cubicBezTo>
                  <a:pt x="334" y="435"/>
                  <a:pt x="337" y="438"/>
                  <a:pt x="341" y="438"/>
                </a:cubicBezTo>
                <a:cubicBezTo>
                  <a:pt x="346" y="438"/>
                  <a:pt x="349" y="435"/>
                  <a:pt x="349" y="432"/>
                </a:cubicBezTo>
                <a:cubicBezTo>
                  <a:pt x="349" y="428"/>
                  <a:pt x="346" y="425"/>
                  <a:pt x="341" y="425"/>
                </a:cubicBezTo>
                <a:close/>
                <a:moveTo>
                  <a:pt x="364" y="425"/>
                </a:moveTo>
                <a:cubicBezTo>
                  <a:pt x="359" y="425"/>
                  <a:pt x="356" y="428"/>
                  <a:pt x="356" y="432"/>
                </a:cubicBezTo>
                <a:cubicBezTo>
                  <a:pt x="356" y="435"/>
                  <a:pt x="359" y="438"/>
                  <a:pt x="364" y="438"/>
                </a:cubicBezTo>
                <a:cubicBezTo>
                  <a:pt x="368" y="438"/>
                  <a:pt x="371" y="435"/>
                  <a:pt x="371" y="432"/>
                </a:cubicBezTo>
                <a:cubicBezTo>
                  <a:pt x="371" y="428"/>
                  <a:pt x="368" y="425"/>
                  <a:pt x="364" y="425"/>
                </a:cubicBezTo>
                <a:close/>
                <a:moveTo>
                  <a:pt x="385" y="290"/>
                </a:moveTo>
                <a:cubicBezTo>
                  <a:pt x="381" y="290"/>
                  <a:pt x="378" y="293"/>
                  <a:pt x="378" y="296"/>
                </a:cubicBezTo>
                <a:cubicBezTo>
                  <a:pt x="378" y="300"/>
                  <a:pt x="381" y="303"/>
                  <a:pt x="385" y="303"/>
                </a:cubicBezTo>
                <a:cubicBezTo>
                  <a:pt x="389" y="303"/>
                  <a:pt x="393" y="300"/>
                  <a:pt x="393" y="296"/>
                </a:cubicBezTo>
                <a:cubicBezTo>
                  <a:pt x="393" y="293"/>
                  <a:pt x="389" y="290"/>
                  <a:pt x="385" y="290"/>
                </a:cubicBezTo>
                <a:close/>
                <a:moveTo>
                  <a:pt x="408" y="290"/>
                </a:moveTo>
                <a:cubicBezTo>
                  <a:pt x="404" y="290"/>
                  <a:pt x="401" y="293"/>
                  <a:pt x="401" y="296"/>
                </a:cubicBezTo>
                <a:cubicBezTo>
                  <a:pt x="401" y="300"/>
                  <a:pt x="404" y="303"/>
                  <a:pt x="408" y="303"/>
                </a:cubicBezTo>
                <a:cubicBezTo>
                  <a:pt x="413" y="303"/>
                  <a:pt x="416" y="300"/>
                  <a:pt x="416" y="296"/>
                </a:cubicBezTo>
                <a:cubicBezTo>
                  <a:pt x="416" y="293"/>
                  <a:pt x="413" y="290"/>
                  <a:pt x="408" y="290"/>
                </a:cubicBezTo>
                <a:close/>
                <a:moveTo>
                  <a:pt x="385" y="309"/>
                </a:moveTo>
                <a:cubicBezTo>
                  <a:pt x="381" y="309"/>
                  <a:pt x="378" y="312"/>
                  <a:pt x="378" y="316"/>
                </a:cubicBezTo>
                <a:cubicBezTo>
                  <a:pt x="378" y="320"/>
                  <a:pt x="381" y="323"/>
                  <a:pt x="385" y="323"/>
                </a:cubicBezTo>
                <a:cubicBezTo>
                  <a:pt x="389" y="323"/>
                  <a:pt x="393" y="320"/>
                  <a:pt x="393" y="316"/>
                </a:cubicBezTo>
                <a:cubicBezTo>
                  <a:pt x="393" y="312"/>
                  <a:pt x="389" y="309"/>
                  <a:pt x="385" y="309"/>
                </a:cubicBezTo>
                <a:close/>
                <a:moveTo>
                  <a:pt x="408" y="309"/>
                </a:moveTo>
                <a:cubicBezTo>
                  <a:pt x="404" y="309"/>
                  <a:pt x="401" y="312"/>
                  <a:pt x="401" y="316"/>
                </a:cubicBezTo>
                <a:cubicBezTo>
                  <a:pt x="401" y="320"/>
                  <a:pt x="404" y="323"/>
                  <a:pt x="408" y="323"/>
                </a:cubicBezTo>
                <a:cubicBezTo>
                  <a:pt x="413" y="323"/>
                  <a:pt x="416" y="320"/>
                  <a:pt x="416" y="316"/>
                </a:cubicBezTo>
                <a:cubicBezTo>
                  <a:pt x="416" y="312"/>
                  <a:pt x="413" y="309"/>
                  <a:pt x="408" y="309"/>
                </a:cubicBezTo>
                <a:close/>
                <a:moveTo>
                  <a:pt x="385" y="329"/>
                </a:moveTo>
                <a:cubicBezTo>
                  <a:pt x="381" y="329"/>
                  <a:pt x="378" y="332"/>
                  <a:pt x="378" y="335"/>
                </a:cubicBezTo>
                <a:cubicBezTo>
                  <a:pt x="378" y="339"/>
                  <a:pt x="381" y="342"/>
                  <a:pt x="385" y="342"/>
                </a:cubicBezTo>
                <a:cubicBezTo>
                  <a:pt x="389" y="342"/>
                  <a:pt x="393" y="339"/>
                  <a:pt x="393" y="335"/>
                </a:cubicBezTo>
                <a:cubicBezTo>
                  <a:pt x="393" y="332"/>
                  <a:pt x="389" y="329"/>
                  <a:pt x="385" y="329"/>
                </a:cubicBezTo>
                <a:close/>
                <a:moveTo>
                  <a:pt x="408" y="329"/>
                </a:moveTo>
                <a:cubicBezTo>
                  <a:pt x="404" y="329"/>
                  <a:pt x="401" y="332"/>
                  <a:pt x="401" y="335"/>
                </a:cubicBezTo>
                <a:cubicBezTo>
                  <a:pt x="401" y="339"/>
                  <a:pt x="404" y="342"/>
                  <a:pt x="408" y="342"/>
                </a:cubicBezTo>
                <a:cubicBezTo>
                  <a:pt x="413" y="342"/>
                  <a:pt x="416" y="339"/>
                  <a:pt x="416" y="335"/>
                </a:cubicBezTo>
                <a:cubicBezTo>
                  <a:pt x="416" y="332"/>
                  <a:pt x="413" y="329"/>
                  <a:pt x="408" y="329"/>
                </a:cubicBezTo>
                <a:close/>
                <a:moveTo>
                  <a:pt x="385" y="348"/>
                </a:moveTo>
                <a:cubicBezTo>
                  <a:pt x="381" y="348"/>
                  <a:pt x="378" y="351"/>
                  <a:pt x="378" y="355"/>
                </a:cubicBezTo>
                <a:cubicBezTo>
                  <a:pt x="378" y="359"/>
                  <a:pt x="381" y="362"/>
                  <a:pt x="385" y="362"/>
                </a:cubicBezTo>
                <a:cubicBezTo>
                  <a:pt x="389" y="362"/>
                  <a:pt x="393" y="359"/>
                  <a:pt x="393" y="355"/>
                </a:cubicBezTo>
                <a:cubicBezTo>
                  <a:pt x="393" y="351"/>
                  <a:pt x="389" y="348"/>
                  <a:pt x="385" y="348"/>
                </a:cubicBezTo>
                <a:close/>
                <a:moveTo>
                  <a:pt x="408" y="348"/>
                </a:moveTo>
                <a:cubicBezTo>
                  <a:pt x="404" y="348"/>
                  <a:pt x="401" y="351"/>
                  <a:pt x="401" y="355"/>
                </a:cubicBezTo>
                <a:cubicBezTo>
                  <a:pt x="401" y="359"/>
                  <a:pt x="404" y="362"/>
                  <a:pt x="408" y="362"/>
                </a:cubicBezTo>
                <a:cubicBezTo>
                  <a:pt x="413" y="362"/>
                  <a:pt x="416" y="359"/>
                  <a:pt x="416" y="355"/>
                </a:cubicBezTo>
                <a:cubicBezTo>
                  <a:pt x="416" y="351"/>
                  <a:pt x="413" y="348"/>
                  <a:pt x="408" y="348"/>
                </a:cubicBezTo>
                <a:close/>
                <a:moveTo>
                  <a:pt x="385" y="368"/>
                </a:moveTo>
                <a:cubicBezTo>
                  <a:pt x="381" y="368"/>
                  <a:pt x="378" y="371"/>
                  <a:pt x="378" y="374"/>
                </a:cubicBezTo>
                <a:cubicBezTo>
                  <a:pt x="378" y="378"/>
                  <a:pt x="381" y="381"/>
                  <a:pt x="385" y="381"/>
                </a:cubicBezTo>
                <a:cubicBezTo>
                  <a:pt x="389" y="381"/>
                  <a:pt x="393" y="378"/>
                  <a:pt x="393" y="374"/>
                </a:cubicBezTo>
                <a:cubicBezTo>
                  <a:pt x="393" y="371"/>
                  <a:pt x="389" y="368"/>
                  <a:pt x="385" y="368"/>
                </a:cubicBezTo>
                <a:close/>
                <a:moveTo>
                  <a:pt x="408" y="368"/>
                </a:moveTo>
                <a:cubicBezTo>
                  <a:pt x="404" y="368"/>
                  <a:pt x="401" y="371"/>
                  <a:pt x="401" y="374"/>
                </a:cubicBezTo>
                <a:cubicBezTo>
                  <a:pt x="401" y="378"/>
                  <a:pt x="404" y="381"/>
                  <a:pt x="408" y="381"/>
                </a:cubicBezTo>
                <a:cubicBezTo>
                  <a:pt x="413" y="381"/>
                  <a:pt x="416" y="378"/>
                  <a:pt x="416" y="374"/>
                </a:cubicBezTo>
                <a:cubicBezTo>
                  <a:pt x="416" y="371"/>
                  <a:pt x="413" y="368"/>
                  <a:pt x="408" y="368"/>
                </a:cubicBezTo>
                <a:close/>
                <a:moveTo>
                  <a:pt x="385" y="387"/>
                </a:moveTo>
                <a:cubicBezTo>
                  <a:pt x="381" y="387"/>
                  <a:pt x="378" y="390"/>
                  <a:pt x="378" y="393"/>
                </a:cubicBezTo>
                <a:cubicBezTo>
                  <a:pt x="378" y="397"/>
                  <a:pt x="381" y="400"/>
                  <a:pt x="385" y="400"/>
                </a:cubicBezTo>
                <a:cubicBezTo>
                  <a:pt x="389" y="400"/>
                  <a:pt x="393" y="397"/>
                  <a:pt x="393" y="393"/>
                </a:cubicBezTo>
                <a:cubicBezTo>
                  <a:pt x="393" y="390"/>
                  <a:pt x="389" y="387"/>
                  <a:pt x="385" y="387"/>
                </a:cubicBezTo>
                <a:close/>
                <a:moveTo>
                  <a:pt x="408" y="387"/>
                </a:moveTo>
                <a:cubicBezTo>
                  <a:pt x="404" y="387"/>
                  <a:pt x="401" y="390"/>
                  <a:pt x="401" y="393"/>
                </a:cubicBezTo>
                <a:cubicBezTo>
                  <a:pt x="401" y="397"/>
                  <a:pt x="404" y="400"/>
                  <a:pt x="408" y="400"/>
                </a:cubicBezTo>
                <a:cubicBezTo>
                  <a:pt x="413" y="400"/>
                  <a:pt x="416" y="397"/>
                  <a:pt x="416" y="393"/>
                </a:cubicBezTo>
                <a:cubicBezTo>
                  <a:pt x="416" y="390"/>
                  <a:pt x="413" y="387"/>
                  <a:pt x="408" y="387"/>
                </a:cubicBezTo>
                <a:close/>
                <a:moveTo>
                  <a:pt x="385" y="406"/>
                </a:moveTo>
                <a:cubicBezTo>
                  <a:pt x="381" y="406"/>
                  <a:pt x="378" y="409"/>
                  <a:pt x="378" y="413"/>
                </a:cubicBezTo>
                <a:cubicBezTo>
                  <a:pt x="378" y="416"/>
                  <a:pt x="381" y="419"/>
                  <a:pt x="385" y="419"/>
                </a:cubicBezTo>
                <a:cubicBezTo>
                  <a:pt x="389" y="419"/>
                  <a:pt x="393" y="416"/>
                  <a:pt x="393" y="413"/>
                </a:cubicBezTo>
                <a:cubicBezTo>
                  <a:pt x="393" y="409"/>
                  <a:pt x="389" y="406"/>
                  <a:pt x="385" y="406"/>
                </a:cubicBezTo>
                <a:close/>
                <a:moveTo>
                  <a:pt x="408" y="406"/>
                </a:moveTo>
                <a:cubicBezTo>
                  <a:pt x="404" y="406"/>
                  <a:pt x="401" y="409"/>
                  <a:pt x="401" y="413"/>
                </a:cubicBezTo>
                <a:cubicBezTo>
                  <a:pt x="401" y="416"/>
                  <a:pt x="404" y="419"/>
                  <a:pt x="408" y="419"/>
                </a:cubicBezTo>
                <a:cubicBezTo>
                  <a:pt x="413" y="419"/>
                  <a:pt x="416" y="416"/>
                  <a:pt x="416" y="413"/>
                </a:cubicBezTo>
                <a:cubicBezTo>
                  <a:pt x="416" y="409"/>
                  <a:pt x="413" y="406"/>
                  <a:pt x="408" y="406"/>
                </a:cubicBezTo>
                <a:close/>
                <a:moveTo>
                  <a:pt x="385" y="425"/>
                </a:moveTo>
                <a:cubicBezTo>
                  <a:pt x="381" y="425"/>
                  <a:pt x="378" y="428"/>
                  <a:pt x="378" y="432"/>
                </a:cubicBezTo>
                <a:cubicBezTo>
                  <a:pt x="378" y="435"/>
                  <a:pt x="381" y="438"/>
                  <a:pt x="385" y="438"/>
                </a:cubicBezTo>
                <a:cubicBezTo>
                  <a:pt x="389" y="438"/>
                  <a:pt x="393" y="435"/>
                  <a:pt x="393" y="432"/>
                </a:cubicBezTo>
                <a:cubicBezTo>
                  <a:pt x="393" y="428"/>
                  <a:pt x="389" y="425"/>
                  <a:pt x="385" y="425"/>
                </a:cubicBezTo>
                <a:close/>
                <a:moveTo>
                  <a:pt x="408" y="425"/>
                </a:moveTo>
                <a:cubicBezTo>
                  <a:pt x="404" y="425"/>
                  <a:pt x="401" y="428"/>
                  <a:pt x="401" y="432"/>
                </a:cubicBezTo>
                <a:cubicBezTo>
                  <a:pt x="401" y="435"/>
                  <a:pt x="404" y="438"/>
                  <a:pt x="408" y="438"/>
                </a:cubicBezTo>
                <a:cubicBezTo>
                  <a:pt x="413" y="438"/>
                  <a:pt x="416" y="435"/>
                  <a:pt x="416" y="432"/>
                </a:cubicBezTo>
                <a:cubicBezTo>
                  <a:pt x="416" y="428"/>
                  <a:pt x="413" y="425"/>
                  <a:pt x="408" y="425"/>
                </a:cubicBezTo>
                <a:close/>
                <a:moveTo>
                  <a:pt x="430" y="290"/>
                </a:moveTo>
                <a:cubicBezTo>
                  <a:pt x="426" y="290"/>
                  <a:pt x="423" y="293"/>
                  <a:pt x="423" y="296"/>
                </a:cubicBezTo>
                <a:cubicBezTo>
                  <a:pt x="423" y="300"/>
                  <a:pt x="426" y="303"/>
                  <a:pt x="430" y="303"/>
                </a:cubicBezTo>
                <a:cubicBezTo>
                  <a:pt x="434" y="303"/>
                  <a:pt x="438" y="300"/>
                  <a:pt x="438" y="296"/>
                </a:cubicBezTo>
                <a:cubicBezTo>
                  <a:pt x="438" y="293"/>
                  <a:pt x="434" y="290"/>
                  <a:pt x="430" y="290"/>
                </a:cubicBezTo>
                <a:close/>
                <a:moveTo>
                  <a:pt x="452" y="290"/>
                </a:moveTo>
                <a:cubicBezTo>
                  <a:pt x="448" y="290"/>
                  <a:pt x="445" y="293"/>
                  <a:pt x="445" y="296"/>
                </a:cubicBezTo>
                <a:cubicBezTo>
                  <a:pt x="445" y="300"/>
                  <a:pt x="448" y="303"/>
                  <a:pt x="452" y="303"/>
                </a:cubicBezTo>
                <a:cubicBezTo>
                  <a:pt x="457" y="303"/>
                  <a:pt x="460" y="300"/>
                  <a:pt x="460" y="296"/>
                </a:cubicBezTo>
                <a:cubicBezTo>
                  <a:pt x="460" y="293"/>
                  <a:pt x="457" y="290"/>
                  <a:pt x="452" y="290"/>
                </a:cubicBezTo>
                <a:close/>
                <a:moveTo>
                  <a:pt x="430" y="309"/>
                </a:moveTo>
                <a:cubicBezTo>
                  <a:pt x="426" y="309"/>
                  <a:pt x="423" y="312"/>
                  <a:pt x="423" y="316"/>
                </a:cubicBezTo>
                <a:cubicBezTo>
                  <a:pt x="423" y="320"/>
                  <a:pt x="426" y="323"/>
                  <a:pt x="430" y="323"/>
                </a:cubicBezTo>
                <a:cubicBezTo>
                  <a:pt x="434" y="323"/>
                  <a:pt x="438" y="320"/>
                  <a:pt x="438" y="316"/>
                </a:cubicBezTo>
                <a:cubicBezTo>
                  <a:pt x="438" y="312"/>
                  <a:pt x="434" y="309"/>
                  <a:pt x="430" y="309"/>
                </a:cubicBezTo>
                <a:close/>
                <a:moveTo>
                  <a:pt x="452" y="309"/>
                </a:moveTo>
                <a:cubicBezTo>
                  <a:pt x="448" y="309"/>
                  <a:pt x="445" y="312"/>
                  <a:pt x="445" y="316"/>
                </a:cubicBezTo>
                <a:cubicBezTo>
                  <a:pt x="445" y="320"/>
                  <a:pt x="448" y="323"/>
                  <a:pt x="452" y="323"/>
                </a:cubicBezTo>
                <a:cubicBezTo>
                  <a:pt x="457" y="323"/>
                  <a:pt x="460" y="320"/>
                  <a:pt x="460" y="316"/>
                </a:cubicBezTo>
                <a:cubicBezTo>
                  <a:pt x="460" y="312"/>
                  <a:pt x="457" y="309"/>
                  <a:pt x="452" y="309"/>
                </a:cubicBezTo>
                <a:close/>
                <a:moveTo>
                  <a:pt x="430" y="329"/>
                </a:moveTo>
                <a:cubicBezTo>
                  <a:pt x="426" y="329"/>
                  <a:pt x="423" y="332"/>
                  <a:pt x="423" y="335"/>
                </a:cubicBezTo>
                <a:cubicBezTo>
                  <a:pt x="423" y="339"/>
                  <a:pt x="426" y="342"/>
                  <a:pt x="430" y="342"/>
                </a:cubicBezTo>
                <a:cubicBezTo>
                  <a:pt x="434" y="342"/>
                  <a:pt x="438" y="339"/>
                  <a:pt x="438" y="335"/>
                </a:cubicBezTo>
                <a:cubicBezTo>
                  <a:pt x="438" y="332"/>
                  <a:pt x="434" y="329"/>
                  <a:pt x="430" y="329"/>
                </a:cubicBezTo>
                <a:close/>
                <a:moveTo>
                  <a:pt x="452" y="329"/>
                </a:moveTo>
                <a:cubicBezTo>
                  <a:pt x="448" y="329"/>
                  <a:pt x="445" y="332"/>
                  <a:pt x="445" y="335"/>
                </a:cubicBezTo>
                <a:cubicBezTo>
                  <a:pt x="445" y="339"/>
                  <a:pt x="448" y="342"/>
                  <a:pt x="452" y="342"/>
                </a:cubicBezTo>
                <a:cubicBezTo>
                  <a:pt x="457" y="342"/>
                  <a:pt x="460" y="339"/>
                  <a:pt x="460" y="335"/>
                </a:cubicBezTo>
                <a:cubicBezTo>
                  <a:pt x="460" y="332"/>
                  <a:pt x="457" y="329"/>
                  <a:pt x="452" y="329"/>
                </a:cubicBezTo>
                <a:close/>
                <a:moveTo>
                  <a:pt x="430" y="348"/>
                </a:moveTo>
                <a:cubicBezTo>
                  <a:pt x="426" y="348"/>
                  <a:pt x="423" y="351"/>
                  <a:pt x="423" y="355"/>
                </a:cubicBezTo>
                <a:cubicBezTo>
                  <a:pt x="423" y="359"/>
                  <a:pt x="426" y="362"/>
                  <a:pt x="430" y="362"/>
                </a:cubicBezTo>
                <a:cubicBezTo>
                  <a:pt x="434" y="362"/>
                  <a:pt x="438" y="359"/>
                  <a:pt x="438" y="355"/>
                </a:cubicBezTo>
                <a:cubicBezTo>
                  <a:pt x="438" y="351"/>
                  <a:pt x="434" y="348"/>
                  <a:pt x="430" y="348"/>
                </a:cubicBezTo>
                <a:close/>
                <a:moveTo>
                  <a:pt x="452" y="348"/>
                </a:moveTo>
                <a:cubicBezTo>
                  <a:pt x="448" y="348"/>
                  <a:pt x="445" y="351"/>
                  <a:pt x="445" y="355"/>
                </a:cubicBezTo>
                <a:cubicBezTo>
                  <a:pt x="445" y="359"/>
                  <a:pt x="448" y="362"/>
                  <a:pt x="452" y="362"/>
                </a:cubicBezTo>
                <a:cubicBezTo>
                  <a:pt x="457" y="362"/>
                  <a:pt x="460" y="359"/>
                  <a:pt x="460" y="355"/>
                </a:cubicBezTo>
                <a:cubicBezTo>
                  <a:pt x="460" y="351"/>
                  <a:pt x="457" y="348"/>
                  <a:pt x="452" y="348"/>
                </a:cubicBezTo>
                <a:close/>
                <a:moveTo>
                  <a:pt x="430" y="368"/>
                </a:moveTo>
                <a:cubicBezTo>
                  <a:pt x="426" y="368"/>
                  <a:pt x="423" y="371"/>
                  <a:pt x="423" y="374"/>
                </a:cubicBezTo>
                <a:cubicBezTo>
                  <a:pt x="423" y="378"/>
                  <a:pt x="426" y="381"/>
                  <a:pt x="430" y="381"/>
                </a:cubicBezTo>
                <a:cubicBezTo>
                  <a:pt x="434" y="381"/>
                  <a:pt x="438" y="378"/>
                  <a:pt x="438" y="374"/>
                </a:cubicBezTo>
                <a:cubicBezTo>
                  <a:pt x="438" y="371"/>
                  <a:pt x="434" y="368"/>
                  <a:pt x="430" y="368"/>
                </a:cubicBezTo>
                <a:close/>
                <a:moveTo>
                  <a:pt x="452" y="368"/>
                </a:moveTo>
                <a:cubicBezTo>
                  <a:pt x="448" y="368"/>
                  <a:pt x="445" y="371"/>
                  <a:pt x="445" y="374"/>
                </a:cubicBezTo>
                <a:cubicBezTo>
                  <a:pt x="445" y="378"/>
                  <a:pt x="448" y="381"/>
                  <a:pt x="452" y="381"/>
                </a:cubicBezTo>
                <a:cubicBezTo>
                  <a:pt x="457" y="381"/>
                  <a:pt x="460" y="378"/>
                  <a:pt x="460" y="374"/>
                </a:cubicBezTo>
                <a:cubicBezTo>
                  <a:pt x="460" y="371"/>
                  <a:pt x="457" y="368"/>
                  <a:pt x="452" y="368"/>
                </a:cubicBezTo>
                <a:close/>
                <a:moveTo>
                  <a:pt x="430" y="387"/>
                </a:moveTo>
                <a:cubicBezTo>
                  <a:pt x="426" y="387"/>
                  <a:pt x="423" y="390"/>
                  <a:pt x="423" y="393"/>
                </a:cubicBezTo>
                <a:cubicBezTo>
                  <a:pt x="423" y="397"/>
                  <a:pt x="426" y="400"/>
                  <a:pt x="430" y="400"/>
                </a:cubicBezTo>
                <a:cubicBezTo>
                  <a:pt x="434" y="400"/>
                  <a:pt x="438" y="397"/>
                  <a:pt x="438" y="393"/>
                </a:cubicBezTo>
                <a:cubicBezTo>
                  <a:pt x="438" y="390"/>
                  <a:pt x="434" y="387"/>
                  <a:pt x="430" y="387"/>
                </a:cubicBezTo>
                <a:close/>
                <a:moveTo>
                  <a:pt x="452" y="387"/>
                </a:moveTo>
                <a:cubicBezTo>
                  <a:pt x="448" y="387"/>
                  <a:pt x="445" y="390"/>
                  <a:pt x="445" y="393"/>
                </a:cubicBezTo>
                <a:cubicBezTo>
                  <a:pt x="445" y="397"/>
                  <a:pt x="448" y="400"/>
                  <a:pt x="452" y="400"/>
                </a:cubicBezTo>
                <a:cubicBezTo>
                  <a:pt x="457" y="400"/>
                  <a:pt x="460" y="397"/>
                  <a:pt x="460" y="393"/>
                </a:cubicBezTo>
                <a:cubicBezTo>
                  <a:pt x="460" y="390"/>
                  <a:pt x="457" y="387"/>
                  <a:pt x="452" y="387"/>
                </a:cubicBezTo>
                <a:close/>
                <a:moveTo>
                  <a:pt x="430" y="406"/>
                </a:moveTo>
                <a:cubicBezTo>
                  <a:pt x="426" y="406"/>
                  <a:pt x="423" y="409"/>
                  <a:pt x="423" y="413"/>
                </a:cubicBezTo>
                <a:cubicBezTo>
                  <a:pt x="423" y="416"/>
                  <a:pt x="426" y="419"/>
                  <a:pt x="430" y="419"/>
                </a:cubicBezTo>
                <a:cubicBezTo>
                  <a:pt x="434" y="419"/>
                  <a:pt x="438" y="416"/>
                  <a:pt x="438" y="413"/>
                </a:cubicBezTo>
                <a:cubicBezTo>
                  <a:pt x="438" y="409"/>
                  <a:pt x="434" y="406"/>
                  <a:pt x="430" y="406"/>
                </a:cubicBezTo>
                <a:close/>
                <a:moveTo>
                  <a:pt x="452" y="406"/>
                </a:moveTo>
                <a:cubicBezTo>
                  <a:pt x="448" y="406"/>
                  <a:pt x="445" y="409"/>
                  <a:pt x="445" y="413"/>
                </a:cubicBezTo>
                <a:cubicBezTo>
                  <a:pt x="445" y="416"/>
                  <a:pt x="448" y="419"/>
                  <a:pt x="452" y="419"/>
                </a:cubicBezTo>
                <a:cubicBezTo>
                  <a:pt x="457" y="419"/>
                  <a:pt x="460" y="416"/>
                  <a:pt x="460" y="413"/>
                </a:cubicBezTo>
                <a:cubicBezTo>
                  <a:pt x="460" y="409"/>
                  <a:pt x="457" y="406"/>
                  <a:pt x="452" y="406"/>
                </a:cubicBezTo>
                <a:close/>
                <a:moveTo>
                  <a:pt x="430" y="425"/>
                </a:moveTo>
                <a:cubicBezTo>
                  <a:pt x="426" y="425"/>
                  <a:pt x="423" y="428"/>
                  <a:pt x="423" y="432"/>
                </a:cubicBezTo>
                <a:cubicBezTo>
                  <a:pt x="423" y="435"/>
                  <a:pt x="426" y="438"/>
                  <a:pt x="430" y="438"/>
                </a:cubicBezTo>
                <a:cubicBezTo>
                  <a:pt x="434" y="438"/>
                  <a:pt x="438" y="435"/>
                  <a:pt x="438" y="432"/>
                </a:cubicBezTo>
                <a:cubicBezTo>
                  <a:pt x="438" y="428"/>
                  <a:pt x="434" y="425"/>
                  <a:pt x="430" y="425"/>
                </a:cubicBezTo>
                <a:close/>
                <a:moveTo>
                  <a:pt x="452" y="425"/>
                </a:moveTo>
                <a:cubicBezTo>
                  <a:pt x="448" y="425"/>
                  <a:pt x="445" y="428"/>
                  <a:pt x="445" y="432"/>
                </a:cubicBezTo>
                <a:cubicBezTo>
                  <a:pt x="445" y="435"/>
                  <a:pt x="448" y="438"/>
                  <a:pt x="452" y="438"/>
                </a:cubicBezTo>
                <a:cubicBezTo>
                  <a:pt x="457" y="438"/>
                  <a:pt x="460" y="435"/>
                  <a:pt x="460" y="432"/>
                </a:cubicBezTo>
                <a:cubicBezTo>
                  <a:pt x="460" y="428"/>
                  <a:pt x="457" y="425"/>
                  <a:pt x="452" y="425"/>
                </a:cubicBezTo>
                <a:close/>
                <a:moveTo>
                  <a:pt x="474" y="292"/>
                </a:moveTo>
                <a:cubicBezTo>
                  <a:pt x="470" y="292"/>
                  <a:pt x="467" y="295"/>
                  <a:pt x="467" y="298"/>
                </a:cubicBezTo>
                <a:cubicBezTo>
                  <a:pt x="467" y="302"/>
                  <a:pt x="470" y="305"/>
                  <a:pt x="474" y="305"/>
                </a:cubicBezTo>
                <a:cubicBezTo>
                  <a:pt x="478" y="305"/>
                  <a:pt x="482" y="302"/>
                  <a:pt x="482" y="298"/>
                </a:cubicBezTo>
                <a:cubicBezTo>
                  <a:pt x="482" y="295"/>
                  <a:pt x="478" y="292"/>
                  <a:pt x="474" y="292"/>
                </a:cubicBezTo>
                <a:close/>
                <a:moveTo>
                  <a:pt x="497" y="290"/>
                </a:moveTo>
                <a:cubicBezTo>
                  <a:pt x="493" y="290"/>
                  <a:pt x="490" y="293"/>
                  <a:pt x="490" y="296"/>
                </a:cubicBezTo>
                <a:cubicBezTo>
                  <a:pt x="490" y="300"/>
                  <a:pt x="493" y="303"/>
                  <a:pt x="497" y="303"/>
                </a:cubicBezTo>
                <a:cubicBezTo>
                  <a:pt x="501" y="303"/>
                  <a:pt x="505" y="300"/>
                  <a:pt x="505" y="296"/>
                </a:cubicBezTo>
                <a:cubicBezTo>
                  <a:pt x="505" y="293"/>
                  <a:pt x="501" y="290"/>
                  <a:pt x="497" y="290"/>
                </a:cubicBezTo>
                <a:close/>
                <a:moveTo>
                  <a:pt x="474" y="311"/>
                </a:moveTo>
                <a:cubicBezTo>
                  <a:pt x="470" y="311"/>
                  <a:pt x="467" y="314"/>
                  <a:pt x="467" y="317"/>
                </a:cubicBezTo>
                <a:cubicBezTo>
                  <a:pt x="467" y="321"/>
                  <a:pt x="470" y="324"/>
                  <a:pt x="474" y="324"/>
                </a:cubicBezTo>
                <a:cubicBezTo>
                  <a:pt x="478" y="324"/>
                  <a:pt x="482" y="321"/>
                  <a:pt x="482" y="317"/>
                </a:cubicBezTo>
                <a:cubicBezTo>
                  <a:pt x="482" y="314"/>
                  <a:pt x="478" y="311"/>
                  <a:pt x="474" y="311"/>
                </a:cubicBezTo>
                <a:close/>
                <a:moveTo>
                  <a:pt x="497" y="309"/>
                </a:moveTo>
                <a:cubicBezTo>
                  <a:pt x="493" y="309"/>
                  <a:pt x="490" y="312"/>
                  <a:pt x="490" y="316"/>
                </a:cubicBezTo>
                <a:cubicBezTo>
                  <a:pt x="490" y="320"/>
                  <a:pt x="493" y="323"/>
                  <a:pt x="497" y="323"/>
                </a:cubicBezTo>
                <a:cubicBezTo>
                  <a:pt x="501" y="323"/>
                  <a:pt x="505" y="320"/>
                  <a:pt x="505" y="316"/>
                </a:cubicBezTo>
                <a:cubicBezTo>
                  <a:pt x="505" y="312"/>
                  <a:pt x="501" y="309"/>
                  <a:pt x="497" y="309"/>
                </a:cubicBezTo>
                <a:close/>
                <a:moveTo>
                  <a:pt x="474" y="330"/>
                </a:moveTo>
                <a:cubicBezTo>
                  <a:pt x="470" y="330"/>
                  <a:pt x="467" y="333"/>
                  <a:pt x="467" y="337"/>
                </a:cubicBezTo>
                <a:cubicBezTo>
                  <a:pt x="467" y="341"/>
                  <a:pt x="470" y="344"/>
                  <a:pt x="474" y="344"/>
                </a:cubicBezTo>
                <a:cubicBezTo>
                  <a:pt x="478" y="344"/>
                  <a:pt x="482" y="341"/>
                  <a:pt x="482" y="337"/>
                </a:cubicBezTo>
                <a:cubicBezTo>
                  <a:pt x="482" y="333"/>
                  <a:pt x="478" y="330"/>
                  <a:pt x="474" y="330"/>
                </a:cubicBezTo>
                <a:close/>
                <a:moveTo>
                  <a:pt x="497" y="329"/>
                </a:moveTo>
                <a:cubicBezTo>
                  <a:pt x="493" y="329"/>
                  <a:pt x="490" y="332"/>
                  <a:pt x="490" y="335"/>
                </a:cubicBezTo>
                <a:cubicBezTo>
                  <a:pt x="490" y="339"/>
                  <a:pt x="493" y="342"/>
                  <a:pt x="497" y="342"/>
                </a:cubicBezTo>
                <a:cubicBezTo>
                  <a:pt x="501" y="342"/>
                  <a:pt x="505" y="339"/>
                  <a:pt x="505" y="335"/>
                </a:cubicBezTo>
                <a:cubicBezTo>
                  <a:pt x="505" y="332"/>
                  <a:pt x="501" y="329"/>
                  <a:pt x="497" y="329"/>
                </a:cubicBezTo>
                <a:close/>
                <a:moveTo>
                  <a:pt x="474" y="350"/>
                </a:moveTo>
                <a:cubicBezTo>
                  <a:pt x="470" y="350"/>
                  <a:pt x="467" y="352"/>
                  <a:pt x="467" y="356"/>
                </a:cubicBezTo>
                <a:cubicBezTo>
                  <a:pt x="467" y="359"/>
                  <a:pt x="470" y="362"/>
                  <a:pt x="474" y="362"/>
                </a:cubicBezTo>
                <a:cubicBezTo>
                  <a:pt x="478" y="362"/>
                  <a:pt x="482" y="359"/>
                  <a:pt x="482" y="356"/>
                </a:cubicBezTo>
                <a:cubicBezTo>
                  <a:pt x="482" y="352"/>
                  <a:pt x="478" y="350"/>
                  <a:pt x="474" y="350"/>
                </a:cubicBezTo>
                <a:close/>
                <a:moveTo>
                  <a:pt x="497" y="348"/>
                </a:moveTo>
                <a:cubicBezTo>
                  <a:pt x="493" y="348"/>
                  <a:pt x="490" y="351"/>
                  <a:pt x="490" y="355"/>
                </a:cubicBezTo>
                <a:cubicBezTo>
                  <a:pt x="490" y="359"/>
                  <a:pt x="493" y="362"/>
                  <a:pt x="497" y="362"/>
                </a:cubicBezTo>
                <a:cubicBezTo>
                  <a:pt x="501" y="362"/>
                  <a:pt x="505" y="359"/>
                  <a:pt x="505" y="355"/>
                </a:cubicBezTo>
                <a:cubicBezTo>
                  <a:pt x="505" y="351"/>
                  <a:pt x="501" y="348"/>
                  <a:pt x="497" y="348"/>
                </a:cubicBezTo>
                <a:close/>
                <a:moveTo>
                  <a:pt x="474" y="369"/>
                </a:moveTo>
                <a:cubicBezTo>
                  <a:pt x="470" y="369"/>
                  <a:pt x="467" y="372"/>
                  <a:pt x="467" y="376"/>
                </a:cubicBezTo>
                <a:cubicBezTo>
                  <a:pt x="467" y="379"/>
                  <a:pt x="470" y="382"/>
                  <a:pt x="474" y="382"/>
                </a:cubicBezTo>
                <a:cubicBezTo>
                  <a:pt x="478" y="382"/>
                  <a:pt x="482" y="379"/>
                  <a:pt x="482" y="376"/>
                </a:cubicBezTo>
                <a:cubicBezTo>
                  <a:pt x="482" y="372"/>
                  <a:pt x="478" y="369"/>
                  <a:pt x="474" y="369"/>
                </a:cubicBezTo>
                <a:close/>
                <a:moveTo>
                  <a:pt x="497" y="368"/>
                </a:moveTo>
                <a:cubicBezTo>
                  <a:pt x="493" y="368"/>
                  <a:pt x="490" y="371"/>
                  <a:pt x="490" y="374"/>
                </a:cubicBezTo>
                <a:cubicBezTo>
                  <a:pt x="490" y="378"/>
                  <a:pt x="493" y="381"/>
                  <a:pt x="497" y="381"/>
                </a:cubicBezTo>
                <a:cubicBezTo>
                  <a:pt x="501" y="381"/>
                  <a:pt x="505" y="378"/>
                  <a:pt x="505" y="374"/>
                </a:cubicBezTo>
                <a:cubicBezTo>
                  <a:pt x="505" y="371"/>
                  <a:pt x="501" y="368"/>
                  <a:pt x="497" y="368"/>
                </a:cubicBezTo>
                <a:close/>
                <a:moveTo>
                  <a:pt x="474" y="388"/>
                </a:moveTo>
                <a:cubicBezTo>
                  <a:pt x="470" y="388"/>
                  <a:pt x="467" y="391"/>
                  <a:pt x="467" y="395"/>
                </a:cubicBezTo>
                <a:cubicBezTo>
                  <a:pt x="467" y="398"/>
                  <a:pt x="470" y="401"/>
                  <a:pt x="474" y="401"/>
                </a:cubicBezTo>
                <a:cubicBezTo>
                  <a:pt x="478" y="401"/>
                  <a:pt x="482" y="398"/>
                  <a:pt x="482" y="395"/>
                </a:cubicBezTo>
                <a:cubicBezTo>
                  <a:pt x="482" y="391"/>
                  <a:pt x="478" y="388"/>
                  <a:pt x="474" y="388"/>
                </a:cubicBezTo>
                <a:close/>
                <a:moveTo>
                  <a:pt x="497" y="387"/>
                </a:moveTo>
                <a:cubicBezTo>
                  <a:pt x="493" y="387"/>
                  <a:pt x="490" y="390"/>
                  <a:pt x="490" y="393"/>
                </a:cubicBezTo>
                <a:cubicBezTo>
                  <a:pt x="490" y="397"/>
                  <a:pt x="493" y="400"/>
                  <a:pt x="497" y="400"/>
                </a:cubicBezTo>
                <a:cubicBezTo>
                  <a:pt x="501" y="400"/>
                  <a:pt x="505" y="397"/>
                  <a:pt x="505" y="393"/>
                </a:cubicBezTo>
                <a:cubicBezTo>
                  <a:pt x="505" y="390"/>
                  <a:pt x="501" y="387"/>
                  <a:pt x="497" y="387"/>
                </a:cubicBezTo>
                <a:close/>
                <a:moveTo>
                  <a:pt x="474" y="407"/>
                </a:moveTo>
                <a:cubicBezTo>
                  <a:pt x="470" y="407"/>
                  <a:pt x="467" y="410"/>
                  <a:pt x="467" y="414"/>
                </a:cubicBezTo>
                <a:cubicBezTo>
                  <a:pt x="467" y="418"/>
                  <a:pt x="470" y="421"/>
                  <a:pt x="474" y="421"/>
                </a:cubicBezTo>
                <a:cubicBezTo>
                  <a:pt x="478" y="421"/>
                  <a:pt x="482" y="418"/>
                  <a:pt x="482" y="414"/>
                </a:cubicBezTo>
                <a:cubicBezTo>
                  <a:pt x="482" y="410"/>
                  <a:pt x="478" y="407"/>
                  <a:pt x="474" y="407"/>
                </a:cubicBezTo>
                <a:close/>
                <a:moveTo>
                  <a:pt x="497" y="406"/>
                </a:moveTo>
                <a:cubicBezTo>
                  <a:pt x="493" y="406"/>
                  <a:pt x="490" y="409"/>
                  <a:pt x="490" y="413"/>
                </a:cubicBezTo>
                <a:cubicBezTo>
                  <a:pt x="490" y="416"/>
                  <a:pt x="493" y="419"/>
                  <a:pt x="497" y="419"/>
                </a:cubicBezTo>
                <a:cubicBezTo>
                  <a:pt x="501" y="419"/>
                  <a:pt x="505" y="416"/>
                  <a:pt x="505" y="413"/>
                </a:cubicBezTo>
                <a:cubicBezTo>
                  <a:pt x="505" y="409"/>
                  <a:pt x="501" y="406"/>
                  <a:pt x="497" y="406"/>
                </a:cubicBezTo>
                <a:close/>
                <a:moveTo>
                  <a:pt x="474" y="427"/>
                </a:moveTo>
                <a:cubicBezTo>
                  <a:pt x="470" y="427"/>
                  <a:pt x="467" y="430"/>
                  <a:pt x="467" y="434"/>
                </a:cubicBezTo>
                <a:cubicBezTo>
                  <a:pt x="467" y="437"/>
                  <a:pt x="470" y="440"/>
                  <a:pt x="474" y="440"/>
                </a:cubicBezTo>
                <a:cubicBezTo>
                  <a:pt x="478" y="440"/>
                  <a:pt x="482" y="437"/>
                  <a:pt x="482" y="434"/>
                </a:cubicBezTo>
                <a:cubicBezTo>
                  <a:pt x="482" y="430"/>
                  <a:pt x="478" y="427"/>
                  <a:pt x="474" y="427"/>
                </a:cubicBezTo>
                <a:close/>
                <a:moveTo>
                  <a:pt x="497" y="425"/>
                </a:moveTo>
                <a:cubicBezTo>
                  <a:pt x="493" y="425"/>
                  <a:pt x="490" y="428"/>
                  <a:pt x="490" y="432"/>
                </a:cubicBezTo>
                <a:cubicBezTo>
                  <a:pt x="490" y="435"/>
                  <a:pt x="493" y="438"/>
                  <a:pt x="497" y="438"/>
                </a:cubicBezTo>
                <a:cubicBezTo>
                  <a:pt x="501" y="438"/>
                  <a:pt x="505" y="435"/>
                  <a:pt x="505" y="432"/>
                </a:cubicBezTo>
                <a:cubicBezTo>
                  <a:pt x="505" y="428"/>
                  <a:pt x="501" y="425"/>
                  <a:pt x="497" y="425"/>
                </a:cubicBezTo>
                <a:close/>
                <a:moveTo>
                  <a:pt x="341" y="446"/>
                </a:moveTo>
                <a:cubicBezTo>
                  <a:pt x="337" y="446"/>
                  <a:pt x="334" y="448"/>
                  <a:pt x="334" y="452"/>
                </a:cubicBezTo>
                <a:cubicBezTo>
                  <a:pt x="334" y="455"/>
                  <a:pt x="337" y="458"/>
                  <a:pt x="341" y="458"/>
                </a:cubicBezTo>
                <a:cubicBezTo>
                  <a:pt x="346" y="458"/>
                  <a:pt x="349" y="455"/>
                  <a:pt x="349" y="452"/>
                </a:cubicBezTo>
                <a:cubicBezTo>
                  <a:pt x="349" y="448"/>
                  <a:pt x="346" y="446"/>
                  <a:pt x="341" y="446"/>
                </a:cubicBezTo>
                <a:close/>
                <a:moveTo>
                  <a:pt x="364" y="446"/>
                </a:moveTo>
                <a:cubicBezTo>
                  <a:pt x="359" y="446"/>
                  <a:pt x="356" y="448"/>
                  <a:pt x="356" y="452"/>
                </a:cubicBezTo>
                <a:cubicBezTo>
                  <a:pt x="356" y="455"/>
                  <a:pt x="359" y="458"/>
                  <a:pt x="364" y="458"/>
                </a:cubicBezTo>
                <a:cubicBezTo>
                  <a:pt x="368" y="458"/>
                  <a:pt x="371" y="455"/>
                  <a:pt x="371" y="452"/>
                </a:cubicBezTo>
                <a:cubicBezTo>
                  <a:pt x="371" y="448"/>
                  <a:pt x="368" y="446"/>
                  <a:pt x="364" y="446"/>
                </a:cubicBezTo>
                <a:close/>
                <a:moveTo>
                  <a:pt x="341" y="464"/>
                </a:moveTo>
                <a:cubicBezTo>
                  <a:pt x="337" y="464"/>
                  <a:pt x="334" y="467"/>
                  <a:pt x="334" y="471"/>
                </a:cubicBezTo>
                <a:cubicBezTo>
                  <a:pt x="334" y="475"/>
                  <a:pt x="337" y="478"/>
                  <a:pt x="341" y="478"/>
                </a:cubicBezTo>
                <a:cubicBezTo>
                  <a:pt x="346" y="478"/>
                  <a:pt x="349" y="475"/>
                  <a:pt x="349" y="471"/>
                </a:cubicBezTo>
                <a:cubicBezTo>
                  <a:pt x="349" y="467"/>
                  <a:pt x="346" y="464"/>
                  <a:pt x="341" y="464"/>
                </a:cubicBezTo>
                <a:close/>
                <a:moveTo>
                  <a:pt x="364" y="464"/>
                </a:moveTo>
                <a:cubicBezTo>
                  <a:pt x="359" y="464"/>
                  <a:pt x="356" y="467"/>
                  <a:pt x="356" y="471"/>
                </a:cubicBezTo>
                <a:cubicBezTo>
                  <a:pt x="356" y="475"/>
                  <a:pt x="359" y="478"/>
                  <a:pt x="364" y="478"/>
                </a:cubicBezTo>
                <a:cubicBezTo>
                  <a:pt x="368" y="478"/>
                  <a:pt x="371" y="475"/>
                  <a:pt x="371" y="471"/>
                </a:cubicBezTo>
                <a:cubicBezTo>
                  <a:pt x="371" y="467"/>
                  <a:pt x="368" y="464"/>
                  <a:pt x="364" y="464"/>
                </a:cubicBezTo>
                <a:close/>
                <a:moveTo>
                  <a:pt x="341" y="484"/>
                </a:moveTo>
                <a:cubicBezTo>
                  <a:pt x="337" y="484"/>
                  <a:pt x="334" y="487"/>
                  <a:pt x="334" y="490"/>
                </a:cubicBezTo>
                <a:cubicBezTo>
                  <a:pt x="334" y="494"/>
                  <a:pt x="337" y="497"/>
                  <a:pt x="341" y="497"/>
                </a:cubicBezTo>
                <a:cubicBezTo>
                  <a:pt x="346" y="497"/>
                  <a:pt x="349" y="494"/>
                  <a:pt x="349" y="490"/>
                </a:cubicBezTo>
                <a:cubicBezTo>
                  <a:pt x="349" y="487"/>
                  <a:pt x="346" y="484"/>
                  <a:pt x="341" y="484"/>
                </a:cubicBezTo>
                <a:close/>
                <a:moveTo>
                  <a:pt x="364" y="484"/>
                </a:moveTo>
                <a:cubicBezTo>
                  <a:pt x="359" y="484"/>
                  <a:pt x="356" y="487"/>
                  <a:pt x="356" y="490"/>
                </a:cubicBezTo>
                <a:cubicBezTo>
                  <a:pt x="356" y="494"/>
                  <a:pt x="359" y="497"/>
                  <a:pt x="364" y="497"/>
                </a:cubicBezTo>
                <a:cubicBezTo>
                  <a:pt x="368" y="497"/>
                  <a:pt x="371" y="494"/>
                  <a:pt x="371" y="490"/>
                </a:cubicBezTo>
                <a:cubicBezTo>
                  <a:pt x="371" y="487"/>
                  <a:pt x="368" y="484"/>
                  <a:pt x="364" y="484"/>
                </a:cubicBezTo>
                <a:close/>
                <a:moveTo>
                  <a:pt x="364" y="503"/>
                </a:moveTo>
                <a:cubicBezTo>
                  <a:pt x="359" y="503"/>
                  <a:pt x="356" y="506"/>
                  <a:pt x="356" y="509"/>
                </a:cubicBezTo>
                <a:cubicBezTo>
                  <a:pt x="356" y="513"/>
                  <a:pt x="359" y="516"/>
                  <a:pt x="364" y="516"/>
                </a:cubicBezTo>
                <a:cubicBezTo>
                  <a:pt x="368" y="516"/>
                  <a:pt x="371" y="513"/>
                  <a:pt x="371" y="509"/>
                </a:cubicBezTo>
                <a:cubicBezTo>
                  <a:pt x="371" y="506"/>
                  <a:pt x="368" y="503"/>
                  <a:pt x="364" y="503"/>
                </a:cubicBezTo>
                <a:close/>
                <a:moveTo>
                  <a:pt x="364" y="522"/>
                </a:moveTo>
                <a:cubicBezTo>
                  <a:pt x="359" y="522"/>
                  <a:pt x="356" y="525"/>
                  <a:pt x="356" y="529"/>
                </a:cubicBezTo>
                <a:cubicBezTo>
                  <a:pt x="356" y="533"/>
                  <a:pt x="359" y="536"/>
                  <a:pt x="364" y="536"/>
                </a:cubicBezTo>
                <a:cubicBezTo>
                  <a:pt x="368" y="536"/>
                  <a:pt x="371" y="533"/>
                  <a:pt x="371" y="529"/>
                </a:cubicBezTo>
                <a:cubicBezTo>
                  <a:pt x="371" y="525"/>
                  <a:pt x="368" y="522"/>
                  <a:pt x="364" y="522"/>
                </a:cubicBezTo>
                <a:close/>
                <a:moveTo>
                  <a:pt x="385" y="446"/>
                </a:moveTo>
                <a:cubicBezTo>
                  <a:pt x="381" y="446"/>
                  <a:pt x="378" y="448"/>
                  <a:pt x="378" y="452"/>
                </a:cubicBezTo>
                <a:cubicBezTo>
                  <a:pt x="378" y="455"/>
                  <a:pt x="381" y="458"/>
                  <a:pt x="385" y="458"/>
                </a:cubicBezTo>
                <a:cubicBezTo>
                  <a:pt x="389" y="458"/>
                  <a:pt x="393" y="455"/>
                  <a:pt x="393" y="452"/>
                </a:cubicBezTo>
                <a:cubicBezTo>
                  <a:pt x="393" y="448"/>
                  <a:pt x="389" y="446"/>
                  <a:pt x="385" y="446"/>
                </a:cubicBezTo>
                <a:close/>
                <a:moveTo>
                  <a:pt x="408" y="446"/>
                </a:moveTo>
                <a:cubicBezTo>
                  <a:pt x="404" y="446"/>
                  <a:pt x="401" y="448"/>
                  <a:pt x="401" y="452"/>
                </a:cubicBezTo>
                <a:cubicBezTo>
                  <a:pt x="401" y="455"/>
                  <a:pt x="404" y="458"/>
                  <a:pt x="408" y="458"/>
                </a:cubicBezTo>
                <a:cubicBezTo>
                  <a:pt x="413" y="458"/>
                  <a:pt x="416" y="455"/>
                  <a:pt x="416" y="452"/>
                </a:cubicBezTo>
                <a:cubicBezTo>
                  <a:pt x="416" y="448"/>
                  <a:pt x="413" y="446"/>
                  <a:pt x="408" y="446"/>
                </a:cubicBezTo>
                <a:close/>
                <a:moveTo>
                  <a:pt x="385" y="464"/>
                </a:moveTo>
                <a:cubicBezTo>
                  <a:pt x="381" y="464"/>
                  <a:pt x="378" y="467"/>
                  <a:pt x="378" y="471"/>
                </a:cubicBezTo>
                <a:cubicBezTo>
                  <a:pt x="378" y="475"/>
                  <a:pt x="381" y="478"/>
                  <a:pt x="385" y="478"/>
                </a:cubicBezTo>
                <a:cubicBezTo>
                  <a:pt x="389" y="478"/>
                  <a:pt x="393" y="475"/>
                  <a:pt x="393" y="471"/>
                </a:cubicBezTo>
                <a:cubicBezTo>
                  <a:pt x="393" y="467"/>
                  <a:pt x="389" y="464"/>
                  <a:pt x="385" y="464"/>
                </a:cubicBezTo>
                <a:close/>
                <a:moveTo>
                  <a:pt x="408" y="464"/>
                </a:moveTo>
                <a:cubicBezTo>
                  <a:pt x="404" y="464"/>
                  <a:pt x="401" y="467"/>
                  <a:pt x="401" y="471"/>
                </a:cubicBezTo>
                <a:cubicBezTo>
                  <a:pt x="401" y="475"/>
                  <a:pt x="404" y="478"/>
                  <a:pt x="408" y="478"/>
                </a:cubicBezTo>
                <a:cubicBezTo>
                  <a:pt x="413" y="478"/>
                  <a:pt x="416" y="475"/>
                  <a:pt x="416" y="471"/>
                </a:cubicBezTo>
                <a:cubicBezTo>
                  <a:pt x="416" y="467"/>
                  <a:pt x="413" y="464"/>
                  <a:pt x="408" y="464"/>
                </a:cubicBezTo>
                <a:close/>
                <a:moveTo>
                  <a:pt x="385" y="484"/>
                </a:moveTo>
                <a:cubicBezTo>
                  <a:pt x="381" y="484"/>
                  <a:pt x="378" y="487"/>
                  <a:pt x="378" y="490"/>
                </a:cubicBezTo>
                <a:cubicBezTo>
                  <a:pt x="378" y="494"/>
                  <a:pt x="381" y="497"/>
                  <a:pt x="385" y="497"/>
                </a:cubicBezTo>
                <a:cubicBezTo>
                  <a:pt x="389" y="497"/>
                  <a:pt x="393" y="494"/>
                  <a:pt x="393" y="490"/>
                </a:cubicBezTo>
                <a:cubicBezTo>
                  <a:pt x="393" y="487"/>
                  <a:pt x="389" y="484"/>
                  <a:pt x="385" y="484"/>
                </a:cubicBezTo>
                <a:close/>
                <a:moveTo>
                  <a:pt x="408" y="484"/>
                </a:moveTo>
                <a:cubicBezTo>
                  <a:pt x="404" y="484"/>
                  <a:pt x="401" y="487"/>
                  <a:pt x="401" y="490"/>
                </a:cubicBezTo>
                <a:cubicBezTo>
                  <a:pt x="401" y="494"/>
                  <a:pt x="404" y="497"/>
                  <a:pt x="408" y="497"/>
                </a:cubicBezTo>
                <a:cubicBezTo>
                  <a:pt x="413" y="497"/>
                  <a:pt x="416" y="494"/>
                  <a:pt x="416" y="490"/>
                </a:cubicBezTo>
                <a:cubicBezTo>
                  <a:pt x="416" y="487"/>
                  <a:pt x="413" y="484"/>
                  <a:pt x="408" y="484"/>
                </a:cubicBezTo>
                <a:close/>
                <a:moveTo>
                  <a:pt x="385" y="503"/>
                </a:moveTo>
                <a:cubicBezTo>
                  <a:pt x="381" y="503"/>
                  <a:pt x="378" y="506"/>
                  <a:pt x="378" y="509"/>
                </a:cubicBezTo>
                <a:cubicBezTo>
                  <a:pt x="378" y="513"/>
                  <a:pt x="381" y="516"/>
                  <a:pt x="385" y="516"/>
                </a:cubicBezTo>
                <a:cubicBezTo>
                  <a:pt x="389" y="516"/>
                  <a:pt x="393" y="513"/>
                  <a:pt x="393" y="509"/>
                </a:cubicBezTo>
                <a:cubicBezTo>
                  <a:pt x="393" y="506"/>
                  <a:pt x="389" y="503"/>
                  <a:pt x="385" y="503"/>
                </a:cubicBezTo>
                <a:close/>
                <a:moveTo>
                  <a:pt x="408" y="503"/>
                </a:moveTo>
                <a:cubicBezTo>
                  <a:pt x="404" y="503"/>
                  <a:pt x="401" y="506"/>
                  <a:pt x="401" y="509"/>
                </a:cubicBezTo>
                <a:cubicBezTo>
                  <a:pt x="401" y="513"/>
                  <a:pt x="404" y="516"/>
                  <a:pt x="408" y="516"/>
                </a:cubicBezTo>
                <a:cubicBezTo>
                  <a:pt x="413" y="516"/>
                  <a:pt x="416" y="513"/>
                  <a:pt x="416" y="509"/>
                </a:cubicBezTo>
                <a:cubicBezTo>
                  <a:pt x="416" y="506"/>
                  <a:pt x="413" y="503"/>
                  <a:pt x="408" y="503"/>
                </a:cubicBezTo>
                <a:close/>
                <a:moveTo>
                  <a:pt x="408" y="522"/>
                </a:moveTo>
                <a:cubicBezTo>
                  <a:pt x="404" y="522"/>
                  <a:pt x="401" y="525"/>
                  <a:pt x="401" y="529"/>
                </a:cubicBezTo>
                <a:cubicBezTo>
                  <a:pt x="401" y="533"/>
                  <a:pt x="404" y="536"/>
                  <a:pt x="408" y="536"/>
                </a:cubicBezTo>
                <a:cubicBezTo>
                  <a:pt x="413" y="536"/>
                  <a:pt x="416" y="533"/>
                  <a:pt x="416" y="529"/>
                </a:cubicBezTo>
                <a:cubicBezTo>
                  <a:pt x="416" y="525"/>
                  <a:pt x="413" y="522"/>
                  <a:pt x="408" y="522"/>
                </a:cubicBezTo>
                <a:close/>
                <a:moveTo>
                  <a:pt x="408" y="542"/>
                </a:moveTo>
                <a:cubicBezTo>
                  <a:pt x="404" y="542"/>
                  <a:pt x="401" y="545"/>
                  <a:pt x="401" y="549"/>
                </a:cubicBezTo>
                <a:cubicBezTo>
                  <a:pt x="401" y="552"/>
                  <a:pt x="404" y="556"/>
                  <a:pt x="408" y="556"/>
                </a:cubicBezTo>
                <a:cubicBezTo>
                  <a:pt x="413" y="556"/>
                  <a:pt x="416" y="552"/>
                  <a:pt x="416" y="549"/>
                </a:cubicBezTo>
                <a:cubicBezTo>
                  <a:pt x="416" y="545"/>
                  <a:pt x="413" y="542"/>
                  <a:pt x="408" y="542"/>
                </a:cubicBezTo>
                <a:close/>
                <a:moveTo>
                  <a:pt x="430" y="446"/>
                </a:moveTo>
                <a:cubicBezTo>
                  <a:pt x="426" y="446"/>
                  <a:pt x="423" y="448"/>
                  <a:pt x="423" y="452"/>
                </a:cubicBezTo>
                <a:cubicBezTo>
                  <a:pt x="423" y="455"/>
                  <a:pt x="426" y="458"/>
                  <a:pt x="430" y="458"/>
                </a:cubicBezTo>
                <a:cubicBezTo>
                  <a:pt x="434" y="458"/>
                  <a:pt x="438" y="455"/>
                  <a:pt x="438" y="452"/>
                </a:cubicBezTo>
                <a:cubicBezTo>
                  <a:pt x="438" y="448"/>
                  <a:pt x="434" y="446"/>
                  <a:pt x="430" y="446"/>
                </a:cubicBezTo>
                <a:close/>
                <a:moveTo>
                  <a:pt x="452" y="446"/>
                </a:moveTo>
                <a:cubicBezTo>
                  <a:pt x="448" y="446"/>
                  <a:pt x="445" y="448"/>
                  <a:pt x="445" y="452"/>
                </a:cubicBezTo>
                <a:cubicBezTo>
                  <a:pt x="445" y="455"/>
                  <a:pt x="448" y="458"/>
                  <a:pt x="452" y="458"/>
                </a:cubicBezTo>
                <a:cubicBezTo>
                  <a:pt x="457" y="458"/>
                  <a:pt x="460" y="455"/>
                  <a:pt x="460" y="452"/>
                </a:cubicBezTo>
                <a:cubicBezTo>
                  <a:pt x="460" y="448"/>
                  <a:pt x="457" y="446"/>
                  <a:pt x="452" y="446"/>
                </a:cubicBezTo>
                <a:close/>
                <a:moveTo>
                  <a:pt x="430" y="464"/>
                </a:moveTo>
                <a:cubicBezTo>
                  <a:pt x="426" y="464"/>
                  <a:pt x="423" y="467"/>
                  <a:pt x="423" y="471"/>
                </a:cubicBezTo>
                <a:cubicBezTo>
                  <a:pt x="423" y="475"/>
                  <a:pt x="426" y="478"/>
                  <a:pt x="430" y="478"/>
                </a:cubicBezTo>
                <a:cubicBezTo>
                  <a:pt x="434" y="478"/>
                  <a:pt x="438" y="475"/>
                  <a:pt x="438" y="471"/>
                </a:cubicBezTo>
                <a:cubicBezTo>
                  <a:pt x="438" y="467"/>
                  <a:pt x="434" y="464"/>
                  <a:pt x="430" y="464"/>
                </a:cubicBezTo>
                <a:close/>
                <a:moveTo>
                  <a:pt x="452" y="464"/>
                </a:moveTo>
                <a:cubicBezTo>
                  <a:pt x="448" y="464"/>
                  <a:pt x="445" y="467"/>
                  <a:pt x="445" y="471"/>
                </a:cubicBezTo>
                <a:cubicBezTo>
                  <a:pt x="445" y="475"/>
                  <a:pt x="448" y="478"/>
                  <a:pt x="452" y="478"/>
                </a:cubicBezTo>
                <a:cubicBezTo>
                  <a:pt x="457" y="478"/>
                  <a:pt x="460" y="475"/>
                  <a:pt x="460" y="471"/>
                </a:cubicBezTo>
                <a:cubicBezTo>
                  <a:pt x="460" y="467"/>
                  <a:pt x="457" y="464"/>
                  <a:pt x="452" y="464"/>
                </a:cubicBezTo>
                <a:close/>
                <a:moveTo>
                  <a:pt x="430" y="484"/>
                </a:moveTo>
                <a:cubicBezTo>
                  <a:pt x="426" y="484"/>
                  <a:pt x="423" y="487"/>
                  <a:pt x="423" y="490"/>
                </a:cubicBezTo>
                <a:cubicBezTo>
                  <a:pt x="423" y="494"/>
                  <a:pt x="426" y="497"/>
                  <a:pt x="430" y="497"/>
                </a:cubicBezTo>
                <a:cubicBezTo>
                  <a:pt x="434" y="497"/>
                  <a:pt x="438" y="494"/>
                  <a:pt x="438" y="490"/>
                </a:cubicBezTo>
                <a:cubicBezTo>
                  <a:pt x="438" y="487"/>
                  <a:pt x="434" y="484"/>
                  <a:pt x="430" y="484"/>
                </a:cubicBezTo>
                <a:close/>
                <a:moveTo>
                  <a:pt x="452" y="484"/>
                </a:moveTo>
                <a:cubicBezTo>
                  <a:pt x="448" y="484"/>
                  <a:pt x="445" y="487"/>
                  <a:pt x="445" y="490"/>
                </a:cubicBezTo>
                <a:cubicBezTo>
                  <a:pt x="445" y="494"/>
                  <a:pt x="448" y="497"/>
                  <a:pt x="452" y="497"/>
                </a:cubicBezTo>
                <a:cubicBezTo>
                  <a:pt x="457" y="497"/>
                  <a:pt x="460" y="494"/>
                  <a:pt x="460" y="490"/>
                </a:cubicBezTo>
                <a:cubicBezTo>
                  <a:pt x="460" y="487"/>
                  <a:pt x="457" y="484"/>
                  <a:pt x="452" y="484"/>
                </a:cubicBezTo>
                <a:close/>
                <a:moveTo>
                  <a:pt x="430" y="503"/>
                </a:moveTo>
                <a:cubicBezTo>
                  <a:pt x="426" y="503"/>
                  <a:pt x="423" y="506"/>
                  <a:pt x="423" y="509"/>
                </a:cubicBezTo>
                <a:cubicBezTo>
                  <a:pt x="423" y="513"/>
                  <a:pt x="426" y="516"/>
                  <a:pt x="430" y="516"/>
                </a:cubicBezTo>
                <a:cubicBezTo>
                  <a:pt x="434" y="516"/>
                  <a:pt x="438" y="513"/>
                  <a:pt x="438" y="509"/>
                </a:cubicBezTo>
                <a:cubicBezTo>
                  <a:pt x="438" y="506"/>
                  <a:pt x="434" y="503"/>
                  <a:pt x="430" y="503"/>
                </a:cubicBezTo>
                <a:close/>
                <a:moveTo>
                  <a:pt x="452" y="503"/>
                </a:moveTo>
                <a:cubicBezTo>
                  <a:pt x="448" y="503"/>
                  <a:pt x="445" y="506"/>
                  <a:pt x="445" y="509"/>
                </a:cubicBezTo>
                <a:cubicBezTo>
                  <a:pt x="445" y="513"/>
                  <a:pt x="448" y="516"/>
                  <a:pt x="452" y="516"/>
                </a:cubicBezTo>
                <a:cubicBezTo>
                  <a:pt x="457" y="516"/>
                  <a:pt x="460" y="513"/>
                  <a:pt x="460" y="509"/>
                </a:cubicBezTo>
                <a:cubicBezTo>
                  <a:pt x="460" y="506"/>
                  <a:pt x="457" y="503"/>
                  <a:pt x="452" y="503"/>
                </a:cubicBezTo>
                <a:close/>
                <a:moveTo>
                  <a:pt x="430" y="522"/>
                </a:moveTo>
                <a:cubicBezTo>
                  <a:pt x="426" y="522"/>
                  <a:pt x="423" y="525"/>
                  <a:pt x="423" y="529"/>
                </a:cubicBezTo>
                <a:cubicBezTo>
                  <a:pt x="423" y="533"/>
                  <a:pt x="426" y="536"/>
                  <a:pt x="430" y="536"/>
                </a:cubicBezTo>
                <a:cubicBezTo>
                  <a:pt x="434" y="536"/>
                  <a:pt x="438" y="533"/>
                  <a:pt x="438" y="529"/>
                </a:cubicBezTo>
                <a:cubicBezTo>
                  <a:pt x="438" y="525"/>
                  <a:pt x="434" y="522"/>
                  <a:pt x="430" y="522"/>
                </a:cubicBezTo>
                <a:close/>
                <a:moveTo>
                  <a:pt x="452" y="522"/>
                </a:moveTo>
                <a:cubicBezTo>
                  <a:pt x="448" y="522"/>
                  <a:pt x="445" y="525"/>
                  <a:pt x="445" y="529"/>
                </a:cubicBezTo>
                <a:cubicBezTo>
                  <a:pt x="445" y="533"/>
                  <a:pt x="448" y="536"/>
                  <a:pt x="452" y="536"/>
                </a:cubicBezTo>
                <a:cubicBezTo>
                  <a:pt x="457" y="536"/>
                  <a:pt x="460" y="533"/>
                  <a:pt x="460" y="529"/>
                </a:cubicBezTo>
                <a:cubicBezTo>
                  <a:pt x="460" y="525"/>
                  <a:pt x="457" y="522"/>
                  <a:pt x="452" y="522"/>
                </a:cubicBezTo>
                <a:close/>
                <a:moveTo>
                  <a:pt x="430" y="542"/>
                </a:moveTo>
                <a:cubicBezTo>
                  <a:pt x="426" y="542"/>
                  <a:pt x="423" y="545"/>
                  <a:pt x="423" y="549"/>
                </a:cubicBezTo>
                <a:cubicBezTo>
                  <a:pt x="423" y="552"/>
                  <a:pt x="426" y="556"/>
                  <a:pt x="430" y="556"/>
                </a:cubicBezTo>
                <a:cubicBezTo>
                  <a:pt x="434" y="556"/>
                  <a:pt x="438" y="552"/>
                  <a:pt x="438" y="549"/>
                </a:cubicBezTo>
                <a:cubicBezTo>
                  <a:pt x="438" y="545"/>
                  <a:pt x="434" y="542"/>
                  <a:pt x="430" y="542"/>
                </a:cubicBezTo>
                <a:close/>
                <a:moveTo>
                  <a:pt x="452" y="542"/>
                </a:moveTo>
                <a:cubicBezTo>
                  <a:pt x="448" y="542"/>
                  <a:pt x="445" y="545"/>
                  <a:pt x="445" y="549"/>
                </a:cubicBezTo>
                <a:cubicBezTo>
                  <a:pt x="445" y="552"/>
                  <a:pt x="448" y="556"/>
                  <a:pt x="452" y="556"/>
                </a:cubicBezTo>
                <a:cubicBezTo>
                  <a:pt x="457" y="556"/>
                  <a:pt x="460" y="552"/>
                  <a:pt x="460" y="549"/>
                </a:cubicBezTo>
                <a:cubicBezTo>
                  <a:pt x="460" y="545"/>
                  <a:pt x="457" y="542"/>
                  <a:pt x="452" y="542"/>
                </a:cubicBezTo>
                <a:close/>
                <a:moveTo>
                  <a:pt x="430" y="561"/>
                </a:moveTo>
                <a:cubicBezTo>
                  <a:pt x="426" y="561"/>
                  <a:pt x="423" y="564"/>
                  <a:pt x="423" y="567"/>
                </a:cubicBezTo>
                <a:cubicBezTo>
                  <a:pt x="423" y="571"/>
                  <a:pt x="426" y="574"/>
                  <a:pt x="430" y="574"/>
                </a:cubicBezTo>
                <a:cubicBezTo>
                  <a:pt x="434" y="574"/>
                  <a:pt x="438" y="571"/>
                  <a:pt x="438" y="567"/>
                </a:cubicBezTo>
                <a:cubicBezTo>
                  <a:pt x="438" y="564"/>
                  <a:pt x="434" y="561"/>
                  <a:pt x="430" y="561"/>
                </a:cubicBezTo>
                <a:close/>
                <a:moveTo>
                  <a:pt x="452" y="561"/>
                </a:moveTo>
                <a:cubicBezTo>
                  <a:pt x="448" y="561"/>
                  <a:pt x="445" y="564"/>
                  <a:pt x="445" y="567"/>
                </a:cubicBezTo>
                <a:cubicBezTo>
                  <a:pt x="445" y="571"/>
                  <a:pt x="448" y="574"/>
                  <a:pt x="452" y="574"/>
                </a:cubicBezTo>
                <a:cubicBezTo>
                  <a:pt x="457" y="574"/>
                  <a:pt x="460" y="571"/>
                  <a:pt x="460" y="567"/>
                </a:cubicBezTo>
                <a:cubicBezTo>
                  <a:pt x="460" y="564"/>
                  <a:pt x="457" y="561"/>
                  <a:pt x="452" y="561"/>
                </a:cubicBezTo>
                <a:close/>
                <a:moveTo>
                  <a:pt x="430" y="580"/>
                </a:moveTo>
                <a:cubicBezTo>
                  <a:pt x="426" y="580"/>
                  <a:pt x="423" y="583"/>
                  <a:pt x="423" y="587"/>
                </a:cubicBezTo>
                <a:cubicBezTo>
                  <a:pt x="423" y="590"/>
                  <a:pt x="426" y="593"/>
                  <a:pt x="430" y="593"/>
                </a:cubicBezTo>
                <a:cubicBezTo>
                  <a:pt x="434" y="593"/>
                  <a:pt x="438" y="590"/>
                  <a:pt x="438" y="587"/>
                </a:cubicBezTo>
                <a:cubicBezTo>
                  <a:pt x="438" y="583"/>
                  <a:pt x="434" y="580"/>
                  <a:pt x="430" y="580"/>
                </a:cubicBezTo>
                <a:close/>
                <a:moveTo>
                  <a:pt x="452" y="580"/>
                </a:moveTo>
                <a:cubicBezTo>
                  <a:pt x="448" y="580"/>
                  <a:pt x="445" y="583"/>
                  <a:pt x="445" y="587"/>
                </a:cubicBezTo>
                <a:cubicBezTo>
                  <a:pt x="445" y="590"/>
                  <a:pt x="448" y="593"/>
                  <a:pt x="452" y="593"/>
                </a:cubicBezTo>
                <a:cubicBezTo>
                  <a:pt x="457" y="593"/>
                  <a:pt x="460" y="590"/>
                  <a:pt x="460" y="587"/>
                </a:cubicBezTo>
                <a:cubicBezTo>
                  <a:pt x="460" y="583"/>
                  <a:pt x="457" y="580"/>
                  <a:pt x="452" y="580"/>
                </a:cubicBezTo>
                <a:close/>
                <a:moveTo>
                  <a:pt x="474" y="446"/>
                </a:moveTo>
                <a:cubicBezTo>
                  <a:pt x="470" y="446"/>
                  <a:pt x="467" y="448"/>
                  <a:pt x="467" y="452"/>
                </a:cubicBezTo>
                <a:cubicBezTo>
                  <a:pt x="467" y="455"/>
                  <a:pt x="470" y="458"/>
                  <a:pt x="474" y="458"/>
                </a:cubicBezTo>
                <a:cubicBezTo>
                  <a:pt x="478" y="458"/>
                  <a:pt x="482" y="455"/>
                  <a:pt x="482" y="452"/>
                </a:cubicBezTo>
                <a:cubicBezTo>
                  <a:pt x="482" y="448"/>
                  <a:pt x="478" y="446"/>
                  <a:pt x="474" y="446"/>
                </a:cubicBezTo>
                <a:close/>
                <a:moveTo>
                  <a:pt x="497" y="446"/>
                </a:moveTo>
                <a:cubicBezTo>
                  <a:pt x="493" y="446"/>
                  <a:pt x="490" y="448"/>
                  <a:pt x="490" y="452"/>
                </a:cubicBezTo>
                <a:cubicBezTo>
                  <a:pt x="490" y="455"/>
                  <a:pt x="493" y="458"/>
                  <a:pt x="497" y="458"/>
                </a:cubicBezTo>
                <a:cubicBezTo>
                  <a:pt x="501" y="458"/>
                  <a:pt x="505" y="455"/>
                  <a:pt x="505" y="452"/>
                </a:cubicBezTo>
                <a:cubicBezTo>
                  <a:pt x="505" y="448"/>
                  <a:pt x="501" y="446"/>
                  <a:pt x="497" y="446"/>
                </a:cubicBezTo>
                <a:close/>
                <a:moveTo>
                  <a:pt x="474" y="464"/>
                </a:moveTo>
                <a:cubicBezTo>
                  <a:pt x="470" y="464"/>
                  <a:pt x="467" y="467"/>
                  <a:pt x="467" y="471"/>
                </a:cubicBezTo>
                <a:cubicBezTo>
                  <a:pt x="467" y="475"/>
                  <a:pt x="470" y="478"/>
                  <a:pt x="474" y="478"/>
                </a:cubicBezTo>
                <a:cubicBezTo>
                  <a:pt x="478" y="478"/>
                  <a:pt x="482" y="475"/>
                  <a:pt x="482" y="471"/>
                </a:cubicBezTo>
                <a:cubicBezTo>
                  <a:pt x="482" y="467"/>
                  <a:pt x="478" y="464"/>
                  <a:pt x="474" y="464"/>
                </a:cubicBezTo>
                <a:close/>
                <a:moveTo>
                  <a:pt x="497" y="464"/>
                </a:moveTo>
                <a:cubicBezTo>
                  <a:pt x="493" y="464"/>
                  <a:pt x="490" y="467"/>
                  <a:pt x="490" y="471"/>
                </a:cubicBezTo>
                <a:cubicBezTo>
                  <a:pt x="490" y="475"/>
                  <a:pt x="493" y="478"/>
                  <a:pt x="497" y="478"/>
                </a:cubicBezTo>
                <a:cubicBezTo>
                  <a:pt x="501" y="478"/>
                  <a:pt x="505" y="475"/>
                  <a:pt x="505" y="471"/>
                </a:cubicBezTo>
                <a:cubicBezTo>
                  <a:pt x="505" y="467"/>
                  <a:pt x="501" y="464"/>
                  <a:pt x="497" y="464"/>
                </a:cubicBezTo>
                <a:close/>
                <a:moveTo>
                  <a:pt x="474" y="484"/>
                </a:moveTo>
                <a:cubicBezTo>
                  <a:pt x="470" y="484"/>
                  <a:pt x="467" y="487"/>
                  <a:pt x="467" y="490"/>
                </a:cubicBezTo>
                <a:cubicBezTo>
                  <a:pt x="467" y="494"/>
                  <a:pt x="470" y="497"/>
                  <a:pt x="474" y="497"/>
                </a:cubicBezTo>
                <a:cubicBezTo>
                  <a:pt x="478" y="497"/>
                  <a:pt x="482" y="494"/>
                  <a:pt x="482" y="490"/>
                </a:cubicBezTo>
                <a:cubicBezTo>
                  <a:pt x="482" y="487"/>
                  <a:pt x="478" y="484"/>
                  <a:pt x="474" y="484"/>
                </a:cubicBezTo>
                <a:close/>
                <a:moveTo>
                  <a:pt x="497" y="484"/>
                </a:moveTo>
                <a:cubicBezTo>
                  <a:pt x="493" y="484"/>
                  <a:pt x="490" y="487"/>
                  <a:pt x="490" y="490"/>
                </a:cubicBezTo>
                <a:cubicBezTo>
                  <a:pt x="490" y="494"/>
                  <a:pt x="493" y="497"/>
                  <a:pt x="497" y="497"/>
                </a:cubicBezTo>
                <a:cubicBezTo>
                  <a:pt x="501" y="497"/>
                  <a:pt x="505" y="494"/>
                  <a:pt x="505" y="490"/>
                </a:cubicBezTo>
                <a:cubicBezTo>
                  <a:pt x="505" y="487"/>
                  <a:pt x="501" y="484"/>
                  <a:pt x="497" y="484"/>
                </a:cubicBezTo>
                <a:close/>
                <a:moveTo>
                  <a:pt x="474" y="503"/>
                </a:moveTo>
                <a:cubicBezTo>
                  <a:pt x="470" y="503"/>
                  <a:pt x="467" y="506"/>
                  <a:pt x="467" y="509"/>
                </a:cubicBezTo>
                <a:cubicBezTo>
                  <a:pt x="467" y="513"/>
                  <a:pt x="470" y="516"/>
                  <a:pt x="474" y="516"/>
                </a:cubicBezTo>
                <a:cubicBezTo>
                  <a:pt x="478" y="516"/>
                  <a:pt x="482" y="513"/>
                  <a:pt x="482" y="509"/>
                </a:cubicBezTo>
                <a:cubicBezTo>
                  <a:pt x="482" y="506"/>
                  <a:pt x="478" y="503"/>
                  <a:pt x="474" y="503"/>
                </a:cubicBezTo>
                <a:close/>
                <a:moveTo>
                  <a:pt x="497" y="503"/>
                </a:moveTo>
                <a:cubicBezTo>
                  <a:pt x="493" y="503"/>
                  <a:pt x="490" y="506"/>
                  <a:pt x="490" y="509"/>
                </a:cubicBezTo>
                <a:cubicBezTo>
                  <a:pt x="490" y="513"/>
                  <a:pt x="493" y="516"/>
                  <a:pt x="497" y="516"/>
                </a:cubicBezTo>
                <a:cubicBezTo>
                  <a:pt x="501" y="516"/>
                  <a:pt x="505" y="513"/>
                  <a:pt x="505" y="509"/>
                </a:cubicBezTo>
                <a:cubicBezTo>
                  <a:pt x="505" y="506"/>
                  <a:pt x="501" y="503"/>
                  <a:pt x="497" y="503"/>
                </a:cubicBezTo>
                <a:close/>
                <a:moveTo>
                  <a:pt x="474" y="522"/>
                </a:moveTo>
                <a:cubicBezTo>
                  <a:pt x="470" y="522"/>
                  <a:pt x="467" y="525"/>
                  <a:pt x="467" y="529"/>
                </a:cubicBezTo>
                <a:cubicBezTo>
                  <a:pt x="467" y="533"/>
                  <a:pt x="470" y="536"/>
                  <a:pt x="474" y="536"/>
                </a:cubicBezTo>
                <a:cubicBezTo>
                  <a:pt x="478" y="536"/>
                  <a:pt x="482" y="533"/>
                  <a:pt x="482" y="529"/>
                </a:cubicBezTo>
                <a:cubicBezTo>
                  <a:pt x="482" y="525"/>
                  <a:pt x="478" y="522"/>
                  <a:pt x="474" y="522"/>
                </a:cubicBezTo>
                <a:close/>
                <a:moveTo>
                  <a:pt x="497" y="522"/>
                </a:moveTo>
                <a:cubicBezTo>
                  <a:pt x="493" y="522"/>
                  <a:pt x="490" y="525"/>
                  <a:pt x="490" y="529"/>
                </a:cubicBezTo>
                <a:cubicBezTo>
                  <a:pt x="490" y="533"/>
                  <a:pt x="493" y="536"/>
                  <a:pt x="497" y="536"/>
                </a:cubicBezTo>
                <a:cubicBezTo>
                  <a:pt x="501" y="536"/>
                  <a:pt x="505" y="533"/>
                  <a:pt x="505" y="529"/>
                </a:cubicBezTo>
                <a:cubicBezTo>
                  <a:pt x="505" y="525"/>
                  <a:pt x="501" y="522"/>
                  <a:pt x="497" y="522"/>
                </a:cubicBezTo>
                <a:close/>
                <a:moveTo>
                  <a:pt x="474" y="542"/>
                </a:moveTo>
                <a:cubicBezTo>
                  <a:pt x="470" y="542"/>
                  <a:pt x="467" y="545"/>
                  <a:pt x="467" y="549"/>
                </a:cubicBezTo>
                <a:cubicBezTo>
                  <a:pt x="467" y="552"/>
                  <a:pt x="470" y="556"/>
                  <a:pt x="474" y="556"/>
                </a:cubicBezTo>
                <a:cubicBezTo>
                  <a:pt x="478" y="556"/>
                  <a:pt x="482" y="552"/>
                  <a:pt x="482" y="549"/>
                </a:cubicBezTo>
                <a:cubicBezTo>
                  <a:pt x="482" y="545"/>
                  <a:pt x="478" y="542"/>
                  <a:pt x="474" y="542"/>
                </a:cubicBezTo>
                <a:close/>
                <a:moveTo>
                  <a:pt x="474" y="561"/>
                </a:moveTo>
                <a:cubicBezTo>
                  <a:pt x="470" y="561"/>
                  <a:pt x="467" y="564"/>
                  <a:pt x="467" y="567"/>
                </a:cubicBezTo>
                <a:cubicBezTo>
                  <a:pt x="467" y="571"/>
                  <a:pt x="470" y="574"/>
                  <a:pt x="474" y="574"/>
                </a:cubicBezTo>
                <a:cubicBezTo>
                  <a:pt x="478" y="574"/>
                  <a:pt x="482" y="571"/>
                  <a:pt x="482" y="567"/>
                </a:cubicBezTo>
                <a:cubicBezTo>
                  <a:pt x="482" y="564"/>
                  <a:pt x="478" y="561"/>
                  <a:pt x="474" y="561"/>
                </a:cubicBezTo>
                <a:close/>
                <a:moveTo>
                  <a:pt x="474" y="580"/>
                </a:moveTo>
                <a:cubicBezTo>
                  <a:pt x="470" y="580"/>
                  <a:pt x="467" y="583"/>
                  <a:pt x="467" y="587"/>
                </a:cubicBezTo>
                <a:cubicBezTo>
                  <a:pt x="467" y="590"/>
                  <a:pt x="470" y="593"/>
                  <a:pt x="474" y="593"/>
                </a:cubicBezTo>
                <a:cubicBezTo>
                  <a:pt x="478" y="593"/>
                  <a:pt x="482" y="590"/>
                  <a:pt x="482" y="587"/>
                </a:cubicBezTo>
                <a:cubicBezTo>
                  <a:pt x="482" y="583"/>
                  <a:pt x="478" y="580"/>
                  <a:pt x="474" y="580"/>
                </a:cubicBezTo>
                <a:close/>
                <a:moveTo>
                  <a:pt x="542" y="20"/>
                </a:moveTo>
                <a:cubicBezTo>
                  <a:pt x="538" y="20"/>
                  <a:pt x="534" y="23"/>
                  <a:pt x="534" y="27"/>
                </a:cubicBezTo>
                <a:cubicBezTo>
                  <a:pt x="534" y="30"/>
                  <a:pt x="538" y="33"/>
                  <a:pt x="542" y="33"/>
                </a:cubicBezTo>
                <a:cubicBezTo>
                  <a:pt x="546" y="33"/>
                  <a:pt x="549" y="30"/>
                  <a:pt x="549" y="27"/>
                </a:cubicBezTo>
                <a:cubicBezTo>
                  <a:pt x="549" y="23"/>
                  <a:pt x="546" y="20"/>
                  <a:pt x="542" y="20"/>
                </a:cubicBezTo>
                <a:close/>
                <a:moveTo>
                  <a:pt x="520" y="40"/>
                </a:moveTo>
                <a:cubicBezTo>
                  <a:pt x="516" y="40"/>
                  <a:pt x="512" y="43"/>
                  <a:pt x="512" y="46"/>
                </a:cubicBezTo>
                <a:cubicBezTo>
                  <a:pt x="512" y="50"/>
                  <a:pt x="516" y="53"/>
                  <a:pt x="520" y="53"/>
                </a:cubicBezTo>
                <a:cubicBezTo>
                  <a:pt x="524" y="53"/>
                  <a:pt x="528" y="50"/>
                  <a:pt x="528" y="46"/>
                </a:cubicBezTo>
                <a:cubicBezTo>
                  <a:pt x="528" y="43"/>
                  <a:pt x="524" y="40"/>
                  <a:pt x="520" y="40"/>
                </a:cubicBezTo>
                <a:close/>
                <a:moveTo>
                  <a:pt x="542" y="40"/>
                </a:moveTo>
                <a:cubicBezTo>
                  <a:pt x="538" y="40"/>
                  <a:pt x="534" y="43"/>
                  <a:pt x="534" y="46"/>
                </a:cubicBezTo>
                <a:cubicBezTo>
                  <a:pt x="534" y="50"/>
                  <a:pt x="538" y="53"/>
                  <a:pt x="542" y="53"/>
                </a:cubicBezTo>
                <a:cubicBezTo>
                  <a:pt x="546" y="53"/>
                  <a:pt x="549" y="50"/>
                  <a:pt x="549" y="46"/>
                </a:cubicBezTo>
                <a:cubicBezTo>
                  <a:pt x="549" y="43"/>
                  <a:pt x="546" y="40"/>
                  <a:pt x="542" y="40"/>
                </a:cubicBezTo>
                <a:close/>
                <a:moveTo>
                  <a:pt x="520" y="59"/>
                </a:moveTo>
                <a:cubicBezTo>
                  <a:pt x="516" y="59"/>
                  <a:pt x="512" y="62"/>
                  <a:pt x="512" y="65"/>
                </a:cubicBezTo>
                <a:cubicBezTo>
                  <a:pt x="512" y="69"/>
                  <a:pt x="516" y="72"/>
                  <a:pt x="520" y="72"/>
                </a:cubicBezTo>
                <a:cubicBezTo>
                  <a:pt x="524" y="72"/>
                  <a:pt x="528" y="69"/>
                  <a:pt x="528" y="65"/>
                </a:cubicBezTo>
                <a:cubicBezTo>
                  <a:pt x="528" y="62"/>
                  <a:pt x="524" y="59"/>
                  <a:pt x="520" y="59"/>
                </a:cubicBezTo>
                <a:close/>
                <a:moveTo>
                  <a:pt x="542" y="59"/>
                </a:moveTo>
                <a:cubicBezTo>
                  <a:pt x="538" y="59"/>
                  <a:pt x="534" y="62"/>
                  <a:pt x="534" y="65"/>
                </a:cubicBezTo>
                <a:cubicBezTo>
                  <a:pt x="534" y="69"/>
                  <a:pt x="538" y="72"/>
                  <a:pt x="542" y="72"/>
                </a:cubicBezTo>
                <a:cubicBezTo>
                  <a:pt x="546" y="72"/>
                  <a:pt x="549" y="69"/>
                  <a:pt x="549" y="65"/>
                </a:cubicBezTo>
                <a:cubicBezTo>
                  <a:pt x="549" y="62"/>
                  <a:pt x="546" y="59"/>
                  <a:pt x="542" y="59"/>
                </a:cubicBezTo>
                <a:close/>
                <a:moveTo>
                  <a:pt x="520" y="78"/>
                </a:moveTo>
                <a:cubicBezTo>
                  <a:pt x="516" y="78"/>
                  <a:pt x="512" y="81"/>
                  <a:pt x="512" y="85"/>
                </a:cubicBezTo>
                <a:cubicBezTo>
                  <a:pt x="512" y="88"/>
                  <a:pt x="516" y="91"/>
                  <a:pt x="520" y="91"/>
                </a:cubicBezTo>
                <a:cubicBezTo>
                  <a:pt x="524" y="91"/>
                  <a:pt x="528" y="88"/>
                  <a:pt x="528" y="85"/>
                </a:cubicBezTo>
                <a:cubicBezTo>
                  <a:pt x="528" y="81"/>
                  <a:pt x="524" y="78"/>
                  <a:pt x="520" y="78"/>
                </a:cubicBezTo>
                <a:close/>
                <a:moveTo>
                  <a:pt x="542" y="78"/>
                </a:moveTo>
                <a:cubicBezTo>
                  <a:pt x="538" y="78"/>
                  <a:pt x="534" y="81"/>
                  <a:pt x="534" y="85"/>
                </a:cubicBezTo>
                <a:cubicBezTo>
                  <a:pt x="534" y="88"/>
                  <a:pt x="538" y="91"/>
                  <a:pt x="542" y="91"/>
                </a:cubicBezTo>
                <a:cubicBezTo>
                  <a:pt x="546" y="91"/>
                  <a:pt x="549" y="88"/>
                  <a:pt x="549" y="85"/>
                </a:cubicBezTo>
                <a:cubicBezTo>
                  <a:pt x="549" y="81"/>
                  <a:pt x="546" y="78"/>
                  <a:pt x="542" y="78"/>
                </a:cubicBezTo>
                <a:close/>
                <a:moveTo>
                  <a:pt x="520" y="97"/>
                </a:moveTo>
                <a:cubicBezTo>
                  <a:pt x="516" y="97"/>
                  <a:pt x="512" y="100"/>
                  <a:pt x="512" y="104"/>
                </a:cubicBezTo>
                <a:cubicBezTo>
                  <a:pt x="512" y="107"/>
                  <a:pt x="516" y="110"/>
                  <a:pt x="520" y="110"/>
                </a:cubicBezTo>
                <a:cubicBezTo>
                  <a:pt x="524" y="110"/>
                  <a:pt x="528" y="107"/>
                  <a:pt x="528" y="104"/>
                </a:cubicBezTo>
                <a:cubicBezTo>
                  <a:pt x="528" y="100"/>
                  <a:pt x="524" y="97"/>
                  <a:pt x="520" y="97"/>
                </a:cubicBezTo>
                <a:close/>
                <a:moveTo>
                  <a:pt x="542" y="97"/>
                </a:moveTo>
                <a:cubicBezTo>
                  <a:pt x="538" y="97"/>
                  <a:pt x="534" y="100"/>
                  <a:pt x="534" y="104"/>
                </a:cubicBezTo>
                <a:cubicBezTo>
                  <a:pt x="534" y="107"/>
                  <a:pt x="538" y="110"/>
                  <a:pt x="542" y="110"/>
                </a:cubicBezTo>
                <a:cubicBezTo>
                  <a:pt x="546" y="110"/>
                  <a:pt x="549" y="107"/>
                  <a:pt x="549" y="104"/>
                </a:cubicBezTo>
                <a:cubicBezTo>
                  <a:pt x="549" y="100"/>
                  <a:pt x="546" y="97"/>
                  <a:pt x="542" y="97"/>
                </a:cubicBezTo>
                <a:close/>
                <a:moveTo>
                  <a:pt x="520" y="116"/>
                </a:moveTo>
                <a:cubicBezTo>
                  <a:pt x="516" y="116"/>
                  <a:pt x="512" y="119"/>
                  <a:pt x="512" y="123"/>
                </a:cubicBezTo>
                <a:cubicBezTo>
                  <a:pt x="512" y="127"/>
                  <a:pt x="516" y="130"/>
                  <a:pt x="520" y="130"/>
                </a:cubicBezTo>
                <a:cubicBezTo>
                  <a:pt x="524" y="130"/>
                  <a:pt x="528" y="127"/>
                  <a:pt x="528" y="123"/>
                </a:cubicBezTo>
                <a:cubicBezTo>
                  <a:pt x="528" y="119"/>
                  <a:pt x="524" y="116"/>
                  <a:pt x="520" y="116"/>
                </a:cubicBezTo>
                <a:close/>
                <a:moveTo>
                  <a:pt x="564" y="20"/>
                </a:moveTo>
                <a:cubicBezTo>
                  <a:pt x="559" y="20"/>
                  <a:pt x="556" y="23"/>
                  <a:pt x="556" y="27"/>
                </a:cubicBezTo>
                <a:cubicBezTo>
                  <a:pt x="556" y="30"/>
                  <a:pt x="559" y="33"/>
                  <a:pt x="564" y="33"/>
                </a:cubicBezTo>
                <a:cubicBezTo>
                  <a:pt x="568" y="33"/>
                  <a:pt x="571" y="30"/>
                  <a:pt x="571" y="27"/>
                </a:cubicBezTo>
                <a:cubicBezTo>
                  <a:pt x="571" y="23"/>
                  <a:pt x="568" y="20"/>
                  <a:pt x="564" y="20"/>
                </a:cubicBezTo>
                <a:close/>
                <a:moveTo>
                  <a:pt x="564" y="40"/>
                </a:moveTo>
                <a:cubicBezTo>
                  <a:pt x="559" y="40"/>
                  <a:pt x="556" y="43"/>
                  <a:pt x="556" y="46"/>
                </a:cubicBezTo>
                <a:cubicBezTo>
                  <a:pt x="556" y="50"/>
                  <a:pt x="559" y="53"/>
                  <a:pt x="564" y="53"/>
                </a:cubicBezTo>
                <a:cubicBezTo>
                  <a:pt x="568" y="53"/>
                  <a:pt x="571" y="50"/>
                  <a:pt x="571" y="46"/>
                </a:cubicBezTo>
                <a:cubicBezTo>
                  <a:pt x="571" y="43"/>
                  <a:pt x="568" y="40"/>
                  <a:pt x="564" y="40"/>
                </a:cubicBezTo>
                <a:close/>
                <a:moveTo>
                  <a:pt x="586" y="40"/>
                </a:moveTo>
                <a:cubicBezTo>
                  <a:pt x="582" y="40"/>
                  <a:pt x="579" y="43"/>
                  <a:pt x="579" y="46"/>
                </a:cubicBezTo>
                <a:cubicBezTo>
                  <a:pt x="579" y="50"/>
                  <a:pt x="582" y="53"/>
                  <a:pt x="586" y="53"/>
                </a:cubicBezTo>
                <a:cubicBezTo>
                  <a:pt x="590" y="53"/>
                  <a:pt x="593" y="50"/>
                  <a:pt x="593" y="46"/>
                </a:cubicBezTo>
                <a:cubicBezTo>
                  <a:pt x="593" y="43"/>
                  <a:pt x="590" y="40"/>
                  <a:pt x="586" y="40"/>
                </a:cubicBezTo>
                <a:close/>
                <a:moveTo>
                  <a:pt x="564" y="59"/>
                </a:moveTo>
                <a:cubicBezTo>
                  <a:pt x="559" y="59"/>
                  <a:pt x="556" y="62"/>
                  <a:pt x="556" y="65"/>
                </a:cubicBezTo>
                <a:cubicBezTo>
                  <a:pt x="556" y="69"/>
                  <a:pt x="559" y="72"/>
                  <a:pt x="564" y="72"/>
                </a:cubicBezTo>
                <a:cubicBezTo>
                  <a:pt x="568" y="72"/>
                  <a:pt x="571" y="69"/>
                  <a:pt x="571" y="65"/>
                </a:cubicBezTo>
                <a:cubicBezTo>
                  <a:pt x="571" y="62"/>
                  <a:pt x="568" y="59"/>
                  <a:pt x="564" y="59"/>
                </a:cubicBezTo>
                <a:close/>
                <a:moveTo>
                  <a:pt x="586" y="59"/>
                </a:moveTo>
                <a:cubicBezTo>
                  <a:pt x="582" y="59"/>
                  <a:pt x="579" y="62"/>
                  <a:pt x="579" y="65"/>
                </a:cubicBezTo>
                <a:cubicBezTo>
                  <a:pt x="579" y="69"/>
                  <a:pt x="582" y="72"/>
                  <a:pt x="586" y="72"/>
                </a:cubicBezTo>
                <a:cubicBezTo>
                  <a:pt x="590" y="72"/>
                  <a:pt x="593" y="69"/>
                  <a:pt x="593" y="65"/>
                </a:cubicBezTo>
                <a:cubicBezTo>
                  <a:pt x="593" y="62"/>
                  <a:pt x="590" y="59"/>
                  <a:pt x="586" y="59"/>
                </a:cubicBezTo>
                <a:close/>
                <a:moveTo>
                  <a:pt x="564" y="78"/>
                </a:moveTo>
                <a:cubicBezTo>
                  <a:pt x="559" y="78"/>
                  <a:pt x="556" y="81"/>
                  <a:pt x="556" y="85"/>
                </a:cubicBezTo>
                <a:cubicBezTo>
                  <a:pt x="556" y="88"/>
                  <a:pt x="559" y="91"/>
                  <a:pt x="564" y="91"/>
                </a:cubicBezTo>
                <a:cubicBezTo>
                  <a:pt x="568" y="91"/>
                  <a:pt x="571" y="88"/>
                  <a:pt x="571" y="85"/>
                </a:cubicBezTo>
                <a:cubicBezTo>
                  <a:pt x="571" y="81"/>
                  <a:pt x="568" y="78"/>
                  <a:pt x="564" y="78"/>
                </a:cubicBezTo>
                <a:close/>
                <a:moveTo>
                  <a:pt x="586" y="78"/>
                </a:moveTo>
                <a:cubicBezTo>
                  <a:pt x="582" y="78"/>
                  <a:pt x="579" y="81"/>
                  <a:pt x="579" y="85"/>
                </a:cubicBezTo>
                <a:cubicBezTo>
                  <a:pt x="579" y="88"/>
                  <a:pt x="582" y="91"/>
                  <a:pt x="586" y="91"/>
                </a:cubicBezTo>
                <a:cubicBezTo>
                  <a:pt x="590" y="91"/>
                  <a:pt x="593" y="88"/>
                  <a:pt x="593" y="85"/>
                </a:cubicBezTo>
                <a:cubicBezTo>
                  <a:pt x="593" y="81"/>
                  <a:pt x="590" y="78"/>
                  <a:pt x="586" y="78"/>
                </a:cubicBezTo>
                <a:close/>
                <a:moveTo>
                  <a:pt x="564" y="97"/>
                </a:moveTo>
                <a:cubicBezTo>
                  <a:pt x="559" y="97"/>
                  <a:pt x="556" y="100"/>
                  <a:pt x="556" y="104"/>
                </a:cubicBezTo>
                <a:cubicBezTo>
                  <a:pt x="556" y="107"/>
                  <a:pt x="559" y="110"/>
                  <a:pt x="564" y="110"/>
                </a:cubicBezTo>
                <a:cubicBezTo>
                  <a:pt x="568" y="110"/>
                  <a:pt x="571" y="107"/>
                  <a:pt x="571" y="104"/>
                </a:cubicBezTo>
                <a:cubicBezTo>
                  <a:pt x="571" y="100"/>
                  <a:pt x="568" y="97"/>
                  <a:pt x="564" y="97"/>
                </a:cubicBezTo>
                <a:close/>
                <a:moveTo>
                  <a:pt x="586" y="97"/>
                </a:moveTo>
                <a:cubicBezTo>
                  <a:pt x="582" y="97"/>
                  <a:pt x="579" y="100"/>
                  <a:pt x="579" y="104"/>
                </a:cubicBezTo>
                <a:cubicBezTo>
                  <a:pt x="579" y="107"/>
                  <a:pt x="582" y="110"/>
                  <a:pt x="586" y="110"/>
                </a:cubicBezTo>
                <a:cubicBezTo>
                  <a:pt x="590" y="110"/>
                  <a:pt x="593" y="107"/>
                  <a:pt x="593" y="104"/>
                </a:cubicBezTo>
                <a:cubicBezTo>
                  <a:pt x="593" y="100"/>
                  <a:pt x="590" y="97"/>
                  <a:pt x="586" y="97"/>
                </a:cubicBezTo>
                <a:close/>
                <a:moveTo>
                  <a:pt x="564" y="116"/>
                </a:moveTo>
                <a:cubicBezTo>
                  <a:pt x="559" y="116"/>
                  <a:pt x="556" y="119"/>
                  <a:pt x="556" y="123"/>
                </a:cubicBezTo>
                <a:cubicBezTo>
                  <a:pt x="556" y="127"/>
                  <a:pt x="559" y="130"/>
                  <a:pt x="564" y="130"/>
                </a:cubicBezTo>
                <a:cubicBezTo>
                  <a:pt x="568" y="130"/>
                  <a:pt x="571" y="127"/>
                  <a:pt x="571" y="123"/>
                </a:cubicBezTo>
                <a:cubicBezTo>
                  <a:pt x="571" y="119"/>
                  <a:pt x="568" y="116"/>
                  <a:pt x="564" y="116"/>
                </a:cubicBezTo>
                <a:close/>
                <a:moveTo>
                  <a:pt x="586" y="116"/>
                </a:moveTo>
                <a:cubicBezTo>
                  <a:pt x="582" y="116"/>
                  <a:pt x="579" y="119"/>
                  <a:pt x="579" y="123"/>
                </a:cubicBezTo>
                <a:cubicBezTo>
                  <a:pt x="579" y="127"/>
                  <a:pt x="582" y="130"/>
                  <a:pt x="586" y="130"/>
                </a:cubicBezTo>
                <a:cubicBezTo>
                  <a:pt x="590" y="130"/>
                  <a:pt x="593" y="127"/>
                  <a:pt x="593" y="123"/>
                </a:cubicBezTo>
                <a:cubicBezTo>
                  <a:pt x="593" y="119"/>
                  <a:pt x="590" y="116"/>
                  <a:pt x="586" y="116"/>
                </a:cubicBezTo>
                <a:close/>
                <a:moveTo>
                  <a:pt x="609" y="40"/>
                </a:moveTo>
                <a:cubicBezTo>
                  <a:pt x="605" y="40"/>
                  <a:pt x="601" y="43"/>
                  <a:pt x="601" y="46"/>
                </a:cubicBezTo>
                <a:cubicBezTo>
                  <a:pt x="601" y="50"/>
                  <a:pt x="605" y="53"/>
                  <a:pt x="609" y="53"/>
                </a:cubicBezTo>
                <a:cubicBezTo>
                  <a:pt x="613" y="53"/>
                  <a:pt x="616" y="50"/>
                  <a:pt x="616" y="46"/>
                </a:cubicBezTo>
                <a:cubicBezTo>
                  <a:pt x="616" y="43"/>
                  <a:pt x="613" y="40"/>
                  <a:pt x="609" y="40"/>
                </a:cubicBezTo>
                <a:close/>
                <a:moveTo>
                  <a:pt x="631" y="40"/>
                </a:moveTo>
                <a:cubicBezTo>
                  <a:pt x="627" y="40"/>
                  <a:pt x="623" y="43"/>
                  <a:pt x="623" y="46"/>
                </a:cubicBezTo>
                <a:cubicBezTo>
                  <a:pt x="623" y="50"/>
                  <a:pt x="627" y="53"/>
                  <a:pt x="631" y="53"/>
                </a:cubicBezTo>
                <a:cubicBezTo>
                  <a:pt x="635" y="53"/>
                  <a:pt x="638" y="50"/>
                  <a:pt x="638" y="46"/>
                </a:cubicBezTo>
                <a:cubicBezTo>
                  <a:pt x="638" y="43"/>
                  <a:pt x="635" y="40"/>
                  <a:pt x="631" y="40"/>
                </a:cubicBezTo>
                <a:close/>
                <a:moveTo>
                  <a:pt x="609" y="59"/>
                </a:moveTo>
                <a:cubicBezTo>
                  <a:pt x="605" y="59"/>
                  <a:pt x="601" y="62"/>
                  <a:pt x="601" y="65"/>
                </a:cubicBezTo>
                <a:cubicBezTo>
                  <a:pt x="601" y="69"/>
                  <a:pt x="605" y="72"/>
                  <a:pt x="609" y="72"/>
                </a:cubicBezTo>
                <a:cubicBezTo>
                  <a:pt x="613" y="72"/>
                  <a:pt x="616" y="69"/>
                  <a:pt x="616" y="65"/>
                </a:cubicBezTo>
                <a:cubicBezTo>
                  <a:pt x="616" y="62"/>
                  <a:pt x="613" y="59"/>
                  <a:pt x="609" y="59"/>
                </a:cubicBezTo>
                <a:close/>
                <a:moveTo>
                  <a:pt x="631" y="59"/>
                </a:moveTo>
                <a:cubicBezTo>
                  <a:pt x="627" y="59"/>
                  <a:pt x="623" y="62"/>
                  <a:pt x="623" y="65"/>
                </a:cubicBezTo>
                <a:cubicBezTo>
                  <a:pt x="623" y="69"/>
                  <a:pt x="627" y="72"/>
                  <a:pt x="631" y="72"/>
                </a:cubicBezTo>
                <a:cubicBezTo>
                  <a:pt x="635" y="72"/>
                  <a:pt x="638" y="69"/>
                  <a:pt x="638" y="65"/>
                </a:cubicBezTo>
                <a:cubicBezTo>
                  <a:pt x="638" y="62"/>
                  <a:pt x="635" y="59"/>
                  <a:pt x="631" y="59"/>
                </a:cubicBezTo>
                <a:close/>
                <a:moveTo>
                  <a:pt x="609" y="78"/>
                </a:moveTo>
                <a:cubicBezTo>
                  <a:pt x="605" y="78"/>
                  <a:pt x="601" y="81"/>
                  <a:pt x="601" y="85"/>
                </a:cubicBezTo>
                <a:cubicBezTo>
                  <a:pt x="601" y="88"/>
                  <a:pt x="605" y="91"/>
                  <a:pt x="609" y="91"/>
                </a:cubicBezTo>
                <a:cubicBezTo>
                  <a:pt x="613" y="91"/>
                  <a:pt x="616" y="88"/>
                  <a:pt x="616" y="85"/>
                </a:cubicBezTo>
                <a:cubicBezTo>
                  <a:pt x="616" y="81"/>
                  <a:pt x="613" y="78"/>
                  <a:pt x="609" y="78"/>
                </a:cubicBezTo>
                <a:close/>
                <a:moveTo>
                  <a:pt x="609" y="116"/>
                </a:moveTo>
                <a:cubicBezTo>
                  <a:pt x="605" y="116"/>
                  <a:pt x="601" y="119"/>
                  <a:pt x="601" y="123"/>
                </a:cubicBezTo>
                <a:cubicBezTo>
                  <a:pt x="601" y="127"/>
                  <a:pt x="605" y="130"/>
                  <a:pt x="609" y="130"/>
                </a:cubicBezTo>
                <a:cubicBezTo>
                  <a:pt x="613" y="130"/>
                  <a:pt x="616" y="127"/>
                  <a:pt x="616" y="123"/>
                </a:cubicBezTo>
                <a:cubicBezTo>
                  <a:pt x="616" y="119"/>
                  <a:pt x="613" y="116"/>
                  <a:pt x="609" y="116"/>
                </a:cubicBezTo>
                <a:close/>
                <a:moveTo>
                  <a:pt x="652" y="40"/>
                </a:moveTo>
                <a:cubicBezTo>
                  <a:pt x="648" y="40"/>
                  <a:pt x="645" y="43"/>
                  <a:pt x="645" y="46"/>
                </a:cubicBezTo>
                <a:cubicBezTo>
                  <a:pt x="645" y="50"/>
                  <a:pt x="648" y="53"/>
                  <a:pt x="652" y="53"/>
                </a:cubicBezTo>
                <a:cubicBezTo>
                  <a:pt x="657" y="53"/>
                  <a:pt x="660" y="50"/>
                  <a:pt x="660" y="46"/>
                </a:cubicBezTo>
                <a:cubicBezTo>
                  <a:pt x="660" y="43"/>
                  <a:pt x="657" y="40"/>
                  <a:pt x="652" y="40"/>
                </a:cubicBezTo>
                <a:close/>
                <a:moveTo>
                  <a:pt x="675" y="59"/>
                </a:moveTo>
                <a:cubicBezTo>
                  <a:pt x="671" y="59"/>
                  <a:pt x="667" y="61"/>
                  <a:pt x="667" y="65"/>
                </a:cubicBezTo>
                <a:cubicBezTo>
                  <a:pt x="667" y="69"/>
                  <a:pt x="671" y="72"/>
                  <a:pt x="675" y="72"/>
                </a:cubicBezTo>
                <a:cubicBezTo>
                  <a:pt x="679" y="72"/>
                  <a:pt x="682" y="69"/>
                  <a:pt x="682" y="65"/>
                </a:cubicBezTo>
                <a:cubicBezTo>
                  <a:pt x="682" y="63"/>
                  <a:pt x="679" y="59"/>
                  <a:pt x="675" y="59"/>
                </a:cubicBezTo>
                <a:close/>
                <a:moveTo>
                  <a:pt x="542" y="136"/>
                </a:moveTo>
                <a:cubicBezTo>
                  <a:pt x="538" y="136"/>
                  <a:pt x="534" y="139"/>
                  <a:pt x="534" y="143"/>
                </a:cubicBezTo>
                <a:cubicBezTo>
                  <a:pt x="534" y="146"/>
                  <a:pt x="538" y="149"/>
                  <a:pt x="542" y="149"/>
                </a:cubicBezTo>
                <a:cubicBezTo>
                  <a:pt x="546" y="149"/>
                  <a:pt x="549" y="146"/>
                  <a:pt x="549" y="143"/>
                </a:cubicBezTo>
                <a:cubicBezTo>
                  <a:pt x="549" y="139"/>
                  <a:pt x="546" y="136"/>
                  <a:pt x="542" y="136"/>
                </a:cubicBezTo>
                <a:close/>
                <a:moveTo>
                  <a:pt x="520" y="155"/>
                </a:moveTo>
                <a:cubicBezTo>
                  <a:pt x="516" y="155"/>
                  <a:pt x="512" y="158"/>
                  <a:pt x="512" y="162"/>
                </a:cubicBezTo>
                <a:cubicBezTo>
                  <a:pt x="512" y="166"/>
                  <a:pt x="516" y="169"/>
                  <a:pt x="520" y="169"/>
                </a:cubicBezTo>
                <a:cubicBezTo>
                  <a:pt x="524" y="169"/>
                  <a:pt x="528" y="166"/>
                  <a:pt x="528" y="162"/>
                </a:cubicBezTo>
                <a:cubicBezTo>
                  <a:pt x="528" y="158"/>
                  <a:pt x="524" y="155"/>
                  <a:pt x="520" y="155"/>
                </a:cubicBezTo>
                <a:close/>
                <a:moveTo>
                  <a:pt x="520" y="175"/>
                </a:moveTo>
                <a:cubicBezTo>
                  <a:pt x="516" y="175"/>
                  <a:pt x="512" y="178"/>
                  <a:pt x="512" y="182"/>
                </a:cubicBezTo>
                <a:cubicBezTo>
                  <a:pt x="512" y="185"/>
                  <a:pt x="516" y="188"/>
                  <a:pt x="520" y="188"/>
                </a:cubicBezTo>
                <a:cubicBezTo>
                  <a:pt x="524" y="188"/>
                  <a:pt x="528" y="185"/>
                  <a:pt x="528" y="182"/>
                </a:cubicBezTo>
                <a:cubicBezTo>
                  <a:pt x="528" y="178"/>
                  <a:pt x="524" y="175"/>
                  <a:pt x="520" y="175"/>
                </a:cubicBezTo>
                <a:close/>
                <a:moveTo>
                  <a:pt x="542" y="175"/>
                </a:moveTo>
                <a:cubicBezTo>
                  <a:pt x="538" y="175"/>
                  <a:pt x="534" y="178"/>
                  <a:pt x="534" y="182"/>
                </a:cubicBezTo>
                <a:cubicBezTo>
                  <a:pt x="534" y="185"/>
                  <a:pt x="538" y="188"/>
                  <a:pt x="542" y="188"/>
                </a:cubicBezTo>
                <a:cubicBezTo>
                  <a:pt x="546" y="188"/>
                  <a:pt x="549" y="185"/>
                  <a:pt x="549" y="182"/>
                </a:cubicBezTo>
                <a:cubicBezTo>
                  <a:pt x="549" y="178"/>
                  <a:pt x="546" y="175"/>
                  <a:pt x="542" y="175"/>
                </a:cubicBezTo>
                <a:close/>
                <a:moveTo>
                  <a:pt x="520" y="194"/>
                </a:moveTo>
                <a:cubicBezTo>
                  <a:pt x="516" y="194"/>
                  <a:pt x="512" y="197"/>
                  <a:pt x="512" y="201"/>
                </a:cubicBezTo>
                <a:cubicBezTo>
                  <a:pt x="512" y="205"/>
                  <a:pt x="516" y="208"/>
                  <a:pt x="520" y="208"/>
                </a:cubicBezTo>
                <a:cubicBezTo>
                  <a:pt x="524" y="208"/>
                  <a:pt x="528" y="205"/>
                  <a:pt x="528" y="201"/>
                </a:cubicBezTo>
                <a:cubicBezTo>
                  <a:pt x="528" y="197"/>
                  <a:pt x="524" y="194"/>
                  <a:pt x="520" y="194"/>
                </a:cubicBezTo>
                <a:close/>
                <a:moveTo>
                  <a:pt x="542" y="194"/>
                </a:moveTo>
                <a:cubicBezTo>
                  <a:pt x="538" y="194"/>
                  <a:pt x="534" y="197"/>
                  <a:pt x="534" y="201"/>
                </a:cubicBezTo>
                <a:cubicBezTo>
                  <a:pt x="534" y="205"/>
                  <a:pt x="538" y="208"/>
                  <a:pt x="542" y="208"/>
                </a:cubicBezTo>
                <a:cubicBezTo>
                  <a:pt x="546" y="208"/>
                  <a:pt x="549" y="205"/>
                  <a:pt x="549" y="201"/>
                </a:cubicBezTo>
                <a:cubicBezTo>
                  <a:pt x="549" y="197"/>
                  <a:pt x="546" y="194"/>
                  <a:pt x="542" y="194"/>
                </a:cubicBezTo>
                <a:close/>
                <a:moveTo>
                  <a:pt x="520" y="214"/>
                </a:moveTo>
                <a:cubicBezTo>
                  <a:pt x="516" y="214"/>
                  <a:pt x="512" y="217"/>
                  <a:pt x="512" y="220"/>
                </a:cubicBezTo>
                <a:cubicBezTo>
                  <a:pt x="512" y="224"/>
                  <a:pt x="516" y="227"/>
                  <a:pt x="520" y="227"/>
                </a:cubicBezTo>
                <a:cubicBezTo>
                  <a:pt x="524" y="227"/>
                  <a:pt x="528" y="224"/>
                  <a:pt x="528" y="220"/>
                </a:cubicBezTo>
                <a:cubicBezTo>
                  <a:pt x="528" y="217"/>
                  <a:pt x="524" y="214"/>
                  <a:pt x="520" y="214"/>
                </a:cubicBezTo>
                <a:close/>
                <a:moveTo>
                  <a:pt x="542" y="214"/>
                </a:moveTo>
                <a:cubicBezTo>
                  <a:pt x="538" y="214"/>
                  <a:pt x="534" y="217"/>
                  <a:pt x="534" y="220"/>
                </a:cubicBezTo>
                <a:cubicBezTo>
                  <a:pt x="534" y="224"/>
                  <a:pt x="538" y="227"/>
                  <a:pt x="542" y="227"/>
                </a:cubicBezTo>
                <a:cubicBezTo>
                  <a:pt x="546" y="227"/>
                  <a:pt x="549" y="224"/>
                  <a:pt x="549" y="220"/>
                </a:cubicBezTo>
                <a:cubicBezTo>
                  <a:pt x="549" y="217"/>
                  <a:pt x="546" y="214"/>
                  <a:pt x="542" y="214"/>
                </a:cubicBezTo>
                <a:close/>
                <a:moveTo>
                  <a:pt x="520" y="233"/>
                </a:moveTo>
                <a:cubicBezTo>
                  <a:pt x="516" y="233"/>
                  <a:pt x="512" y="236"/>
                  <a:pt x="512" y="239"/>
                </a:cubicBezTo>
                <a:cubicBezTo>
                  <a:pt x="512" y="243"/>
                  <a:pt x="516" y="245"/>
                  <a:pt x="520" y="245"/>
                </a:cubicBezTo>
                <a:cubicBezTo>
                  <a:pt x="524" y="245"/>
                  <a:pt x="528" y="243"/>
                  <a:pt x="528" y="239"/>
                </a:cubicBezTo>
                <a:cubicBezTo>
                  <a:pt x="528" y="236"/>
                  <a:pt x="524" y="233"/>
                  <a:pt x="520" y="233"/>
                </a:cubicBezTo>
                <a:close/>
                <a:moveTo>
                  <a:pt x="564" y="136"/>
                </a:moveTo>
                <a:cubicBezTo>
                  <a:pt x="559" y="136"/>
                  <a:pt x="556" y="139"/>
                  <a:pt x="556" y="143"/>
                </a:cubicBezTo>
                <a:cubicBezTo>
                  <a:pt x="556" y="146"/>
                  <a:pt x="559" y="149"/>
                  <a:pt x="564" y="149"/>
                </a:cubicBezTo>
                <a:cubicBezTo>
                  <a:pt x="568" y="149"/>
                  <a:pt x="571" y="146"/>
                  <a:pt x="571" y="143"/>
                </a:cubicBezTo>
                <a:cubicBezTo>
                  <a:pt x="571" y="139"/>
                  <a:pt x="568" y="136"/>
                  <a:pt x="564" y="136"/>
                </a:cubicBezTo>
                <a:close/>
                <a:moveTo>
                  <a:pt x="586" y="136"/>
                </a:moveTo>
                <a:cubicBezTo>
                  <a:pt x="582" y="136"/>
                  <a:pt x="579" y="139"/>
                  <a:pt x="579" y="143"/>
                </a:cubicBezTo>
                <a:cubicBezTo>
                  <a:pt x="579" y="146"/>
                  <a:pt x="582" y="149"/>
                  <a:pt x="586" y="149"/>
                </a:cubicBezTo>
                <a:cubicBezTo>
                  <a:pt x="590" y="149"/>
                  <a:pt x="593" y="146"/>
                  <a:pt x="593" y="143"/>
                </a:cubicBezTo>
                <a:cubicBezTo>
                  <a:pt x="593" y="139"/>
                  <a:pt x="590" y="136"/>
                  <a:pt x="586" y="136"/>
                </a:cubicBezTo>
                <a:close/>
                <a:moveTo>
                  <a:pt x="564" y="155"/>
                </a:moveTo>
                <a:cubicBezTo>
                  <a:pt x="559" y="155"/>
                  <a:pt x="556" y="158"/>
                  <a:pt x="556" y="162"/>
                </a:cubicBezTo>
                <a:cubicBezTo>
                  <a:pt x="556" y="166"/>
                  <a:pt x="559" y="169"/>
                  <a:pt x="564" y="169"/>
                </a:cubicBezTo>
                <a:cubicBezTo>
                  <a:pt x="568" y="169"/>
                  <a:pt x="571" y="166"/>
                  <a:pt x="571" y="162"/>
                </a:cubicBezTo>
                <a:cubicBezTo>
                  <a:pt x="571" y="158"/>
                  <a:pt x="568" y="155"/>
                  <a:pt x="564" y="155"/>
                </a:cubicBezTo>
                <a:close/>
                <a:moveTo>
                  <a:pt x="586" y="155"/>
                </a:moveTo>
                <a:cubicBezTo>
                  <a:pt x="582" y="155"/>
                  <a:pt x="579" y="158"/>
                  <a:pt x="579" y="162"/>
                </a:cubicBezTo>
                <a:cubicBezTo>
                  <a:pt x="579" y="166"/>
                  <a:pt x="582" y="169"/>
                  <a:pt x="586" y="169"/>
                </a:cubicBezTo>
                <a:cubicBezTo>
                  <a:pt x="590" y="169"/>
                  <a:pt x="593" y="166"/>
                  <a:pt x="593" y="162"/>
                </a:cubicBezTo>
                <a:cubicBezTo>
                  <a:pt x="593" y="158"/>
                  <a:pt x="590" y="155"/>
                  <a:pt x="586" y="155"/>
                </a:cubicBezTo>
                <a:close/>
                <a:moveTo>
                  <a:pt x="586" y="175"/>
                </a:moveTo>
                <a:cubicBezTo>
                  <a:pt x="582" y="175"/>
                  <a:pt x="579" y="178"/>
                  <a:pt x="579" y="182"/>
                </a:cubicBezTo>
                <a:cubicBezTo>
                  <a:pt x="579" y="185"/>
                  <a:pt x="582" y="188"/>
                  <a:pt x="586" y="188"/>
                </a:cubicBezTo>
                <a:cubicBezTo>
                  <a:pt x="590" y="188"/>
                  <a:pt x="593" y="185"/>
                  <a:pt x="593" y="182"/>
                </a:cubicBezTo>
                <a:cubicBezTo>
                  <a:pt x="593" y="178"/>
                  <a:pt x="590" y="175"/>
                  <a:pt x="586" y="175"/>
                </a:cubicBezTo>
                <a:close/>
                <a:moveTo>
                  <a:pt x="564" y="194"/>
                </a:moveTo>
                <a:cubicBezTo>
                  <a:pt x="559" y="194"/>
                  <a:pt x="556" y="197"/>
                  <a:pt x="556" y="201"/>
                </a:cubicBezTo>
                <a:cubicBezTo>
                  <a:pt x="556" y="205"/>
                  <a:pt x="559" y="208"/>
                  <a:pt x="564" y="208"/>
                </a:cubicBezTo>
                <a:cubicBezTo>
                  <a:pt x="568" y="208"/>
                  <a:pt x="571" y="205"/>
                  <a:pt x="571" y="201"/>
                </a:cubicBezTo>
                <a:cubicBezTo>
                  <a:pt x="571" y="197"/>
                  <a:pt x="568" y="194"/>
                  <a:pt x="564" y="194"/>
                </a:cubicBezTo>
                <a:close/>
                <a:moveTo>
                  <a:pt x="586" y="194"/>
                </a:moveTo>
                <a:cubicBezTo>
                  <a:pt x="582" y="194"/>
                  <a:pt x="579" y="197"/>
                  <a:pt x="579" y="201"/>
                </a:cubicBezTo>
                <a:cubicBezTo>
                  <a:pt x="579" y="205"/>
                  <a:pt x="582" y="208"/>
                  <a:pt x="586" y="208"/>
                </a:cubicBezTo>
                <a:cubicBezTo>
                  <a:pt x="590" y="208"/>
                  <a:pt x="593" y="205"/>
                  <a:pt x="593" y="201"/>
                </a:cubicBezTo>
                <a:cubicBezTo>
                  <a:pt x="593" y="197"/>
                  <a:pt x="590" y="194"/>
                  <a:pt x="586" y="194"/>
                </a:cubicBezTo>
                <a:close/>
                <a:moveTo>
                  <a:pt x="564" y="214"/>
                </a:moveTo>
                <a:cubicBezTo>
                  <a:pt x="559" y="214"/>
                  <a:pt x="556" y="217"/>
                  <a:pt x="556" y="220"/>
                </a:cubicBezTo>
                <a:cubicBezTo>
                  <a:pt x="556" y="224"/>
                  <a:pt x="559" y="227"/>
                  <a:pt x="564" y="227"/>
                </a:cubicBezTo>
                <a:cubicBezTo>
                  <a:pt x="568" y="227"/>
                  <a:pt x="571" y="224"/>
                  <a:pt x="571" y="220"/>
                </a:cubicBezTo>
                <a:cubicBezTo>
                  <a:pt x="571" y="217"/>
                  <a:pt x="568" y="214"/>
                  <a:pt x="564" y="214"/>
                </a:cubicBezTo>
                <a:close/>
                <a:moveTo>
                  <a:pt x="609" y="136"/>
                </a:moveTo>
                <a:cubicBezTo>
                  <a:pt x="605" y="136"/>
                  <a:pt x="601" y="139"/>
                  <a:pt x="601" y="143"/>
                </a:cubicBezTo>
                <a:cubicBezTo>
                  <a:pt x="601" y="146"/>
                  <a:pt x="605" y="149"/>
                  <a:pt x="609" y="149"/>
                </a:cubicBezTo>
                <a:cubicBezTo>
                  <a:pt x="613" y="149"/>
                  <a:pt x="616" y="146"/>
                  <a:pt x="616" y="143"/>
                </a:cubicBezTo>
                <a:cubicBezTo>
                  <a:pt x="616" y="139"/>
                  <a:pt x="613" y="136"/>
                  <a:pt x="609" y="136"/>
                </a:cubicBezTo>
                <a:close/>
                <a:moveTo>
                  <a:pt x="631" y="136"/>
                </a:moveTo>
                <a:cubicBezTo>
                  <a:pt x="627" y="136"/>
                  <a:pt x="623" y="139"/>
                  <a:pt x="623" y="143"/>
                </a:cubicBezTo>
                <a:cubicBezTo>
                  <a:pt x="623" y="146"/>
                  <a:pt x="627" y="149"/>
                  <a:pt x="631" y="149"/>
                </a:cubicBezTo>
                <a:cubicBezTo>
                  <a:pt x="635" y="149"/>
                  <a:pt x="638" y="146"/>
                  <a:pt x="638" y="143"/>
                </a:cubicBezTo>
                <a:cubicBezTo>
                  <a:pt x="638" y="139"/>
                  <a:pt x="635" y="136"/>
                  <a:pt x="631" y="136"/>
                </a:cubicBezTo>
                <a:close/>
                <a:moveTo>
                  <a:pt x="609" y="155"/>
                </a:moveTo>
                <a:cubicBezTo>
                  <a:pt x="605" y="155"/>
                  <a:pt x="601" y="158"/>
                  <a:pt x="601" y="162"/>
                </a:cubicBezTo>
                <a:cubicBezTo>
                  <a:pt x="601" y="166"/>
                  <a:pt x="605" y="169"/>
                  <a:pt x="609" y="169"/>
                </a:cubicBezTo>
                <a:cubicBezTo>
                  <a:pt x="613" y="169"/>
                  <a:pt x="616" y="166"/>
                  <a:pt x="616" y="162"/>
                </a:cubicBezTo>
                <a:cubicBezTo>
                  <a:pt x="616" y="158"/>
                  <a:pt x="613" y="155"/>
                  <a:pt x="609" y="155"/>
                </a:cubicBezTo>
                <a:close/>
                <a:moveTo>
                  <a:pt x="631" y="155"/>
                </a:moveTo>
                <a:cubicBezTo>
                  <a:pt x="627" y="155"/>
                  <a:pt x="623" y="158"/>
                  <a:pt x="623" y="162"/>
                </a:cubicBezTo>
                <a:cubicBezTo>
                  <a:pt x="623" y="166"/>
                  <a:pt x="627" y="169"/>
                  <a:pt x="631" y="169"/>
                </a:cubicBezTo>
                <a:cubicBezTo>
                  <a:pt x="635" y="169"/>
                  <a:pt x="638" y="166"/>
                  <a:pt x="638" y="162"/>
                </a:cubicBezTo>
                <a:cubicBezTo>
                  <a:pt x="638" y="158"/>
                  <a:pt x="635" y="155"/>
                  <a:pt x="631" y="155"/>
                </a:cubicBezTo>
                <a:close/>
                <a:moveTo>
                  <a:pt x="631" y="175"/>
                </a:moveTo>
                <a:cubicBezTo>
                  <a:pt x="627" y="175"/>
                  <a:pt x="623" y="178"/>
                  <a:pt x="623" y="182"/>
                </a:cubicBezTo>
                <a:cubicBezTo>
                  <a:pt x="623" y="185"/>
                  <a:pt x="627" y="188"/>
                  <a:pt x="631" y="188"/>
                </a:cubicBezTo>
                <a:cubicBezTo>
                  <a:pt x="635" y="188"/>
                  <a:pt x="638" y="185"/>
                  <a:pt x="638" y="182"/>
                </a:cubicBezTo>
                <a:cubicBezTo>
                  <a:pt x="638" y="178"/>
                  <a:pt x="635" y="175"/>
                  <a:pt x="631" y="175"/>
                </a:cubicBezTo>
                <a:close/>
                <a:moveTo>
                  <a:pt x="631" y="233"/>
                </a:moveTo>
                <a:cubicBezTo>
                  <a:pt x="627" y="233"/>
                  <a:pt x="623" y="236"/>
                  <a:pt x="623" y="239"/>
                </a:cubicBezTo>
                <a:cubicBezTo>
                  <a:pt x="623" y="243"/>
                  <a:pt x="627" y="245"/>
                  <a:pt x="631" y="245"/>
                </a:cubicBezTo>
                <a:cubicBezTo>
                  <a:pt x="635" y="245"/>
                  <a:pt x="638" y="243"/>
                  <a:pt x="638" y="239"/>
                </a:cubicBezTo>
                <a:cubicBezTo>
                  <a:pt x="638" y="236"/>
                  <a:pt x="635" y="233"/>
                  <a:pt x="631" y="233"/>
                </a:cubicBezTo>
                <a:close/>
                <a:moveTo>
                  <a:pt x="631" y="271"/>
                </a:moveTo>
                <a:cubicBezTo>
                  <a:pt x="627" y="271"/>
                  <a:pt x="623" y="274"/>
                  <a:pt x="623" y="278"/>
                </a:cubicBezTo>
                <a:cubicBezTo>
                  <a:pt x="623" y="282"/>
                  <a:pt x="627" y="285"/>
                  <a:pt x="631" y="285"/>
                </a:cubicBezTo>
                <a:cubicBezTo>
                  <a:pt x="635" y="285"/>
                  <a:pt x="638" y="282"/>
                  <a:pt x="638" y="278"/>
                </a:cubicBezTo>
                <a:cubicBezTo>
                  <a:pt x="638" y="274"/>
                  <a:pt x="635" y="271"/>
                  <a:pt x="631" y="271"/>
                </a:cubicBezTo>
                <a:close/>
                <a:moveTo>
                  <a:pt x="652" y="155"/>
                </a:moveTo>
                <a:cubicBezTo>
                  <a:pt x="648" y="155"/>
                  <a:pt x="645" y="158"/>
                  <a:pt x="645" y="162"/>
                </a:cubicBezTo>
                <a:cubicBezTo>
                  <a:pt x="645" y="166"/>
                  <a:pt x="648" y="169"/>
                  <a:pt x="652" y="169"/>
                </a:cubicBezTo>
                <a:cubicBezTo>
                  <a:pt x="657" y="169"/>
                  <a:pt x="660" y="166"/>
                  <a:pt x="660" y="162"/>
                </a:cubicBezTo>
                <a:cubicBezTo>
                  <a:pt x="660" y="158"/>
                  <a:pt x="657" y="155"/>
                  <a:pt x="652" y="155"/>
                </a:cubicBezTo>
                <a:close/>
                <a:moveTo>
                  <a:pt x="675" y="156"/>
                </a:moveTo>
                <a:cubicBezTo>
                  <a:pt x="671" y="156"/>
                  <a:pt x="667" y="159"/>
                  <a:pt x="667" y="163"/>
                </a:cubicBezTo>
                <a:cubicBezTo>
                  <a:pt x="667" y="167"/>
                  <a:pt x="671" y="170"/>
                  <a:pt x="675" y="170"/>
                </a:cubicBezTo>
                <a:cubicBezTo>
                  <a:pt x="679" y="170"/>
                  <a:pt x="682" y="167"/>
                  <a:pt x="682" y="163"/>
                </a:cubicBezTo>
                <a:cubicBezTo>
                  <a:pt x="682" y="159"/>
                  <a:pt x="679" y="156"/>
                  <a:pt x="675" y="156"/>
                </a:cubicBezTo>
                <a:close/>
                <a:moveTo>
                  <a:pt x="652" y="175"/>
                </a:moveTo>
                <a:cubicBezTo>
                  <a:pt x="648" y="175"/>
                  <a:pt x="645" y="178"/>
                  <a:pt x="645" y="182"/>
                </a:cubicBezTo>
                <a:cubicBezTo>
                  <a:pt x="645" y="185"/>
                  <a:pt x="648" y="188"/>
                  <a:pt x="652" y="188"/>
                </a:cubicBezTo>
                <a:cubicBezTo>
                  <a:pt x="657" y="188"/>
                  <a:pt x="660" y="185"/>
                  <a:pt x="660" y="182"/>
                </a:cubicBezTo>
                <a:cubicBezTo>
                  <a:pt x="660" y="178"/>
                  <a:pt x="657" y="175"/>
                  <a:pt x="652" y="175"/>
                </a:cubicBezTo>
                <a:close/>
                <a:moveTo>
                  <a:pt x="675" y="175"/>
                </a:moveTo>
                <a:cubicBezTo>
                  <a:pt x="671" y="175"/>
                  <a:pt x="667" y="178"/>
                  <a:pt x="667" y="182"/>
                </a:cubicBezTo>
                <a:cubicBezTo>
                  <a:pt x="667" y="186"/>
                  <a:pt x="671" y="189"/>
                  <a:pt x="675" y="189"/>
                </a:cubicBezTo>
                <a:cubicBezTo>
                  <a:pt x="679" y="189"/>
                  <a:pt x="682" y="186"/>
                  <a:pt x="682" y="182"/>
                </a:cubicBezTo>
                <a:cubicBezTo>
                  <a:pt x="682" y="178"/>
                  <a:pt x="679" y="175"/>
                  <a:pt x="675" y="175"/>
                </a:cubicBezTo>
                <a:close/>
                <a:moveTo>
                  <a:pt x="652" y="194"/>
                </a:moveTo>
                <a:cubicBezTo>
                  <a:pt x="648" y="194"/>
                  <a:pt x="645" y="197"/>
                  <a:pt x="645" y="201"/>
                </a:cubicBezTo>
                <a:cubicBezTo>
                  <a:pt x="645" y="205"/>
                  <a:pt x="648" y="208"/>
                  <a:pt x="652" y="208"/>
                </a:cubicBezTo>
                <a:cubicBezTo>
                  <a:pt x="657" y="208"/>
                  <a:pt x="660" y="205"/>
                  <a:pt x="660" y="201"/>
                </a:cubicBezTo>
                <a:cubicBezTo>
                  <a:pt x="660" y="197"/>
                  <a:pt x="657" y="194"/>
                  <a:pt x="652" y="194"/>
                </a:cubicBezTo>
                <a:close/>
                <a:moveTo>
                  <a:pt x="675" y="195"/>
                </a:moveTo>
                <a:cubicBezTo>
                  <a:pt x="671" y="195"/>
                  <a:pt x="667" y="198"/>
                  <a:pt x="667" y="201"/>
                </a:cubicBezTo>
                <a:cubicBezTo>
                  <a:pt x="667" y="205"/>
                  <a:pt x="671" y="208"/>
                  <a:pt x="675" y="208"/>
                </a:cubicBezTo>
                <a:cubicBezTo>
                  <a:pt x="679" y="208"/>
                  <a:pt x="682" y="205"/>
                  <a:pt x="682" y="201"/>
                </a:cubicBezTo>
                <a:cubicBezTo>
                  <a:pt x="682" y="198"/>
                  <a:pt x="679" y="195"/>
                  <a:pt x="675" y="195"/>
                </a:cubicBezTo>
                <a:close/>
                <a:moveTo>
                  <a:pt x="652" y="214"/>
                </a:moveTo>
                <a:cubicBezTo>
                  <a:pt x="648" y="214"/>
                  <a:pt x="645" y="217"/>
                  <a:pt x="645" y="220"/>
                </a:cubicBezTo>
                <a:cubicBezTo>
                  <a:pt x="645" y="224"/>
                  <a:pt x="648" y="227"/>
                  <a:pt x="652" y="227"/>
                </a:cubicBezTo>
                <a:cubicBezTo>
                  <a:pt x="657" y="227"/>
                  <a:pt x="660" y="224"/>
                  <a:pt x="660" y="220"/>
                </a:cubicBezTo>
                <a:cubicBezTo>
                  <a:pt x="660" y="217"/>
                  <a:pt x="657" y="214"/>
                  <a:pt x="652" y="214"/>
                </a:cubicBezTo>
                <a:close/>
                <a:moveTo>
                  <a:pt x="675" y="214"/>
                </a:moveTo>
                <a:cubicBezTo>
                  <a:pt x="671" y="214"/>
                  <a:pt x="667" y="217"/>
                  <a:pt x="667" y="221"/>
                </a:cubicBezTo>
                <a:cubicBezTo>
                  <a:pt x="667" y="224"/>
                  <a:pt x="671" y="227"/>
                  <a:pt x="675" y="227"/>
                </a:cubicBezTo>
                <a:cubicBezTo>
                  <a:pt x="679" y="227"/>
                  <a:pt x="682" y="224"/>
                  <a:pt x="682" y="221"/>
                </a:cubicBezTo>
                <a:cubicBezTo>
                  <a:pt x="682" y="217"/>
                  <a:pt x="679" y="214"/>
                  <a:pt x="675" y="214"/>
                </a:cubicBezTo>
                <a:close/>
                <a:moveTo>
                  <a:pt x="652" y="233"/>
                </a:moveTo>
                <a:cubicBezTo>
                  <a:pt x="648" y="233"/>
                  <a:pt x="645" y="236"/>
                  <a:pt x="645" y="239"/>
                </a:cubicBezTo>
                <a:cubicBezTo>
                  <a:pt x="645" y="243"/>
                  <a:pt x="648" y="245"/>
                  <a:pt x="652" y="245"/>
                </a:cubicBezTo>
                <a:cubicBezTo>
                  <a:pt x="657" y="245"/>
                  <a:pt x="660" y="243"/>
                  <a:pt x="660" y="239"/>
                </a:cubicBezTo>
                <a:cubicBezTo>
                  <a:pt x="660" y="236"/>
                  <a:pt x="657" y="233"/>
                  <a:pt x="652" y="233"/>
                </a:cubicBezTo>
                <a:close/>
                <a:moveTo>
                  <a:pt x="675" y="233"/>
                </a:moveTo>
                <a:cubicBezTo>
                  <a:pt x="671" y="233"/>
                  <a:pt x="667" y="236"/>
                  <a:pt x="667" y="240"/>
                </a:cubicBezTo>
                <a:cubicBezTo>
                  <a:pt x="667" y="243"/>
                  <a:pt x="671" y="245"/>
                  <a:pt x="675" y="245"/>
                </a:cubicBezTo>
                <a:cubicBezTo>
                  <a:pt x="679" y="245"/>
                  <a:pt x="682" y="243"/>
                  <a:pt x="682" y="240"/>
                </a:cubicBezTo>
                <a:cubicBezTo>
                  <a:pt x="682" y="237"/>
                  <a:pt x="679" y="233"/>
                  <a:pt x="675" y="233"/>
                </a:cubicBezTo>
                <a:close/>
                <a:moveTo>
                  <a:pt x="652" y="252"/>
                </a:moveTo>
                <a:cubicBezTo>
                  <a:pt x="648" y="252"/>
                  <a:pt x="645" y="255"/>
                  <a:pt x="645" y="258"/>
                </a:cubicBezTo>
                <a:cubicBezTo>
                  <a:pt x="645" y="262"/>
                  <a:pt x="648" y="265"/>
                  <a:pt x="652" y="265"/>
                </a:cubicBezTo>
                <a:cubicBezTo>
                  <a:pt x="657" y="265"/>
                  <a:pt x="660" y="262"/>
                  <a:pt x="660" y="258"/>
                </a:cubicBezTo>
                <a:cubicBezTo>
                  <a:pt x="660" y="255"/>
                  <a:pt x="657" y="252"/>
                  <a:pt x="652" y="252"/>
                </a:cubicBezTo>
                <a:close/>
                <a:moveTo>
                  <a:pt x="652" y="271"/>
                </a:moveTo>
                <a:cubicBezTo>
                  <a:pt x="648" y="271"/>
                  <a:pt x="645" y="274"/>
                  <a:pt x="645" y="278"/>
                </a:cubicBezTo>
                <a:cubicBezTo>
                  <a:pt x="645" y="282"/>
                  <a:pt x="648" y="285"/>
                  <a:pt x="652" y="285"/>
                </a:cubicBezTo>
                <a:cubicBezTo>
                  <a:pt x="657" y="285"/>
                  <a:pt x="660" y="282"/>
                  <a:pt x="660" y="278"/>
                </a:cubicBezTo>
                <a:cubicBezTo>
                  <a:pt x="660" y="274"/>
                  <a:pt x="657" y="271"/>
                  <a:pt x="652" y="271"/>
                </a:cubicBezTo>
                <a:close/>
                <a:moveTo>
                  <a:pt x="675" y="272"/>
                </a:moveTo>
                <a:cubicBezTo>
                  <a:pt x="671" y="272"/>
                  <a:pt x="667" y="275"/>
                  <a:pt x="667" y="278"/>
                </a:cubicBezTo>
                <a:cubicBezTo>
                  <a:pt x="667" y="282"/>
                  <a:pt x="671" y="285"/>
                  <a:pt x="675" y="285"/>
                </a:cubicBezTo>
                <a:cubicBezTo>
                  <a:pt x="679" y="285"/>
                  <a:pt x="682" y="282"/>
                  <a:pt x="682" y="278"/>
                </a:cubicBezTo>
                <a:cubicBezTo>
                  <a:pt x="682" y="275"/>
                  <a:pt x="679" y="272"/>
                  <a:pt x="675" y="272"/>
                </a:cubicBezTo>
                <a:close/>
                <a:moveTo>
                  <a:pt x="698" y="21"/>
                </a:moveTo>
                <a:cubicBezTo>
                  <a:pt x="693" y="21"/>
                  <a:pt x="690" y="24"/>
                  <a:pt x="690" y="28"/>
                </a:cubicBezTo>
                <a:cubicBezTo>
                  <a:pt x="690" y="31"/>
                  <a:pt x="693" y="34"/>
                  <a:pt x="698" y="34"/>
                </a:cubicBezTo>
                <a:cubicBezTo>
                  <a:pt x="702" y="34"/>
                  <a:pt x="705" y="31"/>
                  <a:pt x="705" y="28"/>
                </a:cubicBezTo>
                <a:cubicBezTo>
                  <a:pt x="705" y="24"/>
                  <a:pt x="702" y="21"/>
                  <a:pt x="698" y="21"/>
                </a:cubicBezTo>
                <a:close/>
                <a:moveTo>
                  <a:pt x="720" y="20"/>
                </a:moveTo>
                <a:cubicBezTo>
                  <a:pt x="715" y="20"/>
                  <a:pt x="712" y="23"/>
                  <a:pt x="712" y="27"/>
                </a:cubicBezTo>
                <a:cubicBezTo>
                  <a:pt x="712" y="30"/>
                  <a:pt x="715" y="33"/>
                  <a:pt x="720" y="33"/>
                </a:cubicBezTo>
                <a:cubicBezTo>
                  <a:pt x="724" y="33"/>
                  <a:pt x="727" y="30"/>
                  <a:pt x="727" y="27"/>
                </a:cubicBezTo>
                <a:cubicBezTo>
                  <a:pt x="727" y="23"/>
                  <a:pt x="724" y="20"/>
                  <a:pt x="720" y="20"/>
                </a:cubicBezTo>
                <a:close/>
                <a:moveTo>
                  <a:pt x="698" y="40"/>
                </a:moveTo>
                <a:cubicBezTo>
                  <a:pt x="693" y="40"/>
                  <a:pt x="690" y="43"/>
                  <a:pt x="690" y="47"/>
                </a:cubicBezTo>
                <a:cubicBezTo>
                  <a:pt x="690" y="50"/>
                  <a:pt x="693" y="53"/>
                  <a:pt x="698" y="53"/>
                </a:cubicBezTo>
                <a:cubicBezTo>
                  <a:pt x="702" y="53"/>
                  <a:pt x="705" y="50"/>
                  <a:pt x="705" y="47"/>
                </a:cubicBezTo>
                <a:cubicBezTo>
                  <a:pt x="705" y="43"/>
                  <a:pt x="702" y="40"/>
                  <a:pt x="698" y="40"/>
                </a:cubicBezTo>
                <a:close/>
                <a:moveTo>
                  <a:pt x="720" y="40"/>
                </a:moveTo>
                <a:cubicBezTo>
                  <a:pt x="715" y="40"/>
                  <a:pt x="712" y="43"/>
                  <a:pt x="712" y="46"/>
                </a:cubicBezTo>
                <a:cubicBezTo>
                  <a:pt x="712" y="50"/>
                  <a:pt x="715" y="53"/>
                  <a:pt x="720" y="53"/>
                </a:cubicBezTo>
                <a:cubicBezTo>
                  <a:pt x="724" y="53"/>
                  <a:pt x="727" y="50"/>
                  <a:pt x="727" y="46"/>
                </a:cubicBezTo>
                <a:cubicBezTo>
                  <a:pt x="727" y="43"/>
                  <a:pt x="724" y="40"/>
                  <a:pt x="720" y="40"/>
                </a:cubicBezTo>
                <a:close/>
                <a:moveTo>
                  <a:pt x="698" y="59"/>
                </a:moveTo>
                <a:cubicBezTo>
                  <a:pt x="693" y="59"/>
                  <a:pt x="690" y="61"/>
                  <a:pt x="690" y="65"/>
                </a:cubicBezTo>
                <a:cubicBezTo>
                  <a:pt x="690" y="69"/>
                  <a:pt x="693" y="72"/>
                  <a:pt x="698" y="72"/>
                </a:cubicBezTo>
                <a:cubicBezTo>
                  <a:pt x="702" y="72"/>
                  <a:pt x="705" y="69"/>
                  <a:pt x="705" y="65"/>
                </a:cubicBezTo>
                <a:cubicBezTo>
                  <a:pt x="705" y="63"/>
                  <a:pt x="702" y="59"/>
                  <a:pt x="698" y="59"/>
                </a:cubicBezTo>
                <a:close/>
                <a:moveTo>
                  <a:pt x="720" y="59"/>
                </a:moveTo>
                <a:cubicBezTo>
                  <a:pt x="715" y="59"/>
                  <a:pt x="712" y="62"/>
                  <a:pt x="712" y="65"/>
                </a:cubicBezTo>
                <a:cubicBezTo>
                  <a:pt x="712" y="69"/>
                  <a:pt x="715" y="72"/>
                  <a:pt x="720" y="72"/>
                </a:cubicBezTo>
                <a:cubicBezTo>
                  <a:pt x="724" y="72"/>
                  <a:pt x="727" y="69"/>
                  <a:pt x="727" y="65"/>
                </a:cubicBezTo>
                <a:cubicBezTo>
                  <a:pt x="727" y="62"/>
                  <a:pt x="724" y="59"/>
                  <a:pt x="720" y="59"/>
                </a:cubicBezTo>
                <a:close/>
                <a:moveTo>
                  <a:pt x="698" y="78"/>
                </a:moveTo>
                <a:cubicBezTo>
                  <a:pt x="693" y="78"/>
                  <a:pt x="690" y="81"/>
                  <a:pt x="690" y="85"/>
                </a:cubicBezTo>
                <a:cubicBezTo>
                  <a:pt x="690" y="88"/>
                  <a:pt x="693" y="91"/>
                  <a:pt x="698" y="91"/>
                </a:cubicBezTo>
                <a:cubicBezTo>
                  <a:pt x="702" y="91"/>
                  <a:pt x="705" y="88"/>
                  <a:pt x="705" y="85"/>
                </a:cubicBezTo>
                <a:cubicBezTo>
                  <a:pt x="705" y="81"/>
                  <a:pt x="702" y="78"/>
                  <a:pt x="698" y="78"/>
                </a:cubicBezTo>
                <a:close/>
                <a:moveTo>
                  <a:pt x="720" y="78"/>
                </a:moveTo>
                <a:cubicBezTo>
                  <a:pt x="715" y="78"/>
                  <a:pt x="712" y="81"/>
                  <a:pt x="712" y="85"/>
                </a:cubicBezTo>
                <a:cubicBezTo>
                  <a:pt x="712" y="88"/>
                  <a:pt x="715" y="91"/>
                  <a:pt x="720" y="91"/>
                </a:cubicBezTo>
                <a:cubicBezTo>
                  <a:pt x="724" y="91"/>
                  <a:pt x="727" y="88"/>
                  <a:pt x="727" y="85"/>
                </a:cubicBezTo>
                <a:cubicBezTo>
                  <a:pt x="727" y="81"/>
                  <a:pt x="724" y="78"/>
                  <a:pt x="720" y="78"/>
                </a:cubicBezTo>
                <a:close/>
                <a:moveTo>
                  <a:pt x="741" y="33"/>
                </a:moveTo>
                <a:cubicBezTo>
                  <a:pt x="746" y="33"/>
                  <a:pt x="749" y="30"/>
                  <a:pt x="749" y="27"/>
                </a:cubicBezTo>
                <a:cubicBezTo>
                  <a:pt x="749" y="23"/>
                  <a:pt x="746" y="20"/>
                  <a:pt x="741" y="20"/>
                </a:cubicBezTo>
                <a:cubicBezTo>
                  <a:pt x="737" y="20"/>
                  <a:pt x="734" y="23"/>
                  <a:pt x="734" y="27"/>
                </a:cubicBezTo>
                <a:cubicBezTo>
                  <a:pt x="734" y="30"/>
                  <a:pt x="737" y="33"/>
                  <a:pt x="741" y="33"/>
                </a:cubicBezTo>
                <a:close/>
                <a:moveTo>
                  <a:pt x="764" y="33"/>
                </a:moveTo>
                <a:cubicBezTo>
                  <a:pt x="768" y="33"/>
                  <a:pt x="771" y="30"/>
                  <a:pt x="771" y="27"/>
                </a:cubicBezTo>
                <a:cubicBezTo>
                  <a:pt x="771" y="23"/>
                  <a:pt x="768" y="20"/>
                  <a:pt x="764" y="20"/>
                </a:cubicBezTo>
                <a:cubicBezTo>
                  <a:pt x="759" y="20"/>
                  <a:pt x="756" y="23"/>
                  <a:pt x="756" y="27"/>
                </a:cubicBezTo>
                <a:cubicBezTo>
                  <a:pt x="756" y="30"/>
                  <a:pt x="759" y="33"/>
                  <a:pt x="764" y="33"/>
                </a:cubicBezTo>
                <a:close/>
                <a:moveTo>
                  <a:pt x="741" y="53"/>
                </a:moveTo>
                <a:cubicBezTo>
                  <a:pt x="746" y="53"/>
                  <a:pt x="749" y="50"/>
                  <a:pt x="749" y="46"/>
                </a:cubicBezTo>
                <a:cubicBezTo>
                  <a:pt x="749" y="43"/>
                  <a:pt x="746" y="40"/>
                  <a:pt x="741" y="40"/>
                </a:cubicBezTo>
                <a:cubicBezTo>
                  <a:pt x="737" y="40"/>
                  <a:pt x="734" y="43"/>
                  <a:pt x="734" y="46"/>
                </a:cubicBezTo>
                <a:cubicBezTo>
                  <a:pt x="734" y="50"/>
                  <a:pt x="737" y="53"/>
                  <a:pt x="741" y="53"/>
                </a:cubicBezTo>
                <a:close/>
                <a:moveTo>
                  <a:pt x="764" y="53"/>
                </a:moveTo>
                <a:cubicBezTo>
                  <a:pt x="768" y="53"/>
                  <a:pt x="771" y="50"/>
                  <a:pt x="771" y="46"/>
                </a:cubicBezTo>
                <a:cubicBezTo>
                  <a:pt x="771" y="43"/>
                  <a:pt x="768" y="40"/>
                  <a:pt x="764" y="40"/>
                </a:cubicBezTo>
                <a:cubicBezTo>
                  <a:pt x="759" y="40"/>
                  <a:pt x="756" y="43"/>
                  <a:pt x="756" y="46"/>
                </a:cubicBezTo>
                <a:cubicBezTo>
                  <a:pt x="756" y="50"/>
                  <a:pt x="759" y="53"/>
                  <a:pt x="764" y="53"/>
                </a:cubicBezTo>
                <a:close/>
                <a:moveTo>
                  <a:pt x="741" y="72"/>
                </a:moveTo>
                <a:cubicBezTo>
                  <a:pt x="746" y="72"/>
                  <a:pt x="749" y="69"/>
                  <a:pt x="749" y="65"/>
                </a:cubicBezTo>
                <a:cubicBezTo>
                  <a:pt x="749" y="62"/>
                  <a:pt x="746" y="59"/>
                  <a:pt x="741" y="59"/>
                </a:cubicBezTo>
                <a:cubicBezTo>
                  <a:pt x="737" y="59"/>
                  <a:pt x="734" y="62"/>
                  <a:pt x="734" y="65"/>
                </a:cubicBezTo>
                <a:cubicBezTo>
                  <a:pt x="734" y="69"/>
                  <a:pt x="737" y="72"/>
                  <a:pt x="741" y="72"/>
                </a:cubicBezTo>
                <a:close/>
                <a:moveTo>
                  <a:pt x="764" y="72"/>
                </a:moveTo>
                <a:cubicBezTo>
                  <a:pt x="768" y="72"/>
                  <a:pt x="771" y="69"/>
                  <a:pt x="771" y="65"/>
                </a:cubicBezTo>
                <a:cubicBezTo>
                  <a:pt x="771" y="62"/>
                  <a:pt x="768" y="59"/>
                  <a:pt x="764" y="59"/>
                </a:cubicBezTo>
                <a:cubicBezTo>
                  <a:pt x="759" y="59"/>
                  <a:pt x="756" y="62"/>
                  <a:pt x="756" y="65"/>
                </a:cubicBezTo>
                <a:cubicBezTo>
                  <a:pt x="756" y="69"/>
                  <a:pt x="759" y="72"/>
                  <a:pt x="764" y="72"/>
                </a:cubicBezTo>
                <a:close/>
                <a:moveTo>
                  <a:pt x="741" y="91"/>
                </a:moveTo>
                <a:cubicBezTo>
                  <a:pt x="746" y="91"/>
                  <a:pt x="749" y="88"/>
                  <a:pt x="749" y="85"/>
                </a:cubicBezTo>
                <a:cubicBezTo>
                  <a:pt x="749" y="81"/>
                  <a:pt x="746" y="78"/>
                  <a:pt x="741" y="78"/>
                </a:cubicBezTo>
                <a:cubicBezTo>
                  <a:pt x="737" y="78"/>
                  <a:pt x="734" y="81"/>
                  <a:pt x="734" y="85"/>
                </a:cubicBezTo>
                <a:cubicBezTo>
                  <a:pt x="734" y="88"/>
                  <a:pt x="737" y="91"/>
                  <a:pt x="741" y="91"/>
                </a:cubicBezTo>
                <a:close/>
                <a:moveTo>
                  <a:pt x="764" y="91"/>
                </a:moveTo>
                <a:cubicBezTo>
                  <a:pt x="768" y="91"/>
                  <a:pt x="771" y="88"/>
                  <a:pt x="771" y="85"/>
                </a:cubicBezTo>
                <a:cubicBezTo>
                  <a:pt x="771" y="81"/>
                  <a:pt x="768" y="78"/>
                  <a:pt x="764" y="78"/>
                </a:cubicBezTo>
                <a:cubicBezTo>
                  <a:pt x="759" y="78"/>
                  <a:pt x="756" y="81"/>
                  <a:pt x="756" y="85"/>
                </a:cubicBezTo>
                <a:cubicBezTo>
                  <a:pt x="756" y="88"/>
                  <a:pt x="759" y="91"/>
                  <a:pt x="764" y="91"/>
                </a:cubicBezTo>
                <a:close/>
                <a:moveTo>
                  <a:pt x="741" y="110"/>
                </a:moveTo>
                <a:cubicBezTo>
                  <a:pt x="746" y="110"/>
                  <a:pt x="749" y="107"/>
                  <a:pt x="749" y="104"/>
                </a:cubicBezTo>
                <a:cubicBezTo>
                  <a:pt x="749" y="100"/>
                  <a:pt x="746" y="97"/>
                  <a:pt x="741" y="97"/>
                </a:cubicBezTo>
                <a:cubicBezTo>
                  <a:pt x="737" y="97"/>
                  <a:pt x="734" y="100"/>
                  <a:pt x="734" y="104"/>
                </a:cubicBezTo>
                <a:cubicBezTo>
                  <a:pt x="734" y="107"/>
                  <a:pt x="737" y="110"/>
                  <a:pt x="741" y="110"/>
                </a:cubicBezTo>
                <a:close/>
                <a:moveTo>
                  <a:pt x="764" y="110"/>
                </a:moveTo>
                <a:cubicBezTo>
                  <a:pt x="768" y="110"/>
                  <a:pt x="771" y="107"/>
                  <a:pt x="771" y="104"/>
                </a:cubicBezTo>
                <a:cubicBezTo>
                  <a:pt x="771" y="100"/>
                  <a:pt x="768" y="97"/>
                  <a:pt x="764" y="97"/>
                </a:cubicBezTo>
                <a:cubicBezTo>
                  <a:pt x="759" y="97"/>
                  <a:pt x="756" y="100"/>
                  <a:pt x="756" y="104"/>
                </a:cubicBezTo>
                <a:cubicBezTo>
                  <a:pt x="756" y="107"/>
                  <a:pt x="759" y="110"/>
                  <a:pt x="764" y="110"/>
                </a:cubicBezTo>
                <a:close/>
                <a:moveTo>
                  <a:pt x="764" y="130"/>
                </a:moveTo>
                <a:cubicBezTo>
                  <a:pt x="768" y="130"/>
                  <a:pt x="771" y="127"/>
                  <a:pt x="771" y="123"/>
                </a:cubicBezTo>
                <a:cubicBezTo>
                  <a:pt x="771" y="119"/>
                  <a:pt x="768" y="116"/>
                  <a:pt x="764" y="116"/>
                </a:cubicBezTo>
                <a:cubicBezTo>
                  <a:pt x="759" y="116"/>
                  <a:pt x="756" y="119"/>
                  <a:pt x="756" y="123"/>
                </a:cubicBezTo>
                <a:cubicBezTo>
                  <a:pt x="756" y="127"/>
                  <a:pt x="759" y="130"/>
                  <a:pt x="764" y="130"/>
                </a:cubicBezTo>
                <a:close/>
                <a:moveTo>
                  <a:pt x="786" y="33"/>
                </a:moveTo>
                <a:cubicBezTo>
                  <a:pt x="791" y="33"/>
                  <a:pt x="794" y="30"/>
                  <a:pt x="794" y="27"/>
                </a:cubicBezTo>
                <a:cubicBezTo>
                  <a:pt x="794" y="23"/>
                  <a:pt x="791" y="20"/>
                  <a:pt x="786" y="20"/>
                </a:cubicBezTo>
                <a:cubicBezTo>
                  <a:pt x="782" y="20"/>
                  <a:pt x="779" y="23"/>
                  <a:pt x="779" y="27"/>
                </a:cubicBezTo>
                <a:cubicBezTo>
                  <a:pt x="779" y="30"/>
                  <a:pt x="782" y="33"/>
                  <a:pt x="786" y="33"/>
                </a:cubicBezTo>
                <a:close/>
                <a:moveTo>
                  <a:pt x="808" y="20"/>
                </a:moveTo>
                <a:cubicBezTo>
                  <a:pt x="804" y="20"/>
                  <a:pt x="801" y="23"/>
                  <a:pt x="801" y="27"/>
                </a:cubicBezTo>
                <a:cubicBezTo>
                  <a:pt x="801" y="30"/>
                  <a:pt x="804" y="33"/>
                  <a:pt x="808" y="33"/>
                </a:cubicBezTo>
                <a:cubicBezTo>
                  <a:pt x="813" y="33"/>
                  <a:pt x="816" y="30"/>
                  <a:pt x="816" y="27"/>
                </a:cubicBezTo>
                <a:cubicBezTo>
                  <a:pt x="816" y="23"/>
                  <a:pt x="813" y="20"/>
                  <a:pt x="808" y="20"/>
                </a:cubicBezTo>
                <a:close/>
                <a:moveTo>
                  <a:pt x="786" y="53"/>
                </a:moveTo>
                <a:cubicBezTo>
                  <a:pt x="791" y="53"/>
                  <a:pt x="794" y="50"/>
                  <a:pt x="794" y="46"/>
                </a:cubicBezTo>
                <a:cubicBezTo>
                  <a:pt x="794" y="43"/>
                  <a:pt x="791" y="40"/>
                  <a:pt x="786" y="40"/>
                </a:cubicBezTo>
                <a:cubicBezTo>
                  <a:pt x="782" y="40"/>
                  <a:pt x="779" y="43"/>
                  <a:pt x="779" y="46"/>
                </a:cubicBezTo>
                <a:cubicBezTo>
                  <a:pt x="779" y="50"/>
                  <a:pt x="782" y="53"/>
                  <a:pt x="786" y="53"/>
                </a:cubicBezTo>
                <a:close/>
                <a:moveTo>
                  <a:pt x="808" y="40"/>
                </a:moveTo>
                <a:cubicBezTo>
                  <a:pt x="804" y="40"/>
                  <a:pt x="801" y="43"/>
                  <a:pt x="801" y="46"/>
                </a:cubicBezTo>
                <a:cubicBezTo>
                  <a:pt x="801" y="50"/>
                  <a:pt x="804" y="53"/>
                  <a:pt x="808" y="53"/>
                </a:cubicBezTo>
                <a:cubicBezTo>
                  <a:pt x="813" y="53"/>
                  <a:pt x="816" y="50"/>
                  <a:pt x="816" y="46"/>
                </a:cubicBezTo>
                <a:cubicBezTo>
                  <a:pt x="816" y="43"/>
                  <a:pt x="813" y="40"/>
                  <a:pt x="808" y="40"/>
                </a:cubicBezTo>
                <a:close/>
                <a:moveTo>
                  <a:pt x="786" y="72"/>
                </a:moveTo>
                <a:cubicBezTo>
                  <a:pt x="791" y="72"/>
                  <a:pt x="794" y="69"/>
                  <a:pt x="794" y="65"/>
                </a:cubicBezTo>
                <a:cubicBezTo>
                  <a:pt x="794" y="62"/>
                  <a:pt x="791" y="59"/>
                  <a:pt x="786" y="59"/>
                </a:cubicBezTo>
                <a:cubicBezTo>
                  <a:pt x="782" y="59"/>
                  <a:pt x="779" y="62"/>
                  <a:pt x="779" y="65"/>
                </a:cubicBezTo>
                <a:cubicBezTo>
                  <a:pt x="779" y="69"/>
                  <a:pt x="782" y="72"/>
                  <a:pt x="786" y="72"/>
                </a:cubicBezTo>
                <a:close/>
                <a:moveTo>
                  <a:pt x="808" y="59"/>
                </a:moveTo>
                <a:cubicBezTo>
                  <a:pt x="804" y="59"/>
                  <a:pt x="801" y="62"/>
                  <a:pt x="801" y="65"/>
                </a:cubicBezTo>
                <a:cubicBezTo>
                  <a:pt x="801" y="69"/>
                  <a:pt x="804" y="72"/>
                  <a:pt x="808" y="72"/>
                </a:cubicBezTo>
                <a:cubicBezTo>
                  <a:pt x="813" y="72"/>
                  <a:pt x="816" y="69"/>
                  <a:pt x="816" y="65"/>
                </a:cubicBezTo>
                <a:cubicBezTo>
                  <a:pt x="816" y="62"/>
                  <a:pt x="813" y="59"/>
                  <a:pt x="808" y="59"/>
                </a:cubicBezTo>
                <a:close/>
                <a:moveTo>
                  <a:pt x="786" y="91"/>
                </a:moveTo>
                <a:cubicBezTo>
                  <a:pt x="791" y="91"/>
                  <a:pt x="794" y="88"/>
                  <a:pt x="794" y="85"/>
                </a:cubicBezTo>
                <a:cubicBezTo>
                  <a:pt x="794" y="81"/>
                  <a:pt x="791" y="78"/>
                  <a:pt x="786" y="78"/>
                </a:cubicBezTo>
                <a:cubicBezTo>
                  <a:pt x="782" y="78"/>
                  <a:pt x="779" y="81"/>
                  <a:pt x="779" y="85"/>
                </a:cubicBezTo>
                <a:cubicBezTo>
                  <a:pt x="779" y="88"/>
                  <a:pt x="782" y="91"/>
                  <a:pt x="786" y="91"/>
                </a:cubicBezTo>
                <a:close/>
                <a:moveTo>
                  <a:pt x="808" y="78"/>
                </a:moveTo>
                <a:cubicBezTo>
                  <a:pt x="804" y="78"/>
                  <a:pt x="801" y="81"/>
                  <a:pt x="801" y="85"/>
                </a:cubicBezTo>
                <a:cubicBezTo>
                  <a:pt x="801" y="88"/>
                  <a:pt x="804" y="91"/>
                  <a:pt x="808" y="91"/>
                </a:cubicBezTo>
                <a:cubicBezTo>
                  <a:pt x="813" y="91"/>
                  <a:pt x="816" y="88"/>
                  <a:pt x="816" y="85"/>
                </a:cubicBezTo>
                <a:cubicBezTo>
                  <a:pt x="816" y="81"/>
                  <a:pt x="813" y="78"/>
                  <a:pt x="808" y="78"/>
                </a:cubicBezTo>
                <a:close/>
                <a:moveTo>
                  <a:pt x="786" y="110"/>
                </a:moveTo>
                <a:cubicBezTo>
                  <a:pt x="791" y="110"/>
                  <a:pt x="794" y="107"/>
                  <a:pt x="794" y="104"/>
                </a:cubicBezTo>
                <a:cubicBezTo>
                  <a:pt x="794" y="100"/>
                  <a:pt x="791" y="97"/>
                  <a:pt x="786" y="97"/>
                </a:cubicBezTo>
                <a:cubicBezTo>
                  <a:pt x="782" y="97"/>
                  <a:pt x="779" y="100"/>
                  <a:pt x="779" y="104"/>
                </a:cubicBezTo>
                <a:cubicBezTo>
                  <a:pt x="779" y="107"/>
                  <a:pt x="782" y="110"/>
                  <a:pt x="786" y="110"/>
                </a:cubicBezTo>
                <a:close/>
                <a:moveTo>
                  <a:pt x="808" y="97"/>
                </a:moveTo>
                <a:cubicBezTo>
                  <a:pt x="804" y="97"/>
                  <a:pt x="801" y="100"/>
                  <a:pt x="801" y="104"/>
                </a:cubicBezTo>
                <a:cubicBezTo>
                  <a:pt x="801" y="107"/>
                  <a:pt x="804" y="110"/>
                  <a:pt x="808" y="110"/>
                </a:cubicBezTo>
                <a:cubicBezTo>
                  <a:pt x="813" y="110"/>
                  <a:pt x="816" y="107"/>
                  <a:pt x="816" y="104"/>
                </a:cubicBezTo>
                <a:cubicBezTo>
                  <a:pt x="816" y="100"/>
                  <a:pt x="813" y="97"/>
                  <a:pt x="808" y="97"/>
                </a:cubicBezTo>
                <a:close/>
                <a:moveTo>
                  <a:pt x="786" y="130"/>
                </a:moveTo>
                <a:cubicBezTo>
                  <a:pt x="791" y="130"/>
                  <a:pt x="794" y="127"/>
                  <a:pt x="794" y="123"/>
                </a:cubicBezTo>
                <a:cubicBezTo>
                  <a:pt x="794" y="119"/>
                  <a:pt x="791" y="116"/>
                  <a:pt x="786" y="116"/>
                </a:cubicBezTo>
                <a:cubicBezTo>
                  <a:pt x="782" y="116"/>
                  <a:pt x="779" y="119"/>
                  <a:pt x="779" y="123"/>
                </a:cubicBezTo>
                <a:cubicBezTo>
                  <a:pt x="779" y="127"/>
                  <a:pt x="782" y="130"/>
                  <a:pt x="786" y="130"/>
                </a:cubicBezTo>
                <a:close/>
                <a:moveTo>
                  <a:pt x="808" y="116"/>
                </a:moveTo>
                <a:cubicBezTo>
                  <a:pt x="804" y="116"/>
                  <a:pt x="801" y="119"/>
                  <a:pt x="801" y="123"/>
                </a:cubicBezTo>
                <a:cubicBezTo>
                  <a:pt x="801" y="127"/>
                  <a:pt x="804" y="130"/>
                  <a:pt x="808" y="130"/>
                </a:cubicBezTo>
                <a:cubicBezTo>
                  <a:pt x="813" y="130"/>
                  <a:pt x="816" y="127"/>
                  <a:pt x="816" y="123"/>
                </a:cubicBezTo>
                <a:cubicBezTo>
                  <a:pt x="816" y="119"/>
                  <a:pt x="813" y="116"/>
                  <a:pt x="808" y="116"/>
                </a:cubicBezTo>
                <a:close/>
                <a:moveTo>
                  <a:pt x="830" y="20"/>
                </a:moveTo>
                <a:cubicBezTo>
                  <a:pt x="826" y="20"/>
                  <a:pt x="822" y="23"/>
                  <a:pt x="822" y="27"/>
                </a:cubicBezTo>
                <a:cubicBezTo>
                  <a:pt x="822" y="30"/>
                  <a:pt x="826" y="33"/>
                  <a:pt x="830" y="33"/>
                </a:cubicBezTo>
                <a:cubicBezTo>
                  <a:pt x="834" y="33"/>
                  <a:pt x="838" y="30"/>
                  <a:pt x="838" y="27"/>
                </a:cubicBezTo>
                <a:cubicBezTo>
                  <a:pt x="838" y="23"/>
                  <a:pt x="834" y="20"/>
                  <a:pt x="830" y="20"/>
                </a:cubicBezTo>
                <a:close/>
                <a:moveTo>
                  <a:pt x="852" y="20"/>
                </a:moveTo>
                <a:cubicBezTo>
                  <a:pt x="848" y="20"/>
                  <a:pt x="845" y="23"/>
                  <a:pt x="845" y="27"/>
                </a:cubicBezTo>
                <a:cubicBezTo>
                  <a:pt x="845" y="30"/>
                  <a:pt x="848" y="33"/>
                  <a:pt x="852" y="33"/>
                </a:cubicBezTo>
                <a:cubicBezTo>
                  <a:pt x="857" y="33"/>
                  <a:pt x="860" y="30"/>
                  <a:pt x="860" y="27"/>
                </a:cubicBezTo>
                <a:cubicBezTo>
                  <a:pt x="860" y="23"/>
                  <a:pt x="857" y="20"/>
                  <a:pt x="852" y="20"/>
                </a:cubicBezTo>
                <a:close/>
                <a:moveTo>
                  <a:pt x="830" y="40"/>
                </a:moveTo>
                <a:cubicBezTo>
                  <a:pt x="826" y="40"/>
                  <a:pt x="822" y="43"/>
                  <a:pt x="822" y="46"/>
                </a:cubicBezTo>
                <a:cubicBezTo>
                  <a:pt x="822" y="50"/>
                  <a:pt x="826" y="53"/>
                  <a:pt x="830" y="53"/>
                </a:cubicBezTo>
                <a:cubicBezTo>
                  <a:pt x="834" y="53"/>
                  <a:pt x="838" y="50"/>
                  <a:pt x="838" y="46"/>
                </a:cubicBezTo>
                <a:cubicBezTo>
                  <a:pt x="838" y="43"/>
                  <a:pt x="834" y="40"/>
                  <a:pt x="830" y="40"/>
                </a:cubicBezTo>
                <a:close/>
                <a:moveTo>
                  <a:pt x="852" y="40"/>
                </a:moveTo>
                <a:cubicBezTo>
                  <a:pt x="848" y="40"/>
                  <a:pt x="845" y="43"/>
                  <a:pt x="845" y="46"/>
                </a:cubicBezTo>
                <a:cubicBezTo>
                  <a:pt x="845" y="50"/>
                  <a:pt x="848" y="53"/>
                  <a:pt x="852" y="53"/>
                </a:cubicBezTo>
                <a:cubicBezTo>
                  <a:pt x="857" y="53"/>
                  <a:pt x="860" y="50"/>
                  <a:pt x="860" y="46"/>
                </a:cubicBezTo>
                <a:cubicBezTo>
                  <a:pt x="860" y="43"/>
                  <a:pt x="857" y="40"/>
                  <a:pt x="852" y="40"/>
                </a:cubicBezTo>
                <a:close/>
                <a:moveTo>
                  <a:pt x="830" y="59"/>
                </a:moveTo>
                <a:cubicBezTo>
                  <a:pt x="826" y="59"/>
                  <a:pt x="822" y="62"/>
                  <a:pt x="822" y="65"/>
                </a:cubicBezTo>
                <a:cubicBezTo>
                  <a:pt x="822" y="69"/>
                  <a:pt x="826" y="72"/>
                  <a:pt x="830" y="72"/>
                </a:cubicBezTo>
                <a:cubicBezTo>
                  <a:pt x="834" y="72"/>
                  <a:pt x="838" y="69"/>
                  <a:pt x="838" y="65"/>
                </a:cubicBezTo>
                <a:cubicBezTo>
                  <a:pt x="838" y="62"/>
                  <a:pt x="834" y="59"/>
                  <a:pt x="830" y="59"/>
                </a:cubicBezTo>
                <a:close/>
                <a:moveTo>
                  <a:pt x="852" y="59"/>
                </a:moveTo>
                <a:cubicBezTo>
                  <a:pt x="848" y="59"/>
                  <a:pt x="845" y="62"/>
                  <a:pt x="845" y="65"/>
                </a:cubicBezTo>
                <a:cubicBezTo>
                  <a:pt x="845" y="69"/>
                  <a:pt x="848" y="72"/>
                  <a:pt x="852" y="72"/>
                </a:cubicBezTo>
                <a:cubicBezTo>
                  <a:pt x="857" y="72"/>
                  <a:pt x="860" y="69"/>
                  <a:pt x="860" y="65"/>
                </a:cubicBezTo>
                <a:cubicBezTo>
                  <a:pt x="860" y="62"/>
                  <a:pt x="857" y="59"/>
                  <a:pt x="852" y="59"/>
                </a:cubicBezTo>
                <a:close/>
                <a:moveTo>
                  <a:pt x="830" y="78"/>
                </a:moveTo>
                <a:cubicBezTo>
                  <a:pt x="826" y="78"/>
                  <a:pt x="822" y="81"/>
                  <a:pt x="822" y="85"/>
                </a:cubicBezTo>
                <a:cubicBezTo>
                  <a:pt x="822" y="88"/>
                  <a:pt x="826" y="91"/>
                  <a:pt x="830" y="91"/>
                </a:cubicBezTo>
                <a:cubicBezTo>
                  <a:pt x="834" y="91"/>
                  <a:pt x="838" y="88"/>
                  <a:pt x="838" y="85"/>
                </a:cubicBezTo>
                <a:cubicBezTo>
                  <a:pt x="838" y="81"/>
                  <a:pt x="834" y="78"/>
                  <a:pt x="830" y="78"/>
                </a:cubicBezTo>
                <a:close/>
                <a:moveTo>
                  <a:pt x="852" y="78"/>
                </a:moveTo>
                <a:cubicBezTo>
                  <a:pt x="848" y="78"/>
                  <a:pt x="845" y="81"/>
                  <a:pt x="845" y="85"/>
                </a:cubicBezTo>
                <a:cubicBezTo>
                  <a:pt x="845" y="88"/>
                  <a:pt x="848" y="91"/>
                  <a:pt x="852" y="91"/>
                </a:cubicBezTo>
                <a:cubicBezTo>
                  <a:pt x="857" y="91"/>
                  <a:pt x="860" y="88"/>
                  <a:pt x="860" y="85"/>
                </a:cubicBezTo>
                <a:cubicBezTo>
                  <a:pt x="860" y="81"/>
                  <a:pt x="857" y="78"/>
                  <a:pt x="852" y="78"/>
                </a:cubicBezTo>
                <a:close/>
                <a:moveTo>
                  <a:pt x="830" y="97"/>
                </a:moveTo>
                <a:cubicBezTo>
                  <a:pt x="826" y="97"/>
                  <a:pt x="822" y="100"/>
                  <a:pt x="822" y="104"/>
                </a:cubicBezTo>
                <a:cubicBezTo>
                  <a:pt x="822" y="107"/>
                  <a:pt x="826" y="110"/>
                  <a:pt x="830" y="110"/>
                </a:cubicBezTo>
                <a:cubicBezTo>
                  <a:pt x="834" y="110"/>
                  <a:pt x="838" y="107"/>
                  <a:pt x="838" y="104"/>
                </a:cubicBezTo>
                <a:cubicBezTo>
                  <a:pt x="838" y="100"/>
                  <a:pt x="834" y="97"/>
                  <a:pt x="830" y="97"/>
                </a:cubicBezTo>
                <a:close/>
                <a:moveTo>
                  <a:pt x="852" y="97"/>
                </a:moveTo>
                <a:cubicBezTo>
                  <a:pt x="848" y="97"/>
                  <a:pt x="845" y="100"/>
                  <a:pt x="845" y="104"/>
                </a:cubicBezTo>
                <a:cubicBezTo>
                  <a:pt x="845" y="107"/>
                  <a:pt x="848" y="110"/>
                  <a:pt x="852" y="110"/>
                </a:cubicBezTo>
                <a:cubicBezTo>
                  <a:pt x="857" y="110"/>
                  <a:pt x="860" y="107"/>
                  <a:pt x="860" y="104"/>
                </a:cubicBezTo>
                <a:cubicBezTo>
                  <a:pt x="860" y="100"/>
                  <a:pt x="857" y="97"/>
                  <a:pt x="852" y="97"/>
                </a:cubicBezTo>
                <a:close/>
                <a:moveTo>
                  <a:pt x="830" y="116"/>
                </a:moveTo>
                <a:cubicBezTo>
                  <a:pt x="826" y="116"/>
                  <a:pt x="822" y="119"/>
                  <a:pt x="822" y="123"/>
                </a:cubicBezTo>
                <a:cubicBezTo>
                  <a:pt x="822" y="127"/>
                  <a:pt x="826" y="130"/>
                  <a:pt x="830" y="130"/>
                </a:cubicBezTo>
                <a:cubicBezTo>
                  <a:pt x="834" y="130"/>
                  <a:pt x="838" y="127"/>
                  <a:pt x="838" y="123"/>
                </a:cubicBezTo>
                <a:cubicBezTo>
                  <a:pt x="838" y="119"/>
                  <a:pt x="834" y="116"/>
                  <a:pt x="830" y="116"/>
                </a:cubicBezTo>
                <a:close/>
                <a:moveTo>
                  <a:pt x="852" y="116"/>
                </a:moveTo>
                <a:cubicBezTo>
                  <a:pt x="848" y="116"/>
                  <a:pt x="845" y="119"/>
                  <a:pt x="845" y="123"/>
                </a:cubicBezTo>
                <a:cubicBezTo>
                  <a:pt x="845" y="127"/>
                  <a:pt x="848" y="130"/>
                  <a:pt x="852" y="130"/>
                </a:cubicBezTo>
                <a:cubicBezTo>
                  <a:pt x="857" y="130"/>
                  <a:pt x="860" y="127"/>
                  <a:pt x="860" y="123"/>
                </a:cubicBezTo>
                <a:cubicBezTo>
                  <a:pt x="860" y="119"/>
                  <a:pt x="857" y="116"/>
                  <a:pt x="852" y="116"/>
                </a:cubicBezTo>
                <a:close/>
                <a:moveTo>
                  <a:pt x="698" y="195"/>
                </a:moveTo>
                <a:cubicBezTo>
                  <a:pt x="693" y="195"/>
                  <a:pt x="690" y="198"/>
                  <a:pt x="690" y="201"/>
                </a:cubicBezTo>
                <a:cubicBezTo>
                  <a:pt x="690" y="205"/>
                  <a:pt x="693" y="208"/>
                  <a:pt x="698" y="208"/>
                </a:cubicBezTo>
                <a:cubicBezTo>
                  <a:pt x="702" y="208"/>
                  <a:pt x="705" y="205"/>
                  <a:pt x="705" y="201"/>
                </a:cubicBezTo>
                <a:cubicBezTo>
                  <a:pt x="705" y="198"/>
                  <a:pt x="702" y="195"/>
                  <a:pt x="698" y="195"/>
                </a:cubicBezTo>
                <a:close/>
                <a:moveTo>
                  <a:pt x="720" y="194"/>
                </a:moveTo>
                <a:cubicBezTo>
                  <a:pt x="715" y="194"/>
                  <a:pt x="712" y="197"/>
                  <a:pt x="712" y="201"/>
                </a:cubicBezTo>
                <a:cubicBezTo>
                  <a:pt x="712" y="205"/>
                  <a:pt x="715" y="208"/>
                  <a:pt x="720" y="208"/>
                </a:cubicBezTo>
                <a:cubicBezTo>
                  <a:pt x="724" y="208"/>
                  <a:pt x="727" y="205"/>
                  <a:pt x="727" y="201"/>
                </a:cubicBezTo>
                <a:cubicBezTo>
                  <a:pt x="727" y="197"/>
                  <a:pt x="724" y="194"/>
                  <a:pt x="720" y="194"/>
                </a:cubicBezTo>
                <a:close/>
                <a:moveTo>
                  <a:pt x="698" y="214"/>
                </a:moveTo>
                <a:cubicBezTo>
                  <a:pt x="693" y="214"/>
                  <a:pt x="690" y="217"/>
                  <a:pt x="690" y="221"/>
                </a:cubicBezTo>
                <a:cubicBezTo>
                  <a:pt x="690" y="224"/>
                  <a:pt x="693" y="227"/>
                  <a:pt x="698" y="227"/>
                </a:cubicBezTo>
                <a:cubicBezTo>
                  <a:pt x="702" y="227"/>
                  <a:pt x="705" y="224"/>
                  <a:pt x="705" y="221"/>
                </a:cubicBezTo>
                <a:cubicBezTo>
                  <a:pt x="705" y="217"/>
                  <a:pt x="702" y="214"/>
                  <a:pt x="698" y="214"/>
                </a:cubicBezTo>
                <a:close/>
                <a:moveTo>
                  <a:pt x="698" y="233"/>
                </a:moveTo>
                <a:cubicBezTo>
                  <a:pt x="693" y="233"/>
                  <a:pt x="690" y="236"/>
                  <a:pt x="690" y="240"/>
                </a:cubicBezTo>
                <a:cubicBezTo>
                  <a:pt x="690" y="244"/>
                  <a:pt x="693" y="247"/>
                  <a:pt x="698" y="247"/>
                </a:cubicBezTo>
                <a:cubicBezTo>
                  <a:pt x="702" y="247"/>
                  <a:pt x="705" y="244"/>
                  <a:pt x="705" y="240"/>
                </a:cubicBezTo>
                <a:cubicBezTo>
                  <a:pt x="705" y="236"/>
                  <a:pt x="702" y="233"/>
                  <a:pt x="698" y="233"/>
                </a:cubicBezTo>
                <a:close/>
                <a:moveTo>
                  <a:pt x="698" y="272"/>
                </a:moveTo>
                <a:cubicBezTo>
                  <a:pt x="693" y="272"/>
                  <a:pt x="690" y="275"/>
                  <a:pt x="690" y="279"/>
                </a:cubicBezTo>
                <a:cubicBezTo>
                  <a:pt x="690" y="282"/>
                  <a:pt x="693" y="285"/>
                  <a:pt x="698" y="285"/>
                </a:cubicBezTo>
                <a:cubicBezTo>
                  <a:pt x="702" y="285"/>
                  <a:pt x="705" y="282"/>
                  <a:pt x="705" y="279"/>
                </a:cubicBezTo>
                <a:cubicBezTo>
                  <a:pt x="705" y="275"/>
                  <a:pt x="702" y="272"/>
                  <a:pt x="698" y="272"/>
                </a:cubicBezTo>
                <a:close/>
                <a:moveTo>
                  <a:pt x="786" y="149"/>
                </a:moveTo>
                <a:cubicBezTo>
                  <a:pt x="791" y="149"/>
                  <a:pt x="794" y="146"/>
                  <a:pt x="794" y="143"/>
                </a:cubicBezTo>
                <a:cubicBezTo>
                  <a:pt x="794" y="139"/>
                  <a:pt x="791" y="136"/>
                  <a:pt x="786" y="136"/>
                </a:cubicBezTo>
                <a:cubicBezTo>
                  <a:pt x="782" y="136"/>
                  <a:pt x="779" y="139"/>
                  <a:pt x="779" y="143"/>
                </a:cubicBezTo>
                <a:cubicBezTo>
                  <a:pt x="779" y="146"/>
                  <a:pt x="782" y="149"/>
                  <a:pt x="786" y="149"/>
                </a:cubicBezTo>
                <a:close/>
                <a:moveTo>
                  <a:pt x="808" y="136"/>
                </a:moveTo>
                <a:cubicBezTo>
                  <a:pt x="804" y="136"/>
                  <a:pt x="801" y="139"/>
                  <a:pt x="801" y="143"/>
                </a:cubicBezTo>
                <a:cubicBezTo>
                  <a:pt x="801" y="146"/>
                  <a:pt x="804" y="149"/>
                  <a:pt x="808" y="149"/>
                </a:cubicBezTo>
                <a:cubicBezTo>
                  <a:pt x="813" y="149"/>
                  <a:pt x="816" y="146"/>
                  <a:pt x="816" y="143"/>
                </a:cubicBezTo>
                <a:cubicBezTo>
                  <a:pt x="816" y="139"/>
                  <a:pt x="813" y="136"/>
                  <a:pt x="808" y="136"/>
                </a:cubicBezTo>
                <a:close/>
                <a:moveTo>
                  <a:pt x="786" y="169"/>
                </a:moveTo>
                <a:cubicBezTo>
                  <a:pt x="791" y="169"/>
                  <a:pt x="794" y="166"/>
                  <a:pt x="794" y="162"/>
                </a:cubicBezTo>
                <a:cubicBezTo>
                  <a:pt x="794" y="158"/>
                  <a:pt x="791" y="155"/>
                  <a:pt x="786" y="155"/>
                </a:cubicBezTo>
                <a:cubicBezTo>
                  <a:pt x="782" y="155"/>
                  <a:pt x="779" y="158"/>
                  <a:pt x="779" y="162"/>
                </a:cubicBezTo>
                <a:cubicBezTo>
                  <a:pt x="779" y="166"/>
                  <a:pt x="782" y="169"/>
                  <a:pt x="786" y="169"/>
                </a:cubicBezTo>
                <a:close/>
                <a:moveTo>
                  <a:pt x="808" y="155"/>
                </a:moveTo>
                <a:cubicBezTo>
                  <a:pt x="804" y="155"/>
                  <a:pt x="801" y="158"/>
                  <a:pt x="801" y="162"/>
                </a:cubicBezTo>
                <a:cubicBezTo>
                  <a:pt x="801" y="166"/>
                  <a:pt x="804" y="169"/>
                  <a:pt x="808" y="169"/>
                </a:cubicBezTo>
                <a:cubicBezTo>
                  <a:pt x="813" y="169"/>
                  <a:pt x="816" y="166"/>
                  <a:pt x="816" y="162"/>
                </a:cubicBezTo>
                <a:cubicBezTo>
                  <a:pt x="816" y="158"/>
                  <a:pt x="813" y="155"/>
                  <a:pt x="808" y="155"/>
                </a:cubicBezTo>
                <a:close/>
                <a:moveTo>
                  <a:pt x="786" y="188"/>
                </a:moveTo>
                <a:cubicBezTo>
                  <a:pt x="791" y="188"/>
                  <a:pt x="794" y="185"/>
                  <a:pt x="794" y="182"/>
                </a:cubicBezTo>
                <a:cubicBezTo>
                  <a:pt x="794" y="178"/>
                  <a:pt x="791" y="175"/>
                  <a:pt x="786" y="175"/>
                </a:cubicBezTo>
                <a:cubicBezTo>
                  <a:pt x="782" y="175"/>
                  <a:pt x="779" y="178"/>
                  <a:pt x="779" y="182"/>
                </a:cubicBezTo>
                <a:cubicBezTo>
                  <a:pt x="779" y="185"/>
                  <a:pt x="782" y="188"/>
                  <a:pt x="786" y="188"/>
                </a:cubicBezTo>
                <a:close/>
                <a:moveTo>
                  <a:pt x="808" y="175"/>
                </a:moveTo>
                <a:cubicBezTo>
                  <a:pt x="804" y="175"/>
                  <a:pt x="801" y="178"/>
                  <a:pt x="801" y="182"/>
                </a:cubicBezTo>
                <a:cubicBezTo>
                  <a:pt x="801" y="185"/>
                  <a:pt x="804" y="188"/>
                  <a:pt x="808" y="188"/>
                </a:cubicBezTo>
                <a:cubicBezTo>
                  <a:pt x="813" y="188"/>
                  <a:pt x="816" y="185"/>
                  <a:pt x="816" y="182"/>
                </a:cubicBezTo>
                <a:cubicBezTo>
                  <a:pt x="816" y="178"/>
                  <a:pt x="813" y="175"/>
                  <a:pt x="808" y="175"/>
                </a:cubicBezTo>
                <a:close/>
                <a:moveTo>
                  <a:pt x="786" y="208"/>
                </a:moveTo>
                <a:cubicBezTo>
                  <a:pt x="791" y="208"/>
                  <a:pt x="794" y="205"/>
                  <a:pt x="794" y="201"/>
                </a:cubicBezTo>
                <a:cubicBezTo>
                  <a:pt x="794" y="197"/>
                  <a:pt x="791" y="194"/>
                  <a:pt x="786" y="194"/>
                </a:cubicBezTo>
                <a:cubicBezTo>
                  <a:pt x="782" y="194"/>
                  <a:pt x="779" y="197"/>
                  <a:pt x="779" y="201"/>
                </a:cubicBezTo>
                <a:cubicBezTo>
                  <a:pt x="779" y="205"/>
                  <a:pt x="782" y="208"/>
                  <a:pt x="786" y="208"/>
                </a:cubicBezTo>
                <a:close/>
                <a:moveTo>
                  <a:pt x="808" y="194"/>
                </a:moveTo>
                <a:cubicBezTo>
                  <a:pt x="804" y="194"/>
                  <a:pt x="801" y="197"/>
                  <a:pt x="801" y="201"/>
                </a:cubicBezTo>
                <a:cubicBezTo>
                  <a:pt x="801" y="205"/>
                  <a:pt x="804" y="208"/>
                  <a:pt x="808" y="208"/>
                </a:cubicBezTo>
                <a:cubicBezTo>
                  <a:pt x="813" y="208"/>
                  <a:pt x="816" y="205"/>
                  <a:pt x="816" y="201"/>
                </a:cubicBezTo>
                <a:cubicBezTo>
                  <a:pt x="816" y="197"/>
                  <a:pt x="813" y="194"/>
                  <a:pt x="808" y="194"/>
                </a:cubicBezTo>
                <a:close/>
                <a:moveTo>
                  <a:pt x="786" y="227"/>
                </a:moveTo>
                <a:cubicBezTo>
                  <a:pt x="791" y="227"/>
                  <a:pt x="794" y="224"/>
                  <a:pt x="794" y="220"/>
                </a:cubicBezTo>
                <a:cubicBezTo>
                  <a:pt x="794" y="217"/>
                  <a:pt x="791" y="214"/>
                  <a:pt x="786" y="214"/>
                </a:cubicBezTo>
                <a:cubicBezTo>
                  <a:pt x="782" y="214"/>
                  <a:pt x="779" y="217"/>
                  <a:pt x="779" y="220"/>
                </a:cubicBezTo>
                <a:cubicBezTo>
                  <a:pt x="779" y="224"/>
                  <a:pt x="782" y="227"/>
                  <a:pt x="786" y="227"/>
                </a:cubicBezTo>
                <a:close/>
                <a:moveTo>
                  <a:pt x="808" y="214"/>
                </a:moveTo>
                <a:cubicBezTo>
                  <a:pt x="804" y="214"/>
                  <a:pt x="801" y="217"/>
                  <a:pt x="801" y="220"/>
                </a:cubicBezTo>
                <a:cubicBezTo>
                  <a:pt x="801" y="224"/>
                  <a:pt x="804" y="227"/>
                  <a:pt x="808" y="227"/>
                </a:cubicBezTo>
                <a:cubicBezTo>
                  <a:pt x="813" y="227"/>
                  <a:pt x="816" y="224"/>
                  <a:pt x="816" y="220"/>
                </a:cubicBezTo>
                <a:cubicBezTo>
                  <a:pt x="816" y="217"/>
                  <a:pt x="813" y="214"/>
                  <a:pt x="808" y="214"/>
                </a:cubicBezTo>
                <a:close/>
                <a:moveTo>
                  <a:pt x="808" y="233"/>
                </a:moveTo>
                <a:cubicBezTo>
                  <a:pt x="804" y="233"/>
                  <a:pt x="801" y="236"/>
                  <a:pt x="801" y="239"/>
                </a:cubicBezTo>
                <a:cubicBezTo>
                  <a:pt x="801" y="243"/>
                  <a:pt x="804" y="245"/>
                  <a:pt x="808" y="245"/>
                </a:cubicBezTo>
                <a:cubicBezTo>
                  <a:pt x="813" y="245"/>
                  <a:pt x="816" y="243"/>
                  <a:pt x="816" y="239"/>
                </a:cubicBezTo>
                <a:cubicBezTo>
                  <a:pt x="816" y="236"/>
                  <a:pt x="813" y="233"/>
                  <a:pt x="808" y="233"/>
                </a:cubicBezTo>
                <a:close/>
                <a:moveTo>
                  <a:pt x="808" y="252"/>
                </a:moveTo>
                <a:cubicBezTo>
                  <a:pt x="804" y="252"/>
                  <a:pt x="801" y="255"/>
                  <a:pt x="801" y="258"/>
                </a:cubicBezTo>
                <a:cubicBezTo>
                  <a:pt x="801" y="262"/>
                  <a:pt x="804" y="265"/>
                  <a:pt x="808" y="265"/>
                </a:cubicBezTo>
                <a:cubicBezTo>
                  <a:pt x="813" y="265"/>
                  <a:pt x="816" y="262"/>
                  <a:pt x="816" y="258"/>
                </a:cubicBezTo>
                <a:cubicBezTo>
                  <a:pt x="816" y="255"/>
                  <a:pt x="813" y="252"/>
                  <a:pt x="808" y="252"/>
                </a:cubicBezTo>
                <a:close/>
                <a:moveTo>
                  <a:pt x="830" y="136"/>
                </a:moveTo>
                <a:cubicBezTo>
                  <a:pt x="826" y="136"/>
                  <a:pt x="822" y="139"/>
                  <a:pt x="822" y="143"/>
                </a:cubicBezTo>
                <a:cubicBezTo>
                  <a:pt x="822" y="146"/>
                  <a:pt x="826" y="149"/>
                  <a:pt x="830" y="149"/>
                </a:cubicBezTo>
                <a:cubicBezTo>
                  <a:pt x="834" y="149"/>
                  <a:pt x="838" y="146"/>
                  <a:pt x="838" y="143"/>
                </a:cubicBezTo>
                <a:cubicBezTo>
                  <a:pt x="838" y="139"/>
                  <a:pt x="834" y="136"/>
                  <a:pt x="830" y="136"/>
                </a:cubicBezTo>
                <a:close/>
                <a:moveTo>
                  <a:pt x="852" y="136"/>
                </a:moveTo>
                <a:cubicBezTo>
                  <a:pt x="848" y="136"/>
                  <a:pt x="845" y="139"/>
                  <a:pt x="845" y="143"/>
                </a:cubicBezTo>
                <a:cubicBezTo>
                  <a:pt x="845" y="146"/>
                  <a:pt x="848" y="149"/>
                  <a:pt x="852" y="149"/>
                </a:cubicBezTo>
                <a:cubicBezTo>
                  <a:pt x="857" y="149"/>
                  <a:pt x="860" y="146"/>
                  <a:pt x="860" y="143"/>
                </a:cubicBezTo>
                <a:cubicBezTo>
                  <a:pt x="860" y="139"/>
                  <a:pt x="857" y="136"/>
                  <a:pt x="852" y="136"/>
                </a:cubicBezTo>
                <a:close/>
                <a:moveTo>
                  <a:pt x="830" y="155"/>
                </a:moveTo>
                <a:cubicBezTo>
                  <a:pt x="826" y="155"/>
                  <a:pt x="822" y="158"/>
                  <a:pt x="822" y="162"/>
                </a:cubicBezTo>
                <a:cubicBezTo>
                  <a:pt x="822" y="166"/>
                  <a:pt x="826" y="169"/>
                  <a:pt x="830" y="169"/>
                </a:cubicBezTo>
                <a:cubicBezTo>
                  <a:pt x="834" y="169"/>
                  <a:pt x="838" y="166"/>
                  <a:pt x="838" y="162"/>
                </a:cubicBezTo>
                <a:cubicBezTo>
                  <a:pt x="838" y="158"/>
                  <a:pt x="834" y="155"/>
                  <a:pt x="830" y="155"/>
                </a:cubicBezTo>
                <a:close/>
                <a:moveTo>
                  <a:pt x="852" y="155"/>
                </a:moveTo>
                <a:cubicBezTo>
                  <a:pt x="848" y="155"/>
                  <a:pt x="845" y="158"/>
                  <a:pt x="845" y="162"/>
                </a:cubicBezTo>
                <a:cubicBezTo>
                  <a:pt x="845" y="166"/>
                  <a:pt x="848" y="169"/>
                  <a:pt x="852" y="169"/>
                </a:cubicBezTo>
                <a:cubicBezTo>
                  <a:pt x="857" y="169"/>
                  <a:pt x="860" y="166"/>
                  <a:pt x="860" y="162"/>
                </a:cubicBezTo>
                <a:cubicBezTo>
                  <a:pt x="860" y="158"/>
                  <a:pt x="857" y="155"/>
                  <a:pt x="852" y="155"/>
                </a:cubicBezTo>
                <a:close/>
                <a:moveTo>
                  <a:pt x="830" y="175"/>
                </a:moveTo>
                <a:cubicBezTo>
                  <a:pt x="826" y="175"/>
                  <a:pt x="822" y="178"/>
                  <a:pt x="822" y="182"/>
                </a:cubicBezTo>
                <a:cubicBezTo>
                  <a:pt x="822" y="185"/>
                  <a:pt x="826" y="188"/>
                  <a:pt x="830" y="188"/>
                </a:cubicBezTo>
                <a:cubicBezTo>
                  <a:pt x="834" y="188"/>
                  <a:pt x="838" y="185"/>
                  <a:pt x="838" y="182"/>
                </a:cubicBezTo>
                <a:cubicBezTo>
                  <a:pt x="838" y="178"/>
                  <a:pt x="834" y="175"/>
                  <a:pt x="830" y="175"/>
                </a:cubicBezTo>
                <a:close/>
                <a:moveTo>
                  <a:pt x="852" y="175"/>
                </a:moveTo>
                <a:cubicBezTo>
                  <a:pt x="848" y="175"/>
                  <a:pt x="845" y="178"/>
                  <a:pt x="845" y="182"/>
                </a:cubicBezTo>
                <a:cubicBezTo>
                  <a:pt x="845" y="185"/>
                  <a:pt x="848" y="188"/>
                  <a:pt x="852" y="188"/>
                </a:cubicBezTo>
                <a:cubicBezTo>
                  <a:pt x="857" y="188"/>
                  <a:pt x="860" y="185"/>
                  <a:pt x="860" y="182"/>
                </a:cubicBezTo>
                <a:cubicBezTo>
                  <a:pt x="860" y="178"/>
                  <a:pt x="857" y="175"/>
                  <a:pt x="852" y="175"/>
                </a:cubicBezTo>
                <a:close/>
                <a:moveTo>
                  <a:pt x="830" y="194"/>
                </a:moveTo>
                <a:cubicBezTo>
                  <a:pt x="826" y="194"/>
                  <a:pt x="822" y="197"/>
                  <a:pt x="822" y="201"/>
                </a:cubicBezTo>
                <a:cubicBezTo>
                  <a:pt x="822" y="205"/>
                  <a:pt x="826" y="208"/>
                  <a:pt x="830" y="208"/>
                </a:cubicBezTo>
                <a:cubicBezTo>
                  <a:pt x="834" y="208"/>
                  <a:pt x="838" y="205"/>
                  <a:pt x="838" y="201"/>
                </a:cubicBezTo>
                <a:cubicBezTo>
                  <a:pt x="838" y="197"/>
                  <a:pt x="834" y="194"/>
                  <a:pt x="830" y="194"/>
                </a:cubicBezTo>
                <a:close/>
                <a:moveTo>
                  <a:pt x="852" y="194"/>
                </a:moveTo>
                <a:cubicBezTo>
                  <a:pt x="848" y="194"/>
                  <a:pt x="845" y="197"/>
                  <a:pt x="845" y="201"/>
                </a:cubicBezTo>
                <a:cubicBezTo>
                  <a:pt x="845" y="205"/>
                  <a:pt x="848" y="208"/>
                  <a:pt x="852" y="208"/>
                </a:cubicBezTo>
                <a:cubicBezTo>
                  <a:pt x="857" y="208"/>
                  <a:pt x="860" y="205"/>
                  <a:pt x="860" y="201"/>
                </a:cubicBezTo>
                <a:cubicBezTo>
                  <a:pt x="860" y="197"/>
                  <a:pt x="857" y="194"/>
                  <a:pt x="852" y="194"/>
                </a:cubicBezTo>
                <a:close/>
                <a:moveTo>
                  <a:pt x="830" y="214"/>
                </a:moveTo>
                <a:cubicBezTo>
                  <a:pt x="826" y="214"/>
                  <a:pt x="822" y="217"/>
                  <a:pt x="822" y="220"/>
                </a:cubicBezTo>
                <a:cubicBezTo>
                  <a:pt x="822" y="224"/>
                  <a:pt x="826" y="227"/>
                  <a:pt x="830" y="227"/>
                </a:cubicBezTo>
                <a:cubicBezTo>
                  <a:pt x="834" y="227"/>
                  <a:pt x="838" y="224"/>
                  <a:pt x="838" y="220"/>
                </a:cubicBezTo>
                <a:cubicBezTo>
                  <a:pt x="838" y="217"/>
                  <a:pt x="834" y="214"/>
                  <a:pt x="830" y="214"/>
                </a:cubicBezTo>
                <a:close/>
                <a:moveTo>
                  <a:pt x="852" y="214"/>
                </a:moveTo>
                <a:cubicBezTo>
                  <a:pt x="848" y="214"/>
                  <a:pt x="845" y="217"/>
                  <a:pt x="845" y="220"/>
                </a:cubicBezTo>
                <a:cubicBezTo>
                  <a:pt x="845" y="224"/>
                  <a:pt x="848" y="227"/>
                  <a:pt x="852" y="227"/>
                </a:cubicBezTo>
                <a:cubicBezTo>
                  <a:pt x="857" y="227"/>
                  <a:pt x="860" y="224"/>
                  <a:pt x="860" y="220"/>
                </a:cubicBezTo>
                <a:cubicBezTo>
                  <a:pt x="860" y="217"/>
                  <a:pt x="857" y="214"/>
                  <a:pt x="852" y="214"/>
                </a:cubicBezTo>
                <a:close/>
                <a:moveTo>
                  <a:pt x="830" y="233"/>
                </a:moveTo>
                <a:cubicBezTo>
                  <a:pt x="826" y="233"/>
                  <a:pt x="822" y="236"/>
                  <a:pt x="822" y="239"/>
                </a:cubicBezTo>
                <a:cubicBezTo>
                  <a:pt x="822" y="243"/>
                  <a:pt x="826" y="245"/>
                  <a:pt x="830" y="245"/>
                </a:cubicBezTo>
                <a:cubicBezTo>
                  <a:pt x="834" y="245"/>
                  <a:pt x="838" y="243"/>
                  <a:pt x="838" y="239"/>
                </a:cubicBezTo>
                <a:cubicBezTo>
                  <a:pt x="838" y="236"/>
                  <a:pt x="834" y="233"/>
                  <a:pt x="830" y="233"/>
                </a:cubicBezTo>
                <a:close/>
                <a:moveTo>
                  <a:pt x="852" y="233"/>
                </a:moveTo>
                <a:cubicBezTo>
                  <a:pt x="848" y="233"/>
                  <a:pt x="845" y="236"/>
                  <a:pt x="845" y="239"/>
                </a:cubicBezTo>
                <a:cubicBezTo>
                  <a:pt x="845" y="243"/>
                  <a:pt x="848" y="245"/>
                  <a:pt x="852" y="245"/>
                </a:cubicBezTo>
                <a:cubicBezTo>
                  <a:pt x="857" y="245"/>
                  <a:pt x="860" y="243"/>
                  <a:pt x="860" y="239"/>
                </a:cubicBezTo>
                <a:cubicBezTo>
                  <a:pt x="860" y="236"/>
                  <a:pt x="857" y="233"/>
                  <a:pt x="852" y="233"/>
                </a:cubicBezTo>
                <a:close/>
                <a:moveTo>
                  <a:pt x="830" y="252"/>
                </a:moveTo>
                <a:cubicBezTo>
                  <a:pt x="826" y="252"/>
                  <a:pt x="822" y="255"/>
                  <a:pt x="822" y="258"/>
                </a:cubicBezTo>
                <a:cubicBezTo>
                  <a:pt x="822" y="262"/>
                  <a:pt x="826" y="265"/>
                  <a:pt x="830" y="265"/>
                </a:cubicBezTo>
                <a:cubicBezTo>
                  <a:pt x="834" y="265"/>
                  <a:pt x="838" y="262"/>
                  <a:pt x="838" y="258"/>
                </a:cubicBezTo>
                <a:cubicBezTo>
                  <a:pt x="838" y="255"/>
                  <a:pt x="834" y="252"/>
                  <a:pt x="830" y="252"/>
                </a:cubicBezTo>
                <a:close/>
                <a:moveTo>
                  <a:pt x="876" y="0"/>
                </a:moveTo>
                <a:cubicBezTo>
                  <a:pt x="872" y="0"/>
                  <a:pt x="868" y="3"/>
                  <a:pt x="868" y="7"/>
                </a:cubicBezTo>
                <a:cubicBezTo>
                  <a:pt x="868" y="11"/>
                  <a:pt x="872" y="14"/>
                  <a:pt x="876" y="14"/>
                </a:cubicBezTo>
                <a:cubicBezTo>
                  <a:pt x="880" y="14"/>
                  <a:pt x="884" y="11"/>
                  <a:pt x="884" y="7"/>
                </a:cubicBezTo>
                <a:cubicBezTo>
                  <a:pt x="884" y="3"/>
                  <a:pt x="880" y="0"/>
                  <a:pt x="876" y="0"/>
                </a:cubicBezTo>
                <a:close/>
                <a:moveTo>
                  <a:pt x="898" y="0"/>
                </a:moveTo>
                <a:cubicBezTo>
                  <a:pt x="894" y="0"/>
                  <a:pt x="890" y="3"/>
                  <a:pt x="890" y="7"/>
                </a:cubicBezTo>
                <a:cubicBezTo>
                  <a:pt x="890" y="11"/>
                  <a:pt x="894" y="14"/>
                  <a:pt x="898" y="14"/>
                </a:cubicBezTo>
                <a:cubicBezTo>
                  <a:pt x="902" y="14"/>
                  <a:pt x="905" y="11"/>
                  <a:pt x="905" y="7"/>
                </a:cubicBezTo>
                <a:cubicBezTo>
                  <a:pt x="905" y="3"/>
                  <a:pt x="902" y="0"/>
                  <a:pt x="898" y="0"/>
                </a:cubicBezTo>
                <a:close/>
                <a:moveTo>
                  <a:pt x="876" y="20"/>
                </a:moveTo>
                <a:cubicBezTo>
                  <a:pt x="872" y="20"/>
                  <a:pt x="868" y="23"/>
                  <a:pt x="868" y="27"/>
                </a:cubicBezTo>
                <a:cubicBezTo>
                  <a:pt x="868" y="30"/>
                  <a:pt x="872" y="33"/>
                  <a:pt x="876" y="33"/>
                </a:cubicBezTo>
                <a:cubicBezTo>
                  <a:pt x="880" y="33"/>
                  <a:pt x="884" y="30"/>
                  <a:pt x="884" y="27"/>
                </a:cubicBezTo>
                <a:cubicBezTo>
                  <a:pt x="884" y="23"/>
                  <a:pt x="880" y="20"/>
                  <a:pt x="876" y="20"/>
                </a:cubicBezTo>
                <a:close/>
                <a:moveTo>
                  <a:pt x="898" y="20"/>
                </a:moveTo>
                <a:cubicBezTo>
                  <a:pt x="894" y="20"/>
                  <a:pt x="890" y="23"/>
                  <a:pt x="890" y="27"/>
                </a:cubicBezTo>
                <a:cubicBezTo>
                  <a:pt x="890" y="30"/>
                  <a:pt x="894" y="33"/>
                  <a:pt x="898" y="33"/>
                </a:cubicBezTo>
                <a:cubicBezTo>
                  <a:pt x="902" y="33"/>
                  <a:pt x="905" y="30"/>
                  <a:pt x="905" y="27"/>
                </a:cubicBezTo>
                <a:cubicBezTo>
                  <a:pt x="905" y="23"/>
                  <a:pt x="902" y="20"/>
                  <a:pt x="898" y="20"/>
                </a:cubicBezTo>
                <a:close/>
                <a:moveTo>
                  <a:pt x="876" y="40"/>
                </a:moveTo>
                <a:cubicBezTo>
                  <a:pt x="872" y="40"/>
                  <a:pt x="868" y="43"/>
                  <a:pt x="868" y="46"/>
                </a:cubicBezTo>
                <a:cubicBezTo>
                  <a:pt x="868" y="50"/>
                  <a:pt x="872" y="53"/>
                  <a:pt x="876" y="53"/>
                </a:cubicBezTo>
                <a:cubicBezTo>
                  <a:pt x="880" y="53"/>
                  <a:pt x="884" y="50"/>
                  <a:pt x="884" y="46"/>
                </a:cubicBezTo>
                <a:cubicBezTo>
                  <a:pt x="884" y="43"/>
                  <a:pt x="880" y="40"/>
                  <a:pt x="876" y="40"/>
                </a:cubicBezTo>
                <a:close/>
                <a:moveTo>
                  <a:pt x="898" y="40"/>
                </a:moveTo>
                <a:cubicBezTo>
                  <a:pt x="894" y="40"/>
                  <a:pt x="890" y="43"/>
                  <a:pt x="890" y="46"/>
                </a:cubicBezTo>
                <a:cubicBezTo>
                  <a:pt x="890" y="50"/>
                  <a:pt x="894" y="53"/>
                  <a:pt x="898" y="53"/>
                </a:cubicBezTo>
                <a:cubicBezTo>
                  <a:pt x="902" y="53"/>
                  <a:pt x="905" y="50"/>
                  <a:pt x="905" y="46"/>
                </a:cubicBezTo>
                <a:cubicBezTo>
                  <a:pt x="905" y="43"/>
                  <a:pt x="902" y="40"/>
                  <a:pt x="898" y="40"/>
                </a:cubicBezTo>
                <a:close/>
                <a:moveTo>
                  <a:pt x="876" y="59"/>
                </a:moveTo>
                <a:cubicBezTo>
                  <a:pt x="872" y="59"/>
                  <a:pt x="868" y="62"/>
                  <a:pt x="868" y="65"/>
                </a:cubicBezTo>
                <a:cubicBezTo>
                  <a:pt x="868" y="69"/>
                  <a:pt x="872" y="72"/>
                  <a:pt x="876" y="72"/>
                </a:cubicBezTo>
                <a:cubicBezTo>
                  <a:pt x="880" y="72"/>
                  <a:pt x="884" y="69"/>
                  <a:pt x="884" y="65"/>
                </a:cubicBezTo>
                <a:cubicBezTo>
                  <a:pt x="884" y="62"/>
                  <a:pt x="880" y="59"/>
                  <a:pt x="876" y="59"/>
                </a:cubicBezTo>
                <a:close/>
                <a:moveTo>
                  <a:pt x="898" y="59"/>
                </a:moveTo>
                <a:cubicBezTo>
                  <a:pt x="894" y="59"/>
                  <a:pt x="890" y="62"/>
                  <a:pt x="890" y="65"/>
                </a:cubicBezTo>
                <a:cubicBezTo>
                  <a:pt x="890" y="69"/>
                  <a:pt x="894" y="72"/>
                  <a:pt x="898" y="72"/>
                </a:cubicBezTo>
                <a:cubicBezTo>
                  <a:pt x="902" y="72"/>
                  <a:pt x="905" y="69"/>
                  <a:pt x="905" y="65"/>
                </a:cubicBezTo>
                <a:cubicBezTo>
                  <a:pt x="905" y="62"/>
                  <a:pt x="902" y="59"/>
                  <a:pt x="898" y="59"/>
                </a:cubicBezTo>
                <a:close/>
                <a:moveTo>
                  <a:pt x="876" y="78"/>
                </a:moveTo>
                <a:cubicBezTo>
                  <a:pt x="872" y="78"/>
                  <a:pt x="868" y="81"/>
                  <a:pt x="868" y="85"/>
                </a:cubicBezTo>
                <a:cubicBezTo>
                  <a:pt x="868" y="88"/>
                  <a:pt x="872" y="91"/>
                  <a:pt x="876" y="91"/>
                </a:cubicBezTo>
                <a:cubicBezTo>
                  <a:pt x="880" y="91"/>
                  <a:pt x="884" y="88"/>
                  <a:pt x="884" y="85"/>
                </a:cubicBezTo>
                <a:cubicBezTo>
                  <a:pt x="884" y="81"/>
                  <a:pt x="880" y="78"/>
                  <a:pt x="876" y="78"/>
                </a:cubicBezTo>
                <a:close/>
                <a:moveTo>
                  <a:pt x="898" y="78"/>
                </a:moveTo>
                <a:cubicBezTo>
                  <a:pt x="894" y="78"/>
                  <a:pt x="890" y="81"/>
                  <a:pt x="890" y="85"/>
                </a:cubicBezTo>
                <a:cubicBezTo>
                  <a:pt x="890" y="88"/>
                  <a:pt x="894" y="91"/>
                  <a:pt x="898" y="91"/>
                </a:cubicBezTo>
                <a:cubicBezTo>
                  <a:pt x="902" y="91"/>
                  <a:pt x="905" y="88"/>
                  <a:pt x="905" y="85"/>
                </a:cubicBezTo>
                <a:cubicBezTo>
                  <a:pt x="905" y="81"/>
                  <a:pt x="902" y="78"/>
                  <a:pt x="898" y="78"/>
                </a:cubicBezTo>
                <a:close/>
                <a:moveTo>
                  <a:pt x="876" y="97"/>
                </a:moveTo>
                <a:cubicBezTo>
                  <a:pt x="872" y="97"/>
                  <a:pt x="868" y="100"/>
                  <a:pt x="868" y="104"/>
                </a:cubicBezTo>
                <a:cubicBezTo>
                  <a:pt x="868" y="107"/>
                  <a:pt x="872" y="110"/>
                  <a:pt x="876" y="110"/>
                </a:cubicBezTo>
                <a:cubicBezTo>
                  <a:pt x="880" y="110"/>
                  <a:pt x="884" y="107"/>
                  <a:pt x="884" y="104"/>
                </a:cubicBezTo>
                <a:cubicBezTo>
                  <a:pt x="884" y="100"/>
                  <a:pt x="880" y="97"/>
                  <a:pt x="876" y="97"/>
                </a:cubicBezTo>
                <a:close/>
                <a:moveTo>
                  <a:pt x="898" y="97"/>
                </a:moveTo>
                <a:cubicBezTo>
                  <a:pt x="894" y="97"/>
                  <a:pt x="890" y="100"/>
                  <a:pt x="890" y="104"/>
                </a:cubicBezTo>
                <a:cubicBezTo>
                  <a:pt x="890" y="107"/>
                  <a:pt x="894" y="110"/>
                  <a:pt x="898" y="110"/>
                </a:cubicBezTo>
                <a:cubicBezTo>
                  <a:pt x="902" y="110"/>
                  <a:pt x="905" y="107"/>
                  <a:pt x="905" y="104"/>
                </a:cubicBezTo>
                <a:cubicBezTo>
                  <a:pt x="905" y="100"/>
                  <a:pt x="902" y="97"/>
                  <a:pt x="898" y="97"/>
                </a:cubicBezTo>
                <a:close/>
                <a:moveTo>
                  <a:pt x="876" y="116"/>
                </a:moveTo>
                <a:cubicBezTo>
                  <a:pt x="872" y="116"/>
                  <a:pt x="868" y="119"/>
                  <a:pt x="868" y="123"/>
                </a:cubicBezTo>
                <a:cubicBezTo>
                  <a:pt x="868" y="127"/>
                  <a:pt x="872" y="130"/>
                  <a:pt x="876" y="130"/>
                </a:cubicBezTo>
                <a:cubicBezTo>
                  <a:pt x="880" y="130"/>
                  <a:pt x="884" y="127"/>
                  <a:pt x="884" y="123"/>
                </a:cubicBezTo>
                <a:cubicBezTo>
                  <a:pt x="884" y="119"/>
                  <a:pt x="880" y="116"/>
                  <a:pt x="876" y="116"/>
                </a:cubicBezTo>
                <a:close/>
                <a:moveTo>
                  <a:pt x="898" y="116"/>
                </a:moveTo>
                <a:cubicBezTo>
                  <a:pt x="894" y="116"/>
                  <a:pt x="890" y="119"/>
                  <a:pt x="890" y="123"/>
                </a:cubicBezTo>
                <a:cubicBezTo>
                  <a:pt x="890" y="127"/>
                  <a:pt x="894" y="130"/>
                  <a:pt x="898" y="130"/>
                </a:cubicBezTo>
                <a:cubicBezTo>
                  <a:pt x="902" y="130"/>
                  <a:pt x="905" y="127"/>
                  <a:pt x="905" y="123"/>
                </a:cubicBezTo>
                <a:cubicBezTo>
                  <a:pt x="905" y="119"/>
                  <a:pt x="902" y="116"/>
                  <a:pt x="898" y="116"/>
                </a:cubicBezTo>
                <a:close/>
                <a:moveTo>
                  <a:pt x="920" y="0"/>
                </a:moveTo>
                <a:cubicBezTo>
                  <a:pt x="916" y="0"/>
                  <a:pt x="913" y="3"/>
                  <a:pt x="913" y="7"/>
                </a:cubicBezTo>
                <a:cubicBezTo>
                  <a:pt x="913" y="11"/>
                  <a:pt x="916" y="14"/>
                  <a:pt x="920" y="14"/>
                </a:cubicBezTo>
                <a:cubicBezTo>
                  <a:pt x="924" y="14"/>
                  <a:pt x="928" y="11"/>
                  <a:pt x="928" y="7"/>
                </a:cubicBezTo>
                <a:cubicBezTo>
                  <a:pt x="928" y="3"/>
                  <a:pt x="924" y="0"/>
                  <a:pt x="920" y="0"/>
                </a:cubicBezTo>
                <a:close/>
                <a:moveTo>
                  <a:pt x="943" y="0"/>
                </a:moveTo>
                <a:cubicBezTo>
                  <a:pt x="939" y="0"/>
                  <a:pt x="935" y="3"/>
                  <a:pt x="935" y="7"/>
                </a:cubicBezTo>
                <a:cubicBezTo>
                  <a:pt x="935" y="11"/>
                  <a:pt x="939" y="14"/>
                  <a:pt x="943" y="14"/>
                </a:cubicBezTo>
                <a:cubicBezTo>
                  <a:pt x="947" y="14"/>
                  <a:pt x="951" y="11"/>
                  <a:pt x="951" y="7"/>
                </a:cubicBezTo>
                <a:cubicBezTo>
                  <a:pt x="951" y="3"/>
                  <a:pt x="947" y="0"/>
                  <a:pt x="943" y="0"/>
                </a:cubicBezTo>
                <a:close/>
                <a:moveTo>
                  <a:pt x="920" y="20"/>
                </a:moveTo>
                <a:cubicBezTo>
                  <a:pt x="916" y="20"/>
                  <a:pt x="913" y="23"/>
                  <a:pt x="913" y="27"/>
                </a:cubicBezTo>
                <a:cubicBezTo>
                  <a:pt x="913" y="30"/>
                  <a:pt x="916" y="33"/>
                  <a:pt x="920" y="33"/>
                </a:cubicBezTo>
                <a:cubicBezTo>
                  <a:pt x="924" y="33"/>
                  <a:pt x="928" y="30"/>
                  <a:pt x="928" y="27"/>
                </a:cubicBezTo>
                <a:cubicBezTo>
                  <a:pt x="928" y="23"/>
                  <a:pt x="924" y="20"/>
                  <a:pt x="920" y="20"/>
                </a:cubicBezTo>
                <a:close/>
                <a:moveTo>
                  <a:pt x="943" y="20"/>
                </a:moveTo>
                <a:cubicBezTo>
                  <a:pt x="939" y="20"/>
                  <a:pt x="935" y="23"/>
                  <a:pt x="935" y="27"/>
                </a:cubicBezTo>
                <a:cubicBezTo>
                  <a:pt x="935" y="30"/>
                  <a:pt x="939" y="33"/>
                  <a:pt x="943" y="33"/>
                </a:cubicBezTo>
                <a:cubicBezTo>
                  <a:pt x="947" y="33"/>
                  <a:pt x="951" y="30"/>
                  <a:pt x="951" y="27"/>
                </a:cubicBezTo>
                <a:cubicBezTo>
                  <a:pt x="951" y="23"/>
                  <a:pt x="947" y="20"/>
                  <a:pt x="943" y="20"/>
                </a:cubicBezTo>
                <a:close/>
                <a:moveTo>
                  <a:pt x="920" y="40"/>
                </a:moveTo>
                <a:cubicBezTo>
                  <a:pt x="916" y="40"/>
                  <a:pt x="913" y="43"/>
                  <a:pt x="913" y="46"/>
                </a:cubicBezTo>
                <a:cubicBezTo>
                  <a:pt x="913" y="50"/>
                  <a:pt x="916" y="53"/>
                  <a:pt x="920" y="53"/>
                </a:cubicBezTo>
                <a:cubicBezTo>
                  <a:pt x="924" y="53"/>
                  <a:pt x="928" y="50"/>
                  <a:pt x="928" y="46"/>
                </a:cubicBezTo>
                <a:cubicBezTo>
                  <a:pt x="928" y="43"/>
                  <a:pt x="924" y="40"/>
                  <a:pt x="920" y="40"/>
                </a:cubicBezTo>
                <a:close/>
                <a:moveTo>
                  <a:pt x="943" y="40"/>
                </a:moveTo>
                <a:cubicBezTo>
                  <a:pt x="939" y="40"/>
                  <a:pt x="935" y="43"/>
                  <a:pt x="935" y="46"/>
                </a:cubicBezTo>
                <a:cubicBezTo>
                  <a:pt x="935" y="50"/>
                  <a:pt x="939" y="53"/>
                  <a:pt x="943" y="53"/>
                </a:cubicBezTo>
                <a:cubicBezTo>
                  <a:pt x="947" y="53"/>
                  <a:pt x="951" y="50"/>
                  <a:pt x="951" y="46"/>
                </a:cubicBezTo>
                <a:cubicBezTo>
                  <a:pt x="951" y="43"/>
                  <a:pt x="947" y="40"/>
                  <a:pt x="943" y="40"/>
                </a:cubicBezTo>
                <a:close/>
                <a:moveTo>
                  <a:pt x="920" y="59"/>
                </a:moveTo>
                <a:cubicBezTo>
                  <a:pt x="916" y="59"/>
                  <a:pt x="913" y="62"/>
                  <a:pt x="913" y="65"/>
                </a:cubicBezTo>
                <a:cubicBezTo>
                  <a:pt x="913" y="69"/>
                  <a:pt x="916" y="72"/>
                  <a:pt x="920" y="72"/>
                </a:cubicBezTo>
                <a:cubicBezTo>
                  <a:pt x="924" y="72"/>
                  <a:pt x="928" y="69"/>
                  <a:pt x="928" y="65"/>
                </a:cubicBezTo>
                <a:cubicBezTo>
                  <a:pt x="928" y="62"/>
                  <a:pt x="924" y="59"/>
                  <a:pt x="920" y="59"/>
                </a:cubicBezTo>
                <a:close/>
                <a:moveTo>
                  <a:pt x="943" y="59"/>
                </a:moveTo>
                <a:cubicBezTo>
                  <a:pt x="939" y="59"/>
                  <a:pt x="935" y="62"/>
                  <a:pt x="935" y="65"/>
                </a:cubicBezTo>
                <a:cubicBezTo>
                  <a:pt x="935" y="69"/>
                  <a:pt x="939" y="72"/>
                  <a:pt x="943" y="72"/>
                </a:cubicBezTo>
                <a:cubicBezTo>
                  <a:pt x="947" y="72"/>
                  <a:pt x="951" y="69"/>
                  <a:pt x="951" y="65"/>
                </a:cubicBezTo>
                <a:cubicBezTo>
                  <a:pt x="951" y="62"/>
                  <a:pt x="947" y="59"/>
                  <a:pt x="943" y="59"/>
                </a:cubicBezTo>
                <a:close/>
                <a:moveTo>
                  <a:pt x="920" y="78"/>
                </a:moveTo>
                <a:cubicBezTo>
                  <a:pt x="916" y="78"/>
                  <a:pt x="913" y="81"/>
                  <a:pt x="913" y="85"/>
                </a:cubicBezTo>
                <a:cubicBezTo>
                  <a:pt x="913" y="88"/>
                  <a:pt x="916" y="91"/>
                  <a:pt x="920" y="91"/>
                </a:cubicBezTo>
                <a:cubicBezTo>
                  <a:pt x="924" y="91"/>
                  <a:pt x="928" y="88"/>
                  <a:pt x="928" y="85"/>
                </a:cubicBezTo>
                <a:cubicBezTo>
                  <a:pt x="928" y="81"/>
                  <a:pt x="924" y="78"/>
                  <a:pt x="920" y="78"/>
                </a:cubicBezTo>
                <a:close/>
                <a:moveTo>
                  <a:pt x="943" y="78"/>
                </a:moveTo>
                <a:cubicBezTo>
                  <a:pt x="939" y="78"/>
                  <a:pt x="935" y="81"/>
                  <a:pt x="935" y="85"/>
                </a:cubicBezTo>
                <a:cubicBezTo>
                  <a:pt x="935" y="88"/>
                  <a:pt x="939" y="91"/>
                  <a:pt x="943" y="91"/>
                </a:cubicBezTo>
                <a:cubicBezTo>
                  <a:pt x="947" y="91"/>
                  <a:pt x="951" y="88"/>
                  <a:pt x="951" y="85"/>
                </a:cubicBezTo>
                <a:cubicBezTo>
                  <a:pt x="951" y="81"/>
                  <a:pt x="947" y="78"/>
                  <a:pt x="943" y="78"/>
                </a:cubicBezTo>
                <a:close/>
                <a:moveTo>
                  <a:pt x="920" y="97"/>
                </a:moveTo>
                <a:cubicBezTo>
                  <a:pt x="916" y="97"/>
                  <a:pt x="913" y="100"/>
                  <a:pt x="913" y="104"/>
                </a:cubicBezTo>
                <a:cubicBezTo>
                  <a:pt x="913" y="107"/>
                  <a:pt x="916" y="110"/>
                  <a:pt x="920" y="110"/>
                </a:cubicBezTo>
                <a:cubicBezTo>
                  <a:pt x="924" y="110"/>
                  <a:pt x="928" y="107"/>
                  <a:pt x="928" y="104"/>
                </a:cubicBezTo>
                <a:cubicBezTo>
                  <a:pt x="928" y="100"/>
                  <a:pt x="924" y="97"/>
                  <a:pt x="920" y="97"/>
                </a:cubicBezTo>
                <a:close/>
                <a:moveTo>
                  <a:pt x="943" y="97"/>
                </a:moveTo>
                <a:cubicBezTo>
                  <a:pt x="939" y="97"/>
                  <a:pt x="935" y="100"/>
                  <a:pt x="935" y="104"/>
                </a:cubicBezTo>
                <a:cubicBezTo>
                  <a:pt x="935" y="107"/>
                  <a:pt x="939" y="110"/>
                  <a:pt x="943" y="110"/>
                </a:cubicBezTo>
                <a:cubicBezTo>
                  <a:pt x="947" y="110"/>
                  <a:pt x="951" y="107"/>
                  <a:pt x="951" y="104"/>
                </a:cubicBezTo>
                <a:cubicBezTo>
                  <a:pt x="951" y="100"/>
                  <a:pt x="947" y="97"/>
                  <a:pt x="943" y="97"/>
                </a:cubicBezTo>
                <a:close/>
                <a:moveTo>
                  <a:pt x="920" y="116"/>
                </a:moveTo>
                <a:cubicBezTo>
                  <a:pt x="916" y="116"/>
                  <a:pt x="913" y="119"/>
                  <a:pt x="913" y="123"/>
                </a:cubicBezTo>
                <a:cubicBezTo>
                  <a:pt x="913" y="127"/>
                  <a:pt x="916" y="130"/>
                  <a:pt x="920" y="130"/>
                </a:cubicBezTo>
                <a:cubicBezTo>
                  <a:pt x="924" y="130"/>
                  <a:pt x="928" y="127"/>
                  <a:pt x="928" y="123"/>
                </a:cubicBezTo>
                <a:cubicBezTo>
                  <a:pt x="928" y="119"/>
                  <a:pt x="924" y="116"/>
                  <a:pt x="920" y="116"/>
                </a:cubicBezTo>
                <a:close/>
                <a:moveTo>
                  <a:pt x="943" y="116"/>
                </a:moveTo>
                <a:cubicBezTo>
                  <a:pt x="939" y="116"/>
                  <a:pt x="935" y="119"/>
                  <a:pt x="935" y="123"/>
                </a:cubicBezTo>
                <a:cubicBezTo>
                  <a:pt x="935" y="127"/>
                  <a:pt x="939" y="130"/>
                  <a:pt x="943" y="130"/>
                </a:cubicBezTo>
                <a:cubicBezTo>
                  <a:pt x="947" y="130"/>
                  <a:pt x="951" y="127"/>
                  <a:pt x="951" y="123"/>
                </a:cubicBezTo>
                <a:cubicBezTo>
                  <a:pt x="951" y="119"/>
                  <a:pt x="947" y="116"/>
                  <a:pt x="943" y="116"/>
                </a:cubicBezTo>
                <a:close/>
                <a:moveTo>
                  <a:pt x="965" y="0"/>
                </a:moveTo>
                <a:cubicBezTo>
                  <a:pt x="961" y="0"/>
                  <a:pt x="957" y="3"/>
                  <a:pt x="957" y="7"/>
                </a:cubicBezTo>
                <a:cubicBezTo>
                  <a:pt x="957" y="11"/>
                  <a:pt x="961" y="14"/>
                  <a:pt x="965" y="14"/>
                </a:cubicBezTo>
                <a:cubicBezTo>
                  <a:pt x="969" y="14"/>
                  <a:pt x="973" y="11"/>
                  <a:pt x="973" y="7"/>
                </a:cubicBezTo>
                <a:cubicBezTo>
                  <a:pt x="973" y="3"/>
                  <a:pt x="969" y="0"/>
                  <a:pt x="965" y="0"/>
                </a:cubicBezTo>
                <a:close/>
                <a:moveTo>
                  <a:pt x="965" y="20"/>
                </a:moveTo>
                <a:cubicBezTo>
                  <a:pt x="961" y="20"/>
                  <a:pt x="957" y="23"/>
                  <a:pt x="957" y="27"/>
                </a:cubicBezTo>
                <a:cubicBezTo>
                  <a:pt x="957" y="30"/>
                  <a:pt x="961" y="33"/>
                  <a:pt x="965" y="33"/>
                </a:cubicBezTo>
                <a:cubicBezTo>
                  <a:pt x="969" y="33"/>
                  <a:pt x="973" y="30"/>
                  <a:pt x="973" y="27"/>
                </a:cubicBezTo>
                <a:cubicBezTo>
                  <a:pt x="973" y="23"/>
                  <a:pt x="969" y="20"/>
                  <a:pt x="965" y="20"/>
                </a:cubicBezTo>
                <a:close/>
                <a:moveTo>
                  <a:pt x="987" y="20"/>
                </a:moveTo>
                <a:cubicBezTo>
                  <a:pt x="982" y="20"/>
                  <a:pt x="979" y="23"/>
                  <a:pt x="979" y="27"/>
                </a:cubicBezTo>
                <a:cubicBezTo>
                  <a:pt x="979" y="30"/>
                  <a:pt x="982" y="33"/>
                  <a:pt x="987" y="33"/>
                </a:cubicBezTo>
                <a:cubicBezTo>
                  <a:pt x="991" y="33"/>
                  <a:pt x="994" y="30"/>
                  <a:pt x="994" y="27"/>
                </a:cubicBezTo>
                <a:cubicBezTo>
                  <a:pt x="994" y="23"/>
                  <a:pt x="991" y="20"/>
                  <a:pt x="987" y="20"/>
                </a:cubicBezTo>
                <a:close/>
                <a:moveTo>
                  <a:pt x="965" y="40"/>
                </a:moveTo>
                <a:cubicBezTo>
                  <a:pt x="961" y="40"/>
                  <a:pt x="957" y="43"/>
                  <a:pt x="957" y="46"/>
                </a:cubicBezTo>
                <a:cubicBezTo>
                  <a:pt x="957" y="50"/>
                  <a:pt x="961" y="53"/>
                  <a:pt x="965" y="53"/>
                </a:cubicBezTo>
                <a:cubicBezTo>
                  <a:pt x="969" y="53"/>
                  <a:pt x="973" y="50"/>
                  <a:pt x="973" y="46"/>
                </a:cubicBezTo>
                <a:cubicBezTo>
                  <a:pt x="973" y="43"/>
                  <a:pt x="969" y="40"/>
                  <a:pt x="965" y="40"/>
                </a:cubicBezTo>
                <a:close/>
                <a:moveTo>
                  <a:pt x="987" y="40"/>
                </a:moveTo>
                <a:cubicBezTo>
                  <a:pt x="982" y="40"/>
                  <a:pt x="979" y="43"/>
                  <a:pt x="979" y="46"/>
                </a:cubicBezTo>
                <a:cubicBezTo>
                  <a:pt x="979" y="50"/>
                  <a:pt x="982" y="53"/>
                  <a:pt x="987" y="53"/>
                </a:cubicBezTo>
                <a:cubicBezTo>
                  <a:pt x="991" y="53"/>
                  <a:pt x="994" y="50"/>
                  <a:pt x="994" y="46"/>
                </a:cubicBezTo>
                <a:cubicBezTo>
                  <a:pt x="994" y="43"/>
                  <a:pt x="991" y="40"/>
                  <a:pt x="987" y="40"/>
                </a:cubicBezTo>
                <a:close/>
                <a:moveTo>
                  <a:pt x="965" y="59"/>
                </a:moveTo>
                <a:cubicBezTo>
                  <a:pt x="961" y="59"/>
                  <a:pt x="957" y="62"/>
                  <a:pt x="957" y="65"/>
                </a:cubicBezTo>
                <a:cubicBezTo>
                  <a:pt x="957" y="69"/>
                  <a:pt x="961" y="72"/>
                  <a:pt x="965" y="72"/>
                </a:cubicBezTo>
                <a:cubicBezTo>
                  <a:pt x="969" y="72"/>
                  <a:pt x="973" y="69"/>
                  <a:pt x="973" y="65"/>
                </a:cubicBezTo>
                <a:cubicBezTo>
                  <a:pt x="973" y="62"/>
                  <a:pt x="969" y="59"/>
                  <a:pt x="965" y="59"/>
                </a:cubicBezTo>
                <a:close/>
                <a:moveTo>
                  <a:pt x="987" y="59"/>
                </a:moveTo>
                <a:cubicBezTo>
                  <a:pt x="982" y="59"/>
                  <a:pt x="979" y="62"/>
                  <a:pt x="979" y="65"/>
                </a:cubicBezTo>
                <a:cubicBezTo>
                  <a:pt x="979" y="69"/>
                  <a:pt x="982" y="72"/>
                  <a:pt x="987" y="72"/>
                </a:cubicBezTo>
                <a:cubicBezTo>
                  <a:pt x="991" y="72"/>
                  <a:pt x="994" y="69"/>
                  <a:pt x="994" y="65"/>
                </a:cubicBezTo>
                <a:cubicBezTo>
                  <a:pt x="994" y="62"/>
                  <a:pt x="991" y="59"/>
                  <a:pt x="987" y="59"/>
                </a:cubicBezTo>
                <a:close/>
                <a:moveTo>
                  <a:pt x="965" y="78"/>
                </a:moveTo>
                <a:cubicBezTo>
                  <a:pt x="961" y="78"/>
                  <a:pt x="957" y="81"/>
                  <a:pt x="957" y="85"/>
                </a:cubicBezTo>
                <a:cubicBezTo>
                  <a:pt x="957" y="88"/>
                  <a:pt x="961" y="91"/>
                  <a:pt x="965" y="91"/>
                </a:cubicBezTo>
                <a:cubicBezTo>
                  <a:pt x="969" y="91"/>
                  <a:pt x="973" y="88"/>
                  <a:pt x="973" y="85"/>
                </a:cubicBezTo>
                <a:cubicBezTo>
                  <a:pt x="973" y="81"/>
                  <a:pt x="969" y="78"/>
                  <a:pt x="965" y="78"/>
                </a:cubicBezTo>
                <a:close/>
                <a:moveTo>
                  <a:pt x="987" y="78"/>
                </a:moveTo>
                <a:cubicBezTo>
                  <a:pt x="982" y="78"/>
                  <a:pt x="979" y="81"/>
                  <a:pt x="979" y="85"/>
                </a:cubicBezTo>
                <a:cubicBezTo>
                  <a:pt x="979" y="88"/>
                  <a:pt x="982" y="91"/>
                  <a:pt x="987" y="91"/>
                </a:cubicBezTo>
                <a:cubicBezTo>
                  <a:pt x="991" y="91"/>
                  <a:pt x="994" y="88"/>
                  <a:pt x="994" y="85"/>
                </a:cubicBezTo>
                <a:cubicBezTo>
                  <a:pt x="994" y="81"/>
                  <a:pt x="991" y="78"/>
                  <a:pt x="987" y="78"/>
                </a:cubicBezTo>
                <a:close/>
                <a:moveTo>
                  <a:pt x="965" y="97"/>
                </a:moveTo>
                <a:cubicBezTo>
                  <a:pt x="961" y="97"/>
                  <a:pt x="957" y="100"/>
                  <a:pt x="957" y="104"/>
                </a:cubicBezTo>
                <a:cubicBezTo>
                  <a:pt x="957" y="107"/>
                  <a:pt x="961" y="110"/>
                  <a:pt x="965" y="110"/>
                </a:cubicBezTo>
                <a:cubicBezTo>
                  <a:pt x="969" y="110"/>
                  <a:pt x="973" y="107"/>
                  <a:pt x="973" y="104"/>
                </a:cubicBezTo>
                <a:cubicBezTo>
                  <a:pt x="973" y="100"/>
                  <a:pt x="969" y="97"/>
                  <a:pt x="965" y="97"/>
                </a:cubicBezTo>
                <a:close/>
                <a:moveTo>
                  <a:pt x="987" y="97"/>
                </a:moveTo>
                <a:cubicBezTo>
                  <a:pt x="982" y="97"/>
                  <a:pt x="979" y="100"/>
                  <a:pt x="979" y="104"/>
                </a:cubicBezTo>
                <a:cubicBezTo>
                  <a:pt x="979" y="107"/>
                  <a:pt x="982" y="110"/>
                  <a:pt x="987" y="110"/>
                </a:cubicBezTo>
                <a:cubicBezTo>
                  <a:pt x="991" y="110"/>
                  <a:pt x="994" y="107"/>
                  <a:pt x="994" y="104"/>
                </a:cubicBezTo>
                <a:cubicBezTo>
                  <a:pt x="994" y="100"/>
                  <a:pt x="991" y="97"/>
                  <a:pt x="987" y="97"/>
                </a:cubicBezTo>
                <a:close/>
                <a:moveTo>
                  <a:pt x="965" y="116"/>
                </a:moveTo>
                <a:cubicBezTo>
                  <a:pt x="961" y="116"/>
                  <a:pt x="957" y="119"/>
                  <a:pt x="957" y="123"/>
                </a:cubicBezTo>
                <a:cubicBezTo>
                  <a:pt x="957" y="127"/>
                  <a:pt x="961" y="130"/>
                  <a:pt x="965" y="130"/>
                </a:cubicBezTo>
                <a:cubicBezTo>
                  <a:pt x="969" y="130"/>
                  <a:pt x="973" y="127"/>
                  <a:pt x="973" y="123"/>
                </a:cubicBezTo>
                <a:cubicBezTo>
                  <a:pt x="973" y="119"/>
                  <a:pt x="969" y="116"/>
                  <a:pt x="965" y="116"/>
                </a:cubicBezTo>
                <a:close/>
                <a:moveTo>
                  <a:pt x="987" y="116"/>
                </a:moveTo>
                <a:cubicBezTo>
                  <a:pt x="982" y="116"/>
                  <a:pt x="979" y="119"/>
                  <a:pt x="979" y="123"/>
                </a:cubicBezTo>
                <a:cubicBezTo>
                  <a:pt x="979" y="127"/>
                  <a:pt x="982" y="130"/>
                  <a:pt x="987" y="130"/>
                </a:cubicBezTo>
                <a:cubicBezTo>
                  <a:pt x="991" y="130"/>
                  <a:pt x="994" y="127"/>
                  <a:pt x="994" y="123"/>
                </a:cubicBezTo>
                <a:cubicBezTo>
                  <a:pt x="994" y="119"/>
                  <a:pt x="991" y="116"/>
                  <a:pt x="987" y="116"/>
                </a:cubicBezTo>
                <a:close/>
                <a:moveTo>
                  <a:pt x="1009" y="20"/>
                </a:moveTo>
                <a:cubicBezTo>
                  <a:pt x="1005" y="20"/>
                  <a:pt x="1001" y="23"/>
                  <a:pt x="1001" y="27"/>
                </a:cubicBezTo>
                <a:cubicBezTo>
                  <a:pt x="1001" y="30"/>
                  <a:pt x="1005" y="33"/>
                  <a:pt x="1009" y="33"/>
                </a:cubicBezTo>
                <a:cubicBezTo>
                  <a:pt x="1013" y="33"/>
                  <a:pt x="1016" y="30"/>
                  <a:pt x="1016" y="27"/>
                </a:cubicBezTo>
                <a:cubicBezTo>
                  <a:pt x="1016" y="23"/>
                  <a:pt x="1013" y="20"/>
                  <a:pt x="1009" y="20"/>
                </a:cubicBezTo>
                <a:close/>
                <a:moveTo>
                  <a:pt x="1031" y="20"/>
                </a:moveTo>
                <a:cubicBezTo>
                  <a:pt x="1026" y="20"/>
                  <a:pt x="1023" y="23"/>
                  <a:pt x="1023" y="27"/>
                </a:cubicBezTo>
                <a:cubicBezTo>
                  <a:pt x="1023" y="30"/>
                  <a:pt x="1026" y="33"/>
                  <a:pt x="1031" y="33"/>
                </a:cubicBezTo>
                <a:cubicBezTo>
                  <a:pt x="1035" y="33"/>
                  <a:pt x="1038" y="30"/>
                  <a:pt x="1038" y="27"/>
                </a:cubicBezTo>
                <a:cubicBezTo>
                  <a:pt x="1038" y="23"/>
                  <a:pt x="1035" y="20"/>
                  <a:pt x="1031" y="20"/>
                </a:cubicBezTo>
                <a:close/>
                <a:moveTo>
                  <a:pt x="1009" y="40"/>
                </a:moveTo>
                <a:cubicBezTo>
                  <a:pt x="1005" y="40"/>
                  <a:pt x="1001" y="43"/>
                  <a:pt x="1001" y="46"/>
                </a:cubicBezTo>
                <a:cubicBezTo>
                  <a:pt x="1001" y="50"/>
                  <a:pt x="1005" y="53"/>
                  <a:pt x="1009" y="53"/>
                </a:cubicBezTo>
                <a:cubicBezTo>
                  <a:pt x="1013" y="53"/>
                  <a:pt x="1016" y="50"/>
                  <a:pt x="1016" y="46"/>
                </a:cubicBezTo>
                <a:cubicBezTo>
                  <a:pt x="1016" y="43"/>
                  <a:pt x="1013" y="40"/>
                  <a:pt x="1009" y="40"/>
                </a:cubicBezTo>
                <a:close/>
                <a:moveTo>
                  <a:pt x="1031" y="40"/>
                </a:moveTo>
                <a:cubicBezTo>
                  <a:pt x="1026" y="40"/>
                  <a:pt x="1023" y="43"/>
                  <a:pt x="1023" y="46"/>
                </a:cubicBezTo>
                <a:cubicBezTo>
                  <a:pt x="1023" y="50"/>
                  <a:pt x="1026" y="53"/>
                  <a:pt x="1031" y="53"/>
                </a:cubicBezTo>
                <a:cubicBezTo>
                  <a:pt x="1035" y="53"/>
                  <a:pt x="1038" y="50"/>
                  <a:pt x="1038" y="46"/>
                </a:cubicBezTo>
                <a:cubicBezTo>
                  <a:pt x="1038" y="43"/>
                  <a:pt x="1035" y="40"/>
                  <a:pt x="1031" y="40"/>
                </a:cubicBezTo>
                <a:close/>
                <a:moveTo>
                  <a:pt x="1009" y="78"/>
                </a:moveTo>
                <a:cubicBezTo>
                  <a:pt x="1005" y="78"/>
                  <a:pt x="1001" y="81"/>
                  <a:pt x="1001" y="85"/>
                </a:cubicBezTo>
                <a:cubicBezTo>
                  <a:pt x="1001" y="88"/>
                  <a:pt x="1005" y="91"/>
                  <a:pt x="1009" y="91"/>
                </a:cubicBezTo>
                <a:cubicBezTo>
                  <a:pt x="1013" y="91"/>
                  <a:pt x="1016" y="88"/>
                  <a:pt x="1016" y="85"/>
                </a:cubicBezTo>
                <a:cubicBezTo>
                  <a:pt x="1016" y="81"/>
                  <a:pt x="1013" y="78"/>
                  <a:pt x="1009" y="78"/>
                </a:cubicBezTo>
                <a:close/>
                <a:moveTo>
                  <a:pt x="1009" y="97"/>
                </a:moveTo>
                <a:cubicBezTo>
                  <a:pt x="1005" y="97"/>
                  <a:pt x="1001" y="100"/>
                  <a:pt x="1001" y="104"/>
                </a:cubicBezTo>
                <a:cubicBezTo>
                  <a:pt x="1001" y="107"/>
                  <a:pt x="1005" y="110"/>
                  <a:pt x="1009" y="110"/>
                </a:cubicBezTo>
                <a:cubicBezTo>
                  <a:pt x="1013" y="110"/>
                  <a:pt x="1016" y="107"/>
                  <a:pt x="1016" y="104"/>
                </a:cubicBezTo>
                <a:cubicBezTo>
                  <a:pt x="1016" y="100"/>
                  <a:pt x="1013" y="97"/>
                  <a:pt x="1009" y="97"/>
                </a:cubicBezTo>
                <a:close/>
                <a:moveTo>
                  <a:pt x="876" y="136"/>
                </a:moveTo>
                <a:cubicBezTo>
                  <a:pt x="872" y="136"/>
                  <a:pt x="868" y="139"/>
                  <a:pt x="868" y="143"/>
                </a:cubicBezTo>
                <a:cubicBezTo>
                  <a:pt x="868" y="146"/>
                  <a:pt x="872" y="149"/>
                  <a:pt x="876" y="149"/>
                </a:cubicBezTo>
                <a:cubicBezTo>
                  <a:pt x="880" y="149"/>
                  <a:pt x="884" y="146"/>
                  <a:pt x="884" y="143"/>
                </a:cubicBezTo>
                <a:cubicBezTo>
                  <a:pt x="884" y="139"/>
                  <a:pt x="880" y="136"/>
                  <a:pt x="876" y="136"/>
                </a:cubicBezTo>
                <a:close/>
                <a:moveTo>
                  <a:pt x="898" y="136"/>
                </a:moveTo>
                <a:cubicBezTo>
                  <a:pt x="894" y="136"/>
                  <a:pt x="890" y="139"/>
                  <a:pt x="890" y="143"/>
                </a:cubicBezTo>
                <a:cubicBezTo>
                  <a:pt x="890" y="146"/>
                  <a:pt x="894" y="149"/>
                  <a:pt x="898" y="149"/>
                </a:cubicBezTo>
                <a:cubicBezTo>
                  <a:pt x="902" y="149"/>
                  <a:pt x="905" y="146"/>
                  <a:pt x="905" y="143"/>
                </a:cubicBezTo>
                <a:cubicBezTo>
                  <a:pt x="905" y="139"/>
                  <a:pt x="902" y="136"/>
                  <a:pt x="898" y="136"/>
                </a:cubicBezTo>
                <a:close/>
                <a:moveTo>
                  <a:pt x="876" y="155"/>
                </a:moveTo>
                <a:cubicBezTo>
                  <a:pt x="872" y="155"/>
                  <a:pt x="868" y="158"/>
                  <a:pt x="868" y="162"/>
                </a:cubicBezTo>
                <a:cubicBezTo>
                  <a:pt x="868" y="166"/>
                  <a:pt x="872" y="169"/>
                  <a:pt x="876" y="169"/>
                </a:cubicBezTo>
                <a:cubicBezTo>
                  <a:pt x="880" y="169"/>
                  <a:pt x="884" y="166"/>
                  <a:pt x="884" y="162"/>
                </a:cubicBezTo>
                <a:cubicBezTo>
                  <a:pt x="884" y="158"/>
                  <a:pt x="880" y="155"/>
                  <a:pt x="876" y="155"/>
                </a:cubicBezTo>
                <a:close/>
                <a:moveTo>
                  <a:pt x="898" y="155"/>
                </a:moveTo>
                <a:cubicBezTo>
                  <a:pt x="894" y="155"/>
                  <a:pt x="890" y="158"/>
                  <a:pt x="890" y="162"/>
                </a:cubicBezTo>
                <a:cubicBezTo>
                  <a:pt x="890" y="166"/>
                  <a:pt x="894" y="169"/>
                  <a:pt x="898" y="169"/>
                </a:cubicBezTo>
                <a:cubicBezTo>
                  <a:pt x="902" y="169"/>
                  <a:pt x="905" y="166"/>
                  <a:pt x="905" y="162"/>
                </a:cubicBezTo>
                <a:cubicBezTo>
                  <a:pt x="905" y="158"/>
                  <a:pt x="902" y="155"/>
                  <a:pt x="898" y="155"/>
                </a:cubicBezTo>
                <a:close/>
                <a:moveTo>
                  <a:pt x="876" y="175"/>
                </a:moveTo>
                <a:cubicBezTo>
                  <a:pt x="872" y="175"/>
                  <a:pt x="868" y="178"/>
                  <a:pt x="868" y="182"/>
                </a:cubicBezTo>
                <a:cubicBezTo>
                  <a:pt x="868" y="185"/>
                  <a:pt x="872" y="188"/>
                  <a:pt x="876" y="188"/>
                </a:cubicBezTo>
                <a:cubicBezTo>
                  <a:pt x="880" y="188"/>
                  <a:pt x="884" y="185"/>
                  <a:pt x="884" y="182"/>
                </a:cubicBezTo>
                <a:cubicBezTo>
                  <a:pt x="884" y="178"/>
                  <a:pt x="880" y="175"/>
                  <a:pt x="876" y="175"/>
                </a:cubicBezTo>
                <a:close/>
                <a:moveTo>
                  <a:pt x="898" y="175"/>
                </a:moveTo>
                <a:cubicBezTo>
                  <a:pt x="894" y="175"/>
                  <a:pt x="890" y="178"/>
                  <a:pt x="890" y="182"/>
                </a:cubicBezTo>
                <a:cubicBezTo>
                  <a:pt x="890" y="185"/>
                  <a:pt x="894" y="188"/>
                  <a:pt x="898" y="188"/>
                </a:cubicBezTo>
                <a:cubicBezTo>
                  <a:pt x="902" y="188"/>
                  <a:pt x="905" y="185"/>
                  <a:pt x="905" y="182"/>
                </a:cubicBezTo>
                <a:cubicBezTo>
                  <a:pt x="905" y="178"/>
                  <a:pt x="902" y="175"/>
                  <a:pt x="898" y="175"/>
                </a:cubicBezTo>
                <a:close/>
                <a:moveTo>
                  <a:pt x="876" y="194"/>
                </a:moveTo>
                <a:cubicBezTo>
                  <a:pt x="872" y="194"/>
                  <a:pt x="868" y="197"/>
                  <a:pt x="868" y="201"/>
                </a:cubicBezTo>
                <a:cubicBezTo>
                  <a:pt x="868" y="205"/>
                  <a:pt x="872" y="208"/>
                  <a:pt x="876" y="208"/>
                </a:cubicBezTo>
                <a:cubicBezTo>
                  <a:pt x="880" y="208"/>
                  <a:pt x="884" y="205"/>
                  <a:pt x="884" y="201"/>
                </a:cubicBezTo>
                <a:cubicBezTo>
                  <a:pt x="884" y="197"/>
                  <a:pt x="880" y="194"/>
                  <a:pt x="876" y="194"/>
                </a:cubicBezTo>
                <a:close/>
                <a:moveTo>
                  <a:pt x="898" y="194"/>
                </a:moveTo>
                <a:cubicBezTo>
                  <a:pt x="894" y="194"/>
                  <a:pt x="890" y="197"/>
                  <a:pt x="890" y="201"/>
                </a:cubicBezTo>
                <a:cubicBezTo>
                  <a:pt x="890" y="205"/>
                  <a:pt x="894" y="208"/>
                  <a:pt x="898" y="208"/>
                </a:cubicBezTo>
                <a:cubicBezTo>
                  <a:pt x="902" y="208"/>
                  <a:pt x="905" y="205"/>
                  <a:pt x="905" y="201"/>
                </a:cubicBezTo>
                <a:cubicBezTo>
                  <a:pt x="905" y="197"/>
                  <a:pt x="902" y="194"/>
                  <a:pt x="898" y="194"/>
                </a:cubicBezTo>
                <a:close/>
                <a:moveTo>
                  <a:pt x="920" y="136"/>
                </a:moveTo>
                <a:cubicBezTo>
                  <a:pt x="916" y="136"/>
                  <a:pt x="913" y="139"/>
                  <a:pt x="913" y="143"/>
                </a:cubicBezTo>
                <a:cubicBezTo>
                  <a:pt x="913" y="146"/>
                  <a:pt x="916" y="149"/>
                  <a:pt x="920" y="149"/>
                </a:cubicBezTo>
                <a:cubicBezTo>
                  <a:pt x="924" y="149"/>
                  <a:pt x="928" y="146"/>
                  <a:pt x="928" y="143"/>
                </a:cubicBezTo>
                <a:cubicBezTo>
                  <a:pt x="928" y="139"/>
                  <a:pt x="924" y="136"/>
                  <a:pt x="920" y="136"/>
                </a:cubicBezTo>
                <a:close/>
                <a:moveTo>
                  <a:pt x="943" y="136"/>
                </a:moveTo>
                <a:cubicBezTo>
                  <a:pt x="939" y="136"/>
                  <a:pt x="935" y="139"/>
                  <a:pt x="935" y="143"/>
                </a:cubicBezTo>
                <a:cubicBezTo>
                  <a:pt x="935" y="146"/>
                  <a:pt x="939" y="149"/>
                  <a:pt x="943" y="149"/>
                </a:cubicBezTo>
                <a:cubicBezTo>
                  <a:pt x="947" y="149"/>
                  <a:pt x="951" y="146"/>
                  <a:pt x="951" y="143"/>
                </a:cubicBezTo>
                <a:cubicBezTo>
                  <a:pt x="951" y="139"/>
                  <a:pt x="947" y="136"/>
                  <a:pt x="943" y="136"/>
                </a:cubicBezTo>
                <a:close/>
                <a:moveTo>
                  <a:pt x="920" y="155"/>
                </a:moveTo>
                <a:cubicBezTo>
                  <a:pt x="916" y="155"/>
                  <a:pt x="913" y="158"/>
                  <a:pt x="913" y="162"/>
                </a:cubicBezTo>
                <a:cubicBezTo>
                  <a:pt x="913" y="166"/>
                  <a:pt x="916" y="169"/>
                  <a:pt x="920" y="169"/>
                </a:cubicBezTo>
                <a:cubicBezTo>
                  <a:pt x="924" y="169"/>
                  <a:pt x="928" y="166"/>
                  <a:pt x="928" y="162"/>
                </a:cubicBezTo>
                <a:cubicBezTo>
                  <a:pt x="928" y="158"/>
                  <a:pt x="924" y="155"/>
                  <a:pt x="920" y="155"/>
                </a:cubicBezTo>
                <a:close/>
                <a:moveTo>
                  <a:pt x="943" y="155"/>
                </a:moveTo>
                <a:cubicBezTo>
                  <a:pt x="939" y="155"/>
                  <a:pt x="935" y="158"/>
                  <a:pt x="935" y="162"/>
                </a:cubicBezTo>
                <a:cubicBezTo>
                  <a:pt x="935" y="166"/>
                  <a:pt x="939" y="169"/>
                  <a:pt x="943" y="169"/>
                </a:cubicBezTo>
                <a:cubicBezTo>
                  <a:pt x="947" y="169"/>
                  <a:pt x="951" y="166"/>
                  <a:pt x="951" y="162"/>
                </a:cubicBezTo>
                <a:cubicBezTo>
                  <a:pt x="951" y="158"/>
                  <a:pt x="947" y="155"/>
                  <a:pt x="943" y="155"/>
                </a:cubicBezTo>
                <a:close/>
                <a:moveTo>
                  <a:pt x="920" y="175"/>
                </a:moveTo>
                <a:cubicBezTo>
                  <a:pt x="916" y="175"/>
                  <a:pt x="913" y="178"/>
                  <a:pt x="913" y="182"/>
                </a:cubicBezTo>
                <a:cubicBezTo>
                  <a:pt x="913" y="185"/>
                  <a:pt x="916" y="188"/>
                  <a:pt x="920" y="188"/>
                </a:cubicBezTo>
                <a:cubicBezTo>
                  <a:pt x="924" y="188"/>
                  <a:pt x="928" y="185"/>
                  <a:pt x="928" y="182"/>
                </a:cubicBezTo>
                <a:cubicBezTo>
                  <a:pt x="928" y="178"/>
                  <a:pt x="924" y="175"/>
                  <a:pt x="920" y="175"/>
                </a:cubicBezTo>
                <a:close/>
                <a:moveTo>
                  <a:pt x="943" y="175"/>
                </a:moveTo>
                <a:cubicBezTo>
                  <a:pt x="939" y="175"/>
                  <a:pt x="935" y="178"/>
                  <a:pt x="935" y="182"/>
                </a:cubicBezTo>
                <a:cubicBezTo>
                  <a:pt x="935" y="185"/>
                  <a:pt x="939" y="188"/>
                  <a:pt x="943" y="188"/>
                </a:cubicBezTo>
                <a:cubicBezTo>
                  <a:pt x="947" y="188"/>
                  <a:pt x="951" y="185"/>
                  <a:pt x="951" y="182"/>
                </a:cubicBezTo>
                <a:cubicBezTo>
                  <a:pt x="951" y="178"/>
                  <a:pt x="947" y="175"/>
                  <a:pt x="943" y="175"/>
                </a:cubicBezTo>
                <a:close/>
                <a:moveTo>
                  <a:pt x="965" y="136"/>
                </a:moveTo>
                <a:cubicBezTo>
                  <a:pt x="961" y="136"/>
                  <a:pt x="957" y="139"/>
                  <a:pt x="957" y="143"/>
                </a:cubicBezTo>
                <a:cubicBezTo>
                  <a:pt x="957" y="146"/>
                  <a:pt x="961" y="149"/>
                  <a:pt x="965" y="149"/>
                </a:cubicBezTo>
                <a:cubicBezTo>
                  <a:pt x="969" y="149"/>
                  <a:pt x="973" y="146"/>
                  <a:pt x="973" y="143"/>
                </a:cubicBezTo>
                <a:cubicBezTo>
                  <a:pt x="973" y="139"/>
                  <a:pt x="969" y="136"/>
                  <a:pt x="965" y="136"/>
                </a:cubicBezTo>
                <a:close/>
                <a:moveTo>
                  <a:pt x="987" y="136"/>
                </a:moveTo>
                <a:cubicBezTo>
                  <a:pt x="982" y="136"/>
                  <a:pt x="979" y="139"/>
                  <a:pt x="979" y="143"/>
                </a:cubicBezTo>
                <a:cubicBezTo>
                  <a:pt x="979" y="146"/>
                  <a:pt x="982" y="149"/>
                  <a:pt x="987" y="149"/>
                </a:cubicBezTo>
                <a:cubicBezTo>
                  <a:pt x="991" y="149"/>
                  <a:pt x="994" y="146"/>
                  <a:pt x="994" y="143"/>
                </a:cubicBezTo>
                <a:cubicBezTo>
                  <a:pt x="994" y="139"/>
                  <a:pt x="991" y="136"/>
                  <a:pt x="987" y="136"/>
                </a:cubicBezTo>
                <a:close/>
                <a:moveTo>
                  <a:pt x="965" y="155"/>
                </a:moveTo>
                <a:cubicBezTo>
                  <a:pt x="961" y="155"/>
                  <a:pt x="957" y="158"/>
                  <a:pt x="957" y="162"/>
                </a:cubicBezTo>
                <a:cubicBezTo>
                  <a:pt x="957" y="166"/>
                  <a:pt x="961" y="169"/>
                  <a:pt x="965" y="169"/>
                </a:cubicBezTo>
                <a:cubicBezTo>
                  <a:pt x="969" y="169"/>
                  <a:pt x="973" y="166"/>
                  <a:pt x="973" y="162"/>
                </a:cubicBezTo>
                <a:cubicBezTo>
                  <a:pt x="973" y="158"/>
                  <a:pt x="969" y="155"/>
                  <a:pt x="965" y="155"/>
                </a:cubicBezTo>
                <a:close/>
                <a:moveTo>
                  <a:pt x="987" y="155"/>
                </a:moveTo>
                <a:cubicBezTo>
                  <a:pt x="982" y="155"/>
                  <a:pt x="979" y="158"/>
                  <a:pt x="979" y="162"/>
                </a:cubicBezTo>
                <a:cubicBezTo>
                  <a:pt x="979" y="166"/>
                  <a:pt x="982" y="169"/>
                  <a:pt x="987" y="169"/>
                </a:cubicBezTo>
                <a:cubicBezTo>
                  <a:pt x="991" y="169"/>
                  <a:pt x="994" y="166"/>
                  <a:pt x="994" y="162"/>
                </a:cubicBezTo>
                <a:cubicBezTo>
                  <a:pt x="994" y="158"/>
                  <a:pt x="991" y="155"/>
                  <a:pt x="987" y="155"/>
                </a:cubicBezTo>
                <a:close/>
                <a:moveTo>
                  <a:pt x="965" y="175"/>
                </a:moveTo>
                <a:cubicBezTo>
                  <a:pt x="961" y="175"/>
                  <a:pt x="957" y="178"/>
                  <a:pt x="957" y="182"/>
                </a:cubicBezTo>
                <a:cubicBezTo>
                  <a:pt x="957" y="185"/>
                  <a:pt x="961" y="188"/>
                  <a:pt x="965" y="188"/>
                </a:cubicBezTo>
                <a:cubicBezTo>
                  <a:pt x="969" y="188"/>
                  <a:pt x="973" y="185"/>
                  <a:pt x="973" y="182"/>
                </a:cubicBezTo>
                <a:cubicBezTo>
                  <a:pt x="973" y="178"/>
                  <a:pt x="969" y="175"/>
                  <a:pt x="965" y="175"/>
                </a:cubicBezTo>
                <a:close/>
                <a:moveTo>
                  <a:pt x="1009" y="214"/>
                </a:moveTo>
                <a:cubicBezTo>
                  <a:pt x="1005" y="214"/>
                  <a:pt x="1001" y="217"/>
                  <a:pt x="1001" y="220"/>
                </a:cubicBezTo>
                <a:cubicBezTo>
                  <a:pt x="1001" y="224"/>
                  <a:pt x="1005" y="227"/>
                  <a:pt x="1009" y="227"/>
                </a:cubicBezTo>
                <a:cubicBezTo>
                  <a:pt x="1013" y="227"/>
                  <a:pt x="1016" y="224"/>
                  <a:pt x="1016" y="220"/>
                </a:cubicBezTo>
                <a:cubicBezTo>
                  <a:pt x="1016" y="217"/>
                  <a:pt x="1013" y="214"/>
                  <a:pt x="1009" y="214"/>
                </a:cubicBezTo>
                <a:close/>
                <a:moveTo>
                  <a:pt x="1031" y="214"/>
                </a:moveTo>
                <a:cubicBezTo>
                  <a:pt x="1026" y="214"/>
                  <a:pt x="1023" y="217"/>
                  <a:pt x="1023" y="220"/>
                </a:cubicBezTo>
                <a:cubicBezTo>
                  <a:pt x="1023" y="224"/>
                  <a:pt x="1026" y="227"/>
                  <a:pt x="1031" y="227"/>
                </a:cubicBezTo>
                <a:cubicBezTo>
                  <a:pt x="1035" y="227"/>
                  <a:pt x="1038" y="224"/>
                  <a:pt x="1038" y="220"/>
                </a:cubicBezTo>
                <a:cubicBezTo>
                  <a:pt x="1038" y="217"/>
                  <a:pt x="1035" y="214"/>
                  <a:pt x="1031" y="214"/>
                </a:cubicBezTo>
                <a:close/>
                <a:moveTo>
                  <a:pt x="1009" y="233"/>
                </a:moveTo>
                <a:cubicBezTo>
                  <a:pt x="1005" y="233"/>
                  <a:pt x="1001" y="236"/>
                  <a:pt x="1001" y="239"/>
                </a:cubicBezTo>
                <a:cubicBezTo>
                  <a:pt x="1001" y="243"/>
                  <a:pt x="1005" y="245"/>
                  <a:pt x="1009" y="245"/>
                </a:cubicBezTo>
                <a:cubicBezTo>
                  <a:pt x="1013" y="245"/>
                  <a:pt x="1016" y="243"/>
                  <a:pt x="1016" y="239"/>
                </a:cubicBezTo>
                <a:cubicBezTo>
                  <a:pt x="1016" y="236"/>
                  <a:pt x="1013" y="233"/>
                  <a:pt x="1009" y="233"/>
                </a:cubicBezTo>
                <a:close/>
                <a:moveTo>
                  <a:pt x="1054" y="20"/>
                </a:moveTo>
                <a:cubicBezTo>
                  <a:pt x="1050" y="20"/>
                  <a:pt x="1046" y="23"/>
                  <a:pt x="1046" y="27"/>
                </a:cubicBezTo>
                <a:cubicBezTo>
                  <a:pt x="1046" y="30"/>
                  <a:pt x="1050" y="33"/>
                  <a:pt x="1054" y="33"/>
                </a:cubicBezTo>
                <a:cubicBezTo>
                  <a:pt x="1058" y="33"/>
                  <a:pt x="1061" y="30"/>
                  <a:pt x="1061" y="27"/>
                </a:cubicBezTo>
                <a:cubicBezTo>
                  <a:pt x="1061" y="23"/>
                  <a:pt x="1058" y="20"/>
                  <a:pt x="1054" y="20"/>
                </a:cubicBezTo>
                <a:close/>
                <a:moveTo>
                  <a:pt x="1164" y="252"/>
                </a:moveTo>
                <a:cubicBezTo>
                  <a:pt x="1160" y="252"/>
                  <a:pt x="1157" y="255"/>
                  <a:pt x="1157" y="258"/>
                </a:cubicBezTo>
                <a:cubicBezTo>
                  <a:pt x="1157" y="262"/>
                  <a:pt x="1160" y="265"/>
                  <a:pt x="1164" y="265"/>
                </a:cubicBezTo>
                <a:cubicBezTo>
                  <a:pt x="1169" y="265"/>
                  <a:pt x="1172" y="262"/>
                  <a:pt x="1172" y="258"/>
                </a:cubicBezTo>
                <a:cubicBezTo>
                  <a:pt x="1172" y="255"/>
                  <a:pt x="1169" y="252"/>
                  <a:pt x="1164" y="252"/>
                </a:cubicBezTo>
                <a:close/>
                <a:moveTo>
                  <a:pt x="1208" y="214"/>
                </a:moveTo>
                <a:cubicBezTo>
                  <a:pt x="1204" y="214"/>
                  <a:pt x="1201" y="217"/>
                  <a:pt x="1201" y="220"/>
                </a:cubicBezTo>
                <a:cubicBezTo>
                  <a:pt x="1201" y="224"/>
                  <a:pt x="1204" y="227"/>
                  <a:pt x="1208" y="227"/>
                </a:cubicBezTo>
                <a:cubicBezTo>
                  <a:pt x="1213" y="227"/>
                  <a:pt x="1216" y="224"/>
                  <a:pt x="1216" y="220"/>
                </a:cubicBezTo>
                <a:cubicBezTo>
                  <a:pt x="1216" y="217"/>
                  <a:pt x="1213" y="214"/>
                  <a:pt x="1208" y="214"/>
                </a:cubicBezTo>
                <a:close/>
                <a:moveTo>
                  <a:pt x="1186" y="233"/>
                </a:moveTo>
                <a:cubicBezTo>
                  <a:pt x="1182" y="233"/>
                  <a:pt x="1179" y="236"/>
                  <a:pt x="1179" y="239"/>
                </a:cubicBezTo>
                <a:cubicBezTo>
                  <a:pt x="1179" y="243"/>
                  <a:pt x="1182" y="245"/>
                  <a:pt x="1186" y="245"/>
                </a:cubicBezTo>
                <a:cubicBezTo>
                  <a:pt x="1191" y="245"/>
                  <a:pt x="1194" y="243"/>
                  <a:pt x="1194" y="239"/>
                </a:cubicBezTo>
                <a:cubicBezTo>
                  <a:pt x="1194" y="236"/>
                  <a:pt x="1191" y="233"/>
                  <a:pt x="1186" y="233"/>
                </a:cubicBezTo>
                <a:close/>
                <a:moveTo>
                  <a:pt x="1208" y="233"/>
                </a:moveTo>
                <a:cubicBezTo>
                  <a:pt x="1204" y="233"/>
                  <a:pt x="1201" y="236"/>
                  <a:pt x="1201" y="239"/>
                </a:cubicBezTo>
                <a:cubicBezTo>
                  <a:pt x="1201" y="243"/>
                  <a:pt x="1204" y="245"/>
                  <a:pt x="1208" y="245"/>
                </a:cubicBezTo>
                <a:cubicBezTo>
                  <a:pt x="1213" y="245"/>
                  <a:pt x="1216" y="243"/>
                  <a:pt x="1216" y="239"/>
                </a:cubicBezTo>
                <a:cubicBezTo>
                  <a:pt x="1216" y="236"/>
                  <a:pt x="1213" y="233"/>
                  <a:pt x="1208" y="233"/>
                </a:cubicBezTo>
                <a:close/>
                <a:moveTo>
                  <a:pt x="1186" y="252"/>
                </a:moveTo>
                <a:cubicBezTo>
                  <a:pt x="1182" y="252"/>
                  <a:pt x="1179" y="255"/>
                  <a:pt x="1179" y="258"/>
                </a:cubicBezTo>
                <a:cubicBezTo>
                  <a:pt x="1179" y="262"/>
                  <a:pt x="1182" y="265"/>
                  <a:pt x="1186" y="265"/>
                </a:cubicBezTo>
                <a:cubicBezTo>
                  <a:pt x="1191" y="265"/>
                  <a:pt x="1194" y="262"/>
                  <a:pt x="1194" y="258"/>
                </a:cubicBezTo>
                <a:cubicBezTo>
                  <a:pt x="1194" y="255"/>
                  <a:pt x="1191" y="252"/>
                  <a:pt x="1186" y="252"/>
                </a:cubicBezTo>
                <a:close/>
                <a:moveTo>
                  <a:pt x="1208" y="252"/>
                </a:moveTo>
                <a:cubicBezTo>
                  <a:pt x="1204" y="252"/>
                  <a:pt x="1201" y="255"/>
                  <a:pt x="1201" y="258"/>
                </a:cubicBezTo>
                <a:cubicBezTo>
                  <a:pt x="1201" y="262"/>
                  <a:pt x="1204" y="265"/>
                  <a:pt x="1208" y="265"/>
                </a:cubicBezTo>
                <a:cubicBezTo>
                  <a:pt x="1213" y="265"/>
                  <a:pt x="1216" y="262"/>
                  <a:pt x="1216" y="258"/>
                </a:cubicBezTo>
                <a:cubicBezTo>
                  <a:pt x="1216" y="255"/>
                  <a:pt x="1213" y="252"/>
                  <a:pt x="1208" y="252"/>
                </a:cubicBezTo>
                <a:close/>
                <a:moveTo>
                  <a:pt x="1186" y="271"/>
                </a:moveTo>
                <a:cubicBezTo>
                  <a:pt x="1182" y="271"/>
                  <a:pt x="1179" y="274"/>
                  <a:pt x="1179" y="278"/>
                </a:cubicBezTo>
                <a:cubicBezTo>
                  <a:pt x="1179" y="282"/>
                  <a:pt x="1182" y="285"/>
                  <a:pt x="1186" y="285"/>
                </a:cubicBezTo>
                <a:cubicBezTo>
                  <a:pt x="1191" y="285"/>
                  <a:pt x="1194" y="282"/>
                  <a:pt x="1194" y="278"/>
                </a:cubicBezTo>
                <a:cubicBezTo>
                  <a:pt x="1194" y="274"/>
                  <a:pt x="1191" y="271"/>
                  <a:pt x="1186" y="271"/>
                </a:cubicBezTo>
                <a:close/>
                <a:moveTo>
                  <a:pt x="1208" y="271"/>
                </a:moveTo>
                <a:cubicBezTo>
                  <a:pt x="1204" y="271"/>
                  <a:pt x="1201" y="274"/>
                  <a:pt x="1201" y="278"/>
                </a:cubicBezTo>
                <a:cubicBezTo>
                  <a:pt x="1201" y="282"/>
                  <a:pt x="1204" y="285"/>
                  <a:pt x="1208" y="285"/>
                </a:cubicBezTo>
                <a:cubicBezTo>
                  <a:pt x="1213" y="285"/>
                  <a:pt x="1216" y="282"/>
                  <a:pt x="1216" y="278"/>
                </a:cubicBezTo>
                <a:cubicBezTo>
                  <a:pt x="1216" y="274"/>
                  <a:pt x="1213" y="271"/>
                  <a:pt x="1208" y="271"/>
                </a:cubicBezTo>
                <a:close/>
                <a:moveTo>
                  <a:pt x="520" y="290"/>
                </a:moveTo>
                <a:cubicBezTo>
                  <a:pt x="516" y="290"/>
                  <a:pt x="512" y="293"/>
                  <a:pt x="512" y="296"/>
                </a:cubicBezTo>
                <a:cubicBezTo>
                  <a:pt x="512" y="300"/>
                  <a:pt x="516" y="303"/>
                  <a:pt x="520" y="303"/>
                </a:cubicBezTo>
                <a:cubicBezTo>
                  <a:pt x="524" y="303"/>
                  <a:pt x="528" y="300"/>
                  <a:pt x="528" y="296"/>
                </a:cubicBezTo>
                <a:cubicBezTo>
                  <a:pt x="528" y="293"/>
                  <a:pt x="524" y="290"/>
                  <a:pt x="520" y="290"/>
                </a:cubicBezTo>
                <a:close/>
                <a:moveTo>
                  <a:pt x="542" y="290"/>
                </a:moveTo>
                <a:cubicBezTo>
                  <a:pt x="538" y="290"/>
                  <a:pt x="534" y="293"/>
                  <a:pt x="534" y="296"/>
                </a:cubicBezTo>
                <a:cubicBezTo>
                  <a:pt x="534" y="300"/>
                  <a:pt x="538" y="303"/>
                  <a:pt x="542" y="303"/>
                </a:cubicBezTo>
                <a:cubicBezTo>
                  <a:pt x="546" y="303"/>
                  <a:pt x="549" y="300"/>
                  <a:pt x="549" y="296"/>
                </a:cubicBezTo>
                <a:cubicBezTo>
                  <a:pt x="549" y="293"/>
                  <a:pt x="546" y="290"/>
                  <a:pt x="542" y="290"/>
                </a:cubicBezTo>
                <a:close/>
                <a:moveTo>
                  <a:pt x="520" y="309"/>
                </a:moveTo>
                <a:cubicBezTo>
                  <a:pt x="516" y="309"/>
                  <a:pt x="512" y="312"/>
                  <a:pt x="512" y="316"/>
                </a:cubicBezTo>
                <a:cubicBezTo>
                  <a:pt x="512" y="320"/>
                  <a:pt x="516" y="323"/>
                  <a:pt x="520" y="323"/>
                </a:cubicBezTo>
                <a:cubicBezTo>
                  <a:pt x="524" y="323"/>
                  <a:pt x="528" y="320"/>
                  <a:pt x="528" y="316"/>
                </a:cubicBezTo>
                <a:cubicBezTo>
                  <a:pt x="528" y="312"/>
                  <a:pt x="524" y="309"/>
                  <a:pt x="520" y="309"/>
                </a:cubicBezTo>
                <a:close/>
                <a:moveTo>
                  <a:pt x="542" y="309"/>
                </a:moveTo>
                <a:cubicBezTo>
                  <a:pt x="538" y="309"/>
                  <a:pt x="534" y="312"/>
                  <a:pt x="534" y="316"/>
                </a:cubicBezTo>
                <a:cubicBezTo>
                  <a:pt x="534" y="320"/>
                  <a:pt x="538" y="323"/>
                  <a:pt x="542" y="323"/>
                </a:cubicBezTo>
                <a:cubicBezTo>
                  <a:pt x="546" y="323"/>
                  <a:pt x="549" y="320"/>
                  <a:pt x="549" y="316"/>
                </a:cubicBezTo>
                <a:cubicBezTo>
                  <a:pt x="549" y="312"/>
                  <a:pt x="546" y="309"/>
                  <a:pt x="542" y="309"/>
                </a:cubicBezTo>
                <a:close/>
                <a:moveTo>
                  <a:pt x="520" y="329"/>
                </a:moveTo>
                <a:cubicBezTo>
                  <a:pt x="516" y="329"/>
                  <a:pt x="512" y="332"/>
                  <a:pt x="512" y="335"/>
                </a:cubicBezTo>
                <a:cubicBezTo>
                  <a:pt x="512" y="339"/>
                  <a:pt x="516" y="342"/>
                  <a:pt x="520" y="342"/>
                </a:cubicBezTo>
                <a:cubicBezTo>
                  <a:pt x="524" y="342"/>
                  <a:pt x="528" y="339"/>
                  <a:pt x="528" y="335"/>
                </a:cubicBezTo>
                <a:cubicBezTo>
                  <a:pt x="528" y="332"/>
                  <a:pt x="524" y="329"/>
                  <a:pt x="520" y="329"/>
                </a:cubicBezTo>
                <a:close/>
                <a:moveTo>
                  <a:pt x="542" y="329"/>
                </a:moveTo>
                <a:cubicBezTo>
                  <a:pt x="538" y="329"/>
                  <a:pt x="534" y="332"/>
                  <a:pt x="534" y="335"/>
                </a:cubicBezTo>
                <a:cubicBezTo>
                  <a:pt x="534" y="339"/>
                  <a:pt x="538" y="342"/>
                  <a:pt x="542" y="342"/>
                </a:cubicBezTo>
                <a:cubicBezTo>
                  <a:pt x="546" y="342"/>
                  <a:pt x="549" y="339"/>
                  <a:pt x="549" y="335"/>
                </a:cubicBezTo>
                <a:cubicBezTo>
                  <a:pt x="549" y="332"/>
                  <a:pt x="546" y="329"/>
                  <a:pt x="542" y="329"/>
                </a:cubicBezTo>
                <a:close/>
                <a:moveTo>
                  <a:pt x="520" y="348"/>
                </a:moveTo>
                <a:cubicBezTo>
                  <a:pt x="516" y="348"/>
                  <a:pt x="512" y="351"/>
                  <a:pt x="512" y="355"/>
                </a:cubicBezTo>
                <a:cubicBezTo>
                  <a:pt x="512" y="359"/>
                  <a:pt x="516" y="362"/>
                  <a:pt x="520" y="362"/>
                </a:cubicBezTo>
                <a:cubicBezTo>
                  <a:pt x="524" y="362"/>
                  <a:pt x="528" y="359"/>
                  <a:pt x="528" y="355"/>
                </a:cubicBezTo>
                <a:cubicBezTo>
                  <a:pt x="528" y="351"/>
                  <a:pt x="524" y="348"/>
                  <a:pt x="520" y="348"/>
                </a:cubicBezTo>
                <a:close/>
                <a:moveTo>
                  <a:pt x="542" y="348"/>
                </a:moveTo>
                <a:cubicBezTo>
                  <a:pt x="538" y="348"/>
                  <a:pt x="534" y="351"/>
                  <a:pt x="534" y="355"/>
                </a:cubicBezTo>
                <a:cubicBezTo>
                  <a:pt x="534" y="359"/>
                  <a:pt x="538" y="362"/>
                  <a:pt x="542" y="362"/>
                </a:cubicBezTo>
                <a:cubicBezTo>
                  <a:pt x="546" y="362"/>
                  <a:pt x="549" y="359"/>
                  <a:pt x="549" y="355"/>
                </a:cubicBezTo>
                <a:cubicBezTo>
                  <a:pt x="549" y="351"/>
                  <a:pt x="546" y="348"/>
                  <a:pt x="542" y="348"/>
                </a:cubicBezTo>
                <a:close/>
                <a:moveTo>
                  <a:pt x="520" y="368"/>
                </a:moveTo>
                <a:cubicBezTo>
                  <a:pt x="516" y="368"/>
                  <a:pt x="512" y="371"/>
                  <a:pt x="512" y="374"/>
                </a:cubicBezTo>
                <a:cubicBezTo>
                  <a:pt x="512" y="378"/>
                  <a:pt x="516" y="381"/>
                  <a:pt x="520" y="381"/>
                </a:cubicBezTo>
                <a:cubicBezTo>
                  <a:pt x="524" y="381"/>
                  <a:pt x="528" y="378"/>
                  <a:pt x="528" y="374"/>
                </a:cubicBezTo>
                <a:cubicBezTo>
                  <a:pt x="528" y="371"/>
                  <a:pt x="524" y="368"/>
                  <a:pt x="520" y="368"/>
                </a:cubicBezTo>
                <a:close/>
                <a:moveTo>
                  <a:pt x="542" y="368"/>
                </a:moveTo>
                <a:cubicBezTo>
                  <a:pt x="538" y="368"/>
                  <a:pt x="534" y="371"/>
                  <a:pt x="534" y="374"/>
                </a:cubicBezTo>
                <a:cubicBezTo>
                  <a:pt x="534" y="378"/>
                  <a:pt x="538" y="381"/>
                  <a:pt x="542" y="381"/>
                </a:cubicBezTo>
                <a:cubicBezTo>
                  <a:pt x="546" y="381"/>
                  <a:pt x="549" y="378"/>
                  <a:pt x="549" y="374"/>
                </a:cubicBezTo>
                <a:cubicBezTo>
                  <a:pt x="549" y="371"/>
                  <a:pt x="546" y="368"/>
                  <a:pt x="542" y="368"/>
                </a:cubicBezTo>
                <a:close/>
                <a:moveTo>
                  <a:pt x="520" y="387"/>
                </a:moveTo>
                <a:cubicBezTo>
                  <a:pt x="516" y="387"/>
                  <a:pt x="512" y="390"/>
                  <a:pt x="512" y="393"/>
                </a:cubicBezTo>
                <a:cubicBezTo>
                  <a:pt x="512" y="397"/>
                  <a:pt x="516" y="400"/>
                  <a:pt x="520" y="400"/>
                </a:cubicBezTo>
                <a:cubicBezTo>
                  <a:pt x="524" y="400"/>
                  <a:pt x="528" y="397"/>
                  <a:pt x="528" y="393"/>
                </a:cubicBezTo>
                <a:cubicBezTo>
                  <a:pt x="528" y="390"/>
                  <a:pt x="524" y="387"/>
                  <a:pt x="520" y="387"/>
                </a:cubicBezTo>
                <a:close/>
                <a:moveTo>
                  <a:pt x="542" y="387"/>
                </a:moveTo>
                <a:cubicBezTo>
                  <a:pt x="538" y="387"/>
                  <a:pt x="534" y="390"/>
                  <a:pt x="534" y="393"/>
                </a:cubicBezTo>
                <a:cubicBezTo>
                  <a:pt x="534" y="397"/>
                  <a:pt x="538" y="400"/>
                  <a:pt x="542" y="400"/>
                </a:cubicBezTo>
                <a:cubicBezTo>
                  <a:pt x="546" y="400"/>
                  <a:pt x="549" y="397"/>
                  <a:pt x="549" y="393"/>
                </a:cubicBezTo>
                <a:cubicBezTo>
                  <a:pt x="549" y="390"/>
                  <a:pt x="546" y="387"/>
                  <a:pt x="542" y="387"/>
                </a:cubicBezTo>
                <a:close/>
                <a:moveTo>
                  <a:pt x="520" y="406"/>
                </a:moveTo>
                <a:cubicBezTo>
                  <a:pt x="516" y="406"/>
                  <a:pt x="512" y="409"/>
                  <a:pt x="512" y="413"/>
                </a:cubicBezTo>
                <a:cubicBezTo>
                  <a:pt x="512" y="416"/>
                  <a:pt x="516" y="419"/>
                  <a:pt x="520" y="419"/>
                </a:cubicBezTo>
                <a:cubicBezTo>
                  <a:pt x="524" y="419"/>
                  <a:pt x="528" y="416"/>
                  <a:pt x="528" y="413"/>
                </a:cubicBezTo>
                <a:cubicBezTo>
                  <a:pt x="528" y="409"/>
                  <a:pt x="524" y="406"/>
                  <a:pt x="520" y="406"/>
                </a:cubicBezTo>
                <a:close/>
                <a:moveTo>
                  <a:pt x="542" y="406"/>
                </a:moveTo>
                <a:cubicBezTo>
                  <a:pt x="538" y="406"/>
                  <a:pt x="534" y="409"/>
                  <a:pt x="534" y="413"/>
                </a:cubicBezTo>
                <a:cubicBezTo>
                  <a:pt x="534" y="416"/>
                  <a:pt x="538" y="419"/>
                  <a:pt x="542" y="419"/>
                </a:cubicBezTo>
                <a:cubicBezTo>
                  <a:pt x="546" y="419"/>
                  <a:pt x="549" y="416"/>
                  <a:pt x="549" y="413"/>
                </a:cubicBezTo>
                <a:cubicBezTo>
                  <a:pt x="549" y="409"/>
                  <a:pt x="546" y="406"/>
                  <a:pt x="542" y="406"/>
                </a:cubicBezTo>
                <a:close/>
                <a:moveTo>
                  <a:pt x="520" y="425"/>
                </a:moveTo>
                <a:cubicBezTo>
                  <a:pt x="516" y="425"/>
                  <a:pt x="512" y="428"/>
                  <a:pt x="512" y="432"/>
                </a:cubicBezTo>
                <a:cubicBezTo>
                  <a:pt x="512" y="435"/>
                  <a:pt x="516" y="438"/>
                  <a:pt x="520" y="438"/>
                </a:cubicBezTo>
                <a:cubicBezTo>
                  <a:pt x="524" y="438"/>
                  <a:pt x="528" y="435"/>
                  <a:pt x="528" y="432"/>
                </a:cubicBezTo>
                <a:cubicBezTo>
                  <a:pt x="528" y="428"/>
                  <a:pt x="524" y="425"/>
                  <a:pt x="520" y="425"/>
                </a:cubicBezTo>
                <a:close/>
                <a:moveTo>
                  <a:pt x="542" y="425"/>
                </a:moveTo>
                <a:cubicBezTo>
                  <a:pt x="538" y="425"/>
                  <a:pt x="534" y="428"/>
                  <a:pt x="534" y="432"/>
                </a:cubicBezTo>
                <a:cubicBezTo>
                  <a:pt x="534" y="435"/>
                  <a:pt x="538" y="438"/>
                  <a:pt x="542" y="438"/>
                </a:cubicBezTo>
                <a:cubicBezTo>
                  <a:pt x="546" y="438"/>
                  <a:pt x="549" y="435"/>
                  <a:pt x="549" y="432"/>
                </a:cubicBezTo>
                <a:cubicBezTo>
                  <a:pt x="549" y="428"/>
                  <a:pt x="546" y="425"/>
                  <a:pt x="542" y="425"/>
                </a:cubicBezTo>
                <a:close/>
                <a:moveTo>
                  <a:pt x="564" y="309"/>
                </a:moveTo>
                <a:cubicBezTo>
                  <a:pt x="559" y="309"/>
                  <a:pt x="556" y="312"/>
                  <a:pt x="556" y="316"/>
                </a:cubicBezTo>
                <a:cubicBezTo>
                  <a:pt x="556" y="320"/>
                  <a:pt x="559" y="323"/>
                  <a:pt x="564" y="323"/>
                </a:cubicBezTo>
                <a:cubicBezTo>
                  <a:pt x="568" y="323"/>
                  <a:pt x="571" y="320"/>
                  <a:pt x="571" y="316"/>
                </a:cubicBezTo>
                <a:cubicBezTo>
                  <a:pt x="571" y="312"/>
                  <a:pt x="568" y="309"/>
                  <a:pt x="564" y="309"/>
                </a:cubicBezTo>
                <a:close/>
                <a:moveTo>
                  <a:pt x="564" y="329"/>
                </a:moveTo>
                <a:cubicBezTo>
                  <a:pt x="559" y="329"/>
                  <a:pt x="556" y="332"/>
                  <a:pt x="556" y="335"/>
                </a:cubicBezTo>
                <a:cubicBezTo>
                  <a:pt x="556" y="339"/>
                  <a:pt x="559" y="342"/>
                  <a:pt x="564" y="342"/>
                </a:cubicBezTo>
                <a:cubicBezTo>
                  <a:pt x="568" y="342"/>
                  <a:pt x="571" y="339"/>
                  <a:pt x="571" y="335"/>
                </a:cubicBezTo>
                <a:cubicBezTo>
                  <a:pt x="571" y="332"/>
                  <a:pt x="568" y="329"/>
                  <a:pt x="564" y="329"/>
                </a:cubicBezTo>
                <a:close/>
                <a:moveTo>
                  <a:pt x="586" y="329"/>
                </a:moveTo>
                <a:cubicBezTo>
                  <a:pt x="582" y="329"/>
                  <a:pt x="579" y="332"/>
                  <a:pt x="579" y="335"/>
                </a:cubicBezTo>
                <a:cubicBezTo>
                  <a:pt x="579" y="339"/>
                  <a:pt x="582" y="342"/>
                  <a:pt x="586" y="342"/>
                </a:cubicBezTo>
                <a:cubicBezTo>
                  <a:pt x="590" y="342"/>
                  <a:pt x="593" y="339"/>
                  <a:pt x="593" y="335"/>
                </a:cubicBezTo>
                <a:cubicBezTo>
                  <a:pt x="593" y="332"/>
                  <a:pt x="590" y="329"/>
                  <a:pt x="586" y="329"/>
                </a:cubicBezTo>
                <a:close/>
                <a:moveTo>
                  <a:pt x="564" y="348"/>
                </a:moveTo>
                <a:cubicBezTo>
                  <a:pt x="559" y="348"/>
                  <a:pt x="556" y="351"/>
                  <a:pt x="556" y="355"/>
                </a:cubicBezTo>
                <a:cubicBezTo>
                  <a:pt x="556" y="359"/>
                  <a:pt x="559" y="362"/>
                  <a:pt x="564" y="362"/>
                </a:cubicBezTo>
                <a:cubicBezTo>
                  <a:pt x="568" y="362"/>
                  <a:pt x="571" y="359"/>
                  <a:pt x="571" y="355"/>
                </a:cubicBezTo>
                <a:cubicBezTo>
                  <a:pt x="571" y="351"/>
                  <a:pt x="568" y="348"/>
                  <a:pt x="564" y="348"/>
                </a:cubicBezTo>
                <a:close/>
                <a:moveTo>
                  <a:pt x="586" y="348"/>
                </a:moveTo>
                <a:cubicBezTo>
                  <a:pt x="582" y="348"/>
                  <a:pt x="579" y="351"/>
                  <a:pt x="579" y="355"/>
                </a:cubicBezTo>
                <a:cubicBezTo>
                  <a:pt x="579" y="359"/>
                  <a:pt x="582" y="362"/>
                  <a:pt x="586" y="362"/>
                </a:cubicBezTo>
                <a:cubicBezTo>
                  <a:pt x="590" y="362"/>
                  <a:pt x="593" y="359"/>
                  <a:pt x="593" y="355"/>
                </a:cubicBezTo>
                <a:cubicBezTo>
                  <a:pt x="593" y="351"/>
                  <a:pt x="590" y="348"/>
                  <a:pt x="586" y="348"/>
                </a:cubicBezTo>
                <a:close/>
                <a:moveTo>
                  <a:pt x="564" y="368"/>
                </a:moveTo>
                <a:cubicBezTo>
                  <a:pt x="559" y="368"/>
                  <a:pt x="556" y="371"/>
                  <a:pt x="556" y="374"/>
                </a:cubicBezTo>
                <a:cubicBezTo>
                  <a:pt x="556" y="378"/>
                  <a:pt x="559" y="381"/>
                  <a:pt x="564" y="381"/>
                </a:cubicBezTo>
                <a:cubicBezTo>
                  <a:pt x="568" y="381"/>
                  <a:pt x="571" y="378"/>
                  <a:pt x="571" y="374"/>
                </a:cubicBezTo>
                <a:cubicBezTo>
                  <a:pt x="571" y="371"/>
                  <a:pt x="568" y="368"/>
                  <a:pt x="564" y="368"/>
                </a:cubicBezTo>
                <a:close/>
                <a:moveTo>
                  <a:pt x="586" y="368"/>
                </a:moveTo>
                <a:cubicBezTo>
                  <a:pt x="582" y="368"/>
                  <a:pt x="579" y="371"/>
                  <a:pt x="579" y="374"/>
                </a:cubicBezTo>
                <a:cubicBezTo>
                  <a:pt x="579" y="378"/>
                  <a:pt x="582" y="381"/>
                  <a:pt x="586" y="381"/>
                </a:cubicBezTo>
                <a:cubicBezTo>
                  <a:pt x="590" y="381"/>
                  <a:pt x="593" y="378"/>
                  <a:pt x="593" y="374"/>
                </a:cubicBezTo>
                <a:cubicBezTo>
                  <a:pt x="593" y="371"/>
                  <a:pt x="590" y="368"/>
                  <a:pt x="586" y="368"/>
                </a:cubicBezTo>
                <a:close/>
                <a:moveTo>
                  <a:pt x="586" y="406"/>
                </a:moveTo>
                <a:cubicBezTo>
                  <a:pt x="582" y="406"/>
                  <a:pt x="579" y="409"/>
                  <a:pt x="579" y="413"/>
                </a:cubicBezTo>
                <a:cubicBezTo>
                  <a:pt x="579" y="416"/>
                  <a:pt x="582" y="419"/>
                  <a:pt x="586" y="419"/>
                </a:cubicBezTo>
                <a:cubicBezTo>
                  <a:pt x="590" y="419"/>
                  <a:pt x="593" y="416"/>
                  <a:pt x="593" y="413"/>
                </a:cubicBezTo>
                <a:cubicBezTo>
                  <a:pt x="593" y="409"/>
                  <a:pt x="590" y="406"/>
                  <a:pt x="586" y="406"/>
                </a:cubicBezTo>
                <a:close/>
                <a:moveTo>
                  <a:pt x="564" y="425"/>
                </a:moveTo>
                <a:cubicBezTo>
                  <a:pt x="559" y="425"/>
                  <a:pt x="556" y="428"/>
                  <a:pt x="556" y="432"/>
                </a:cubicBezTo>
                <a:cubicBezTo>
                  <a:pt x="556" y="435"/>
                  <a:pt x="559" y="438"/>
                  <a:pt x="564" y="438"/>
                </a:cubicBezTo>
                <a:cubicBezTo>
                  <a:pt x="568" y="438"/>
                  <a:pt x="571" y="435"/>
                  <a:pt x="571" y="432"/>
                </a:cubicBezTo>
                <a:cubicBezTo>
                  <a:pt x="571" y="428"/>
                  <a:pt x="568" y="425"/>
                  <a:pt x="564" y="425"/>
                </a:cubicBezTo>
                <a:close/>
                <a:moveTo>
                  <a:pt x="586" y="425"/>
                </a:moveTo>
                <a:cubicBezTo>
                  <a:pt x="582" y="425"/>
                  <a:pt x="579" y="428"/>
                  <a:pt x="579" y="432"/>
                </a:cubicBezTo>
                <a:cubicBezTo>
                  <a:pt x="579" y="435"/>
                  <a:pt x="582" y="438"/>
                  <a:pt x="586" y="438"/>
                </a:cubicBezTo>
                <a:cubicBezTo>
                  <a:pt x="590" y="438"/>
                  <a:pt x="593" y="435"/>
                  <a:pt x="593" y="432"/>
                </a:cubicBezTo>
                <a:cubicBezTo>
                  <a:pt x="593" y="428"/>
                  <a:pt x="590" y="425"/>
                  <a:pt x="586" y="425"/>
                </a:cubicBezTo>
                <a:close/>
                <a:moveTo>
                  <a:pt x="631" y="290"/>
                </a:moveTo>
                <a:cubicBezTo>
                  <a:pt x="627" y="290"/>
                  <a:pt x="623" y="293"/>
                  <a:pt x="623" y="296"/>
                </a:cubicBezTo>
                <a:cubicBezTo>
                  <a:pt x="623" y="300"/>
                  <a:pt x="627" y="303"/>
                  <a:pt x="631" y="303"/>
                </a:cubicBezTo>
                <a:cubicBezTo>
                  <a:pt x="635" y="303"/>
                  <a:pt x="638" y="300"/>
                  <a:pt x="638" y="296"/>
                </a:cubicBezTo>
                <a:cubicBezTo>
                  <a:pt x="638" y="293"/>
                  <a:pt x="635" y="290"/>
                  <a:pt x="631" y="290"/>
                </a:cubicBezTo>
                <a:close/>
                <a:moveTo>
                  <a:pt x="631" y="309"/>
                </a:moveTo>
                <a:cubicBezTo>
                  <a:pt x="627" y="309"/>
                  <a:pt x="623" y="312"/>
                  <a:pt x="623" y="316"/>
                </a:cubicBezTo>
                <a:cubicBezTo>
                  <a:pt x="623" y="320"/>
                  <a:pt x="627" y="323"/>
                  <a:pt x="631" y="323"/>
                </a:cubicBezTo>
                <a:cubicBezTo>
                  <a:pt x="635" y="323"/>
                  <a:pt x="638" y="320"/>
                  <a:pt x="638" y="316"/>
                </a:cubicBezTo>
                <a:cubicBezTo>
                  <a:pt x="638" y="312"/>
                  <a:pt x="635" y="309"/>
                  <a:pt x="631" y="309"/>
                </a:cubicBezTo>
                <a:close/>
                <a:moveTo>
                  <a:pt x="631" y="329"/>
                </a:moveTo>
                <a:cubicBezTo>
                  <a:pt x="627" y="329"/>
                  <a:pt x="623" y="332"/>
                  <a:pt x="623" y="335"/>
                </a:cubicBezTo>
                <a:cubicBezTo>
                  <a:pt x="623" y="339"/>
                  <a:pt x="627" y="342"/>
                  <a:pt x="631" y="342"/>
                </a:cubicBezTo>
                <a:cubicBezTo>
                  <a:pt x="635" y="342"/>
                  <a:pt x="638" y="339"/>
                  <a:pt x="638" y="335"/>
                </a:cubicBezTo>
                <a:cubicBezTo>
                  <a:pt x="638" y="332"/>
                  <a:pt x="635" y="329"/>
                  <a:pt x="631" y="329"/>
                </a:cubicBezTo>
                <a:close/>
                <a:moveTo>
                  <a:pt x="609" y="348"/>
                </a:moveTo>
                <a:cubicBezTo>
                  <a:pt x="605" y="348"/>
                  <a:pt x="601" y="351"/>
                  <a:pt x="601" y="355"/>
                </a:cubicBezTo>
                <a:cubicBezTo>
                  <a:pt x="601" y="359"/>
                  <a:pt x="605" y="362"/>
                  <a:pt x="609" y="362"/>
                </a:cubicBezTo>
                <a:cubicBezTo>
                  <a:pt x="613" y="362"/>
                  <a:pt x="616" y="359"/>
                  <a:pt x="616" y="355"/>
                </a:cubicBezTo>
                <a:cubicBezTo>
                  <a:pt x="616" y="351"/>
                  <a:pt x="613" y="348"/>
                  <a:pt x="609" y="348"/>
                </a:cubicBezTo>
                <a:close/>
                <a:moveTo>
                  <a:pt x="631" y="348"/>
                </a:moveTo>
                <a:cubicBezTo>
                  <a:pt x="627" y="348"/>
                  <a:pt x="623" y="351"/>
                  <a:pt x="623" y="355"/>
                </a:cubicBezTo>
                <a:cubicBezTo>
                  <a:pt x="623" y="359"/>
                  <a:pt x="627" y="362"/>
                  <a:pt x="631" y="362"/>
                </a:cubicBezTo>
                <a:cubicBezTo>
                  <a:pt x="635" y="362"/>
                  <a:pt x="638" y="359"/>
                  <a:pt x="638" y="355"/>
                </a:cubicBezTo>
                <a:cubicBezTo>
                  <a:pt x="638" y="351"/>
                  <a:pt x="635" y="348"/>
                  <a:pt x="631" y="348"/>
                </a:cubicBezTo>
                <a:close/>
                <a:moveTo>
                  <a:pt x="609" y="368"/>
                </a:moveTo>
                <a:cubicBezTo>
                  <a:pt x="605" y="368"/>
                  <a:pt x="601" y="371"/>
                  <a:pt x="601" y="374"/>
                </a:cubicBezTo>
                <a:cubicBezTo>
                  <a:pt x="601" y="378"/>
                  <a:pt x="605" y="381"/>
                  <a:pt x="609" y="381"/>
                </a:cubicBezTo>
                <a:cubicBezTo>
                  <a:pt x="613" y="381"/>
                  <a:pt x="616" y="378"/>
                  <a:pt x="616" y="374"/>
                </a:cubicBezTo>
                <a:cubicBezTo>
                  <a:pt x="616" y="371"/>
                  <a:pt x="613" y="368"/>
                  <a:pt x="609" y="368"/>
                </a:cubicBezTo>
                <a:close/>
                <a:moveTo>
                  <a:pt x="631" y="368"/>
                </a:moveTo>
                <a:cubicBezTo>
                  <a:pt x="627" y="368"/>
                  <a:pt x="623" y="371"/>
                  <a:pt x="623" y="374"/>
                </a:cubicBezTo>
                <a:cubicBezTo>
                  <a:pt x="623" y="378"/>
                  <a:pt x="627" y="381"/>
                  <a:pt x="631" y="381"/>
                </a:cubicBezTo>
                <a:cubicBezTo>
                  <a:pt x="635" y="381"/>
                  <a:pt x="638" y="378"/>
                  <a:pt x="638" y="374"/>
                </a:cubicBezTo>
                <a:cubicBezTo>
                  <a:pt x="638" y="371"/>
                  <a:pt x="635" y="368"/>
                  <a:pt x="631" y="368"/>
                </a:cubicBezTo>
                <a:close/>
                <a:moveTo>
                  <a:pt x="609" y="387"/>
                </a:moveTo>
                <a:cubicBezTo>
                  <a:pt x="605" y="387"/>
                  <a:pt x="601" y="390"/>
                  <a:pt x="601" y="393"/>
                </a:cubicBezTo>
                <a:cubicBezTo>
                  <a:pt x="601" y="397"/>
                  <a:pt x="605" y="400"/>
                  <a:pt x="609" y="400"/>
                </a:cubicBezTo>
                <a:cubicBezTo>
                  <a:pt x="613" y="400"/>
                  <a:pt x="616" y="397"/>
                  <a:pt x="616" y="393"/>
                </a:cubicBezTo>
                <a:cubicBezTo>
                  <a:pt x="616" y="390"/>
                  <a:pt x="613" y="387"/>
                  <a:pt x="609" y="387"/>
                </a:cubicBezTo>
                <a:close/>
                <a:moveTo>
                  <a:pt x="631" y="387"/>
                </a:moveTo>
                <a:cubicBezTo>
                  <a:pt x="627" y="387"/>
                  <a:pt x="623" y="390"/>
                  <a:pt x="623" y="393"/>
                </a:cubicBezTo>
                <a:cubicBezTo>
                  <a:pt x="623" y="397"/>
                  <a:pt x="627" y="400"/>
                  <a:pt x="631" y="400"/>
                </a:cubicBezTo>
                <a:cubicBezTo>
                  <a:pt x="635" y="400"/>
                  <a:pt x="638" y="397"/>
                  <a:pt x="638" y="393"/>
                </a:cubicBezTo>
                <a:cubicBezTo>
                  <a:pt x="638" y="390"/>
                  <a:pt x="635" y="387"/>
                  <a:pt x="631" y="387"/>
                </a:cubicBezTo>
                <a:close/>
                <a:moveTo>
                  <a:pt x="609" y="406"/>
                </a:moveTo>
                <a:cubicBezTo>
                  <a:pt x="605" y="406"/>
                  <a:pt x="601" y="409"/>
                  <a:pt x="601" y="413"/>
                </a:cubicBezTo>
                <a:cubicBezTo>
                  <a:pt x="601" y="416"/>
                  <a:pt x="605" y="419"/>
                  <a:pt x="609" y="419"/>
                </a:cubicBezTo>
                <a:cubicBezTo>
                  <a:pt x="613" y="419"/>
                  <a:pt x="616" y="416"/>
                  <a:pt x="616" y="413"/>
                </a:cubicBezTo>
                <a:cubicBezTo>
                  <a:pt x="616" y="409"/>
                  <a:pt x="613" y="406"/>
                  <a:pt x="609" y="406"/>
                </a:cubicBezTo>
                <a:close/>
                <a:moveTo>
                  <a:pt x="631" y="406"/>
                </a:moveTo>
                <a:cubicBezTo>
                  <a:pt x="627" y="406"/>
                  <a:pt x="623" y="409"/>
                  <a:pt x="623" y="413"/>
                </a:cubicBezTo>
                <a:cubicBezTo>
                  <a:pt x="623" y="416"/>
                  <a:pt x="627" y="419"/>
                  <a:pt x="631" y="419"/>
                </a:cubicBezTo>
                <a:cubicBezTo>
                  <a:pt x="635" y="419"/>
                  <a:pt x="638" y="416"/>
                  <a:pt x="638" y="413"/>
                </a:cubicBezTo>
                <a:cubicBezTo>
                  <a:pt x="638" y="409"/>
                  <a:pt x="635" y="406"/>
                  <a:pt x="631" y="406"/>
                </a:cubicBezTo>
                <a:close/>
                <a:moveTo>
                  <a:pt x="609" y="425"/>
                </a:moveTo>
                <a:cubicBezTo>
                  <a:pt x="605" y="425"/>
                  <a:pt x="601" y="428"/>
                  <a:pt x="601" y="432"/>
                </a:cubicBezTo>
                <a:cubicBezTo>
                  <a:pt x="601" y="435"/>
                  <a:pt x="605" y="438"/>
                  <a:pt x="609" y="438"/>
                </a:cubicBezTo>
                <a:cubicBezTo>
                  <a:pt x="613" y="438"/>
                  <a:pt x="616" y="435"/>
                  <a:pt x="616" y="432"/>
                </a:cubicBezTo>
                <a:cubicBezTo>
                  <a:pt x="616" y="428"/>
                  <a:pt x="613" y="425"/>
                  <a:pt x="609" y="425"/>
                </a:cubicBezTo>
                <a:close/>
                <a:moveTo>
                  <a:pt x="631" y="425"/>
                </a:moveTo>
                <a:cubicBezTo>
                  <a:pt x="627" y="425"/>
                  <a:pt x="623" y="428"/>
                  <a:pt x="623" y="432"/>
                </a:cubicBezTo>
                <a:cubicBezTo>
                  <a:pt x="623" y="435"/>
                  <a:pt x="627" y="438"/>
                  <a:pt x="631" y="438"/>
                </a:cubicBezTo>
                <a:cubicBezTo>
                  <a:pt x="635" y="438"/>
                  <a:pt x="638" y="435"/>
                  <a:pt x="638" y="432"/>
                </a:cubicBezTo>
                <a:cubicBezTo>
                  <a:pt x="638" y="428"/>
                  <a:pt x="635" y="425"/>
                  <a:pt x="631" y="425"/>
                </a:cubicBezTo>
                <a:close/>
                <a:moveTo>
                  <a:pt x="652" y="290"/>
                </a:moveTo>
                <a:cubicBezTo>
                  <a:pt x="648" y="290"/>
                  <a:pt x="645" y="293"/>
                  <a:pt x="645" y="296"/>
                </a:cubicBezTo>
                <a:cubicBezTo>
                  <a:pt x="645" y="300"/>
                  <a:pt x="648" y="303"/>
                  <a:pt x="652" y="303"/>
                </a:cubicBezTo>
                <a:cubicBezTo>
                  <a:pt x="657" y="303"/>
                  <a:pt x="660" y="300"/>
                  <a:pt x="660" y="296"/>
                </a:cubicBezTo>
                <a:cubicBezTo>
                  <a:pt x="660" y="293"/>
                  <a:pt x="657" y="290"/>
                  <a:pt x="652" y="290"/>
                </a:cubicBezTo>
                <a:close/>
                <a:moveTo>
                  <a:pt x="675" y="291"/>
                </a:moveTo>
                <a:cubicBezTo>
                  <a:pt x="671" y="291"/>
                  <a:pt x="667" y="294"/>
                  <a:pt x="667" y="297"/>
                </a:cubicBezTo>
                <a:cubicBezTo>
                  <a:pt x="667" y="301"/>
                  <a:pt x="671" y="304"/>
                  <a:pt x="675" y="304"/>
                </a:cubicBezTo>
                <a:cubicBezTo>
                  <a:pt x="679" y="304"/>
                  <a:pt x="682" y="301"/>
                  <a:pt x="682" y="297"/>
                </a:cubicBezTo>
                <a:cubicBezTo>
                  <a:pt x="682" y="294"/>
                  <a:pt x="679" y="291"/>
                  <a:pt x="675" y="291"/>
                </a:cubicBezTo>
                <a:close/>
                <a:moveTo>
                  <a:pt x="652" y="309"/>
                </a:moveTo>
                <a:cubicBezTo>
                  <a:pt x="648" y="309"/>
                  <a:pt x="645" y="312"/>
                  <a:pt x="645" y="316"/>
                </a:cubicBezTo>
                <a:cubicBezTo>
                  <a:pt x="645" y="320"/>
                  <a:pt x="648" y="323"/>
                  <a:pt x="652" y="323"/>
                </a:cubicBezTo>
                <a:cubicBezTo>
                  <a:pt x="657" y="323"/>
                  <a:pt x="660" y="320"/>
                  <a:pt x="660" y="316"/>
                </a:cubicBezTo>
                <a:cubicBezTo>
                  <a:pt x="660" y="312"/>
                  <a:pt x="657" y="309"/>
                  <a:pt x="652" y="309"/>
                </a:cubicBezTo>
                <a:close/>
                <a:moveTo>
                  <a:pt x="675" y="310"/>
                </a:moveTo>
                <a:cubicBezTo>
                  <a:pt x="671" y="310"/>
                  <a:pt x="667" y="313"/>
                  <a:pt x="667" y="317"/>
                </a:cubicBezTo>
                <a:cubicBezTo>
                  <a:pt x="667" y="320"/>
                  <a:pt x="671" y="323"/>
                  <a:pt x="675" y="323"/>
                </a:cubicBezTo>
                <a:cubicBezTo>
                  <a:pt x="679" y="323"/>
                  <a:pt x="682" y="320"/>
                  <a:pt x="682" y="317"/>
                </a:cubicBezTo>
                <a:cubicBezTo>
                  <a:pt x="682" y="313"/>
                  <a:pt x="679" y="310"/>
                  <a:pt x="675" y="310"/>
                </a:cubicBezTo>
                <a:close/>
                <a:moveTo>
                  <a:pt x="652" y="329"/>
                </a:moveTo>
                <a:cubicBezTo>
                  <a:pt x="648" y="329"/>
                  <a:pt x="645" y="332"/>
                  <a:pt x="645" y="335"/>
                </a:cubicBezTo>
                <a:cubicBezTo>
                  <a:pt x="645" y="339"/>
                  <a:pt x="648" y="342"/>
                  <a:pt x="652" y="342"/>
                </a:cubicBezTo>
                <a:cubicBezTo>
                  <a:pt x="657" y="342"/>
                  <a:pt x="660" y="339"/>
                  <a:pt x="660" y="335"/>
                </a:cubicBezTo>
                <a:cubicBezTo>
                  <a:pt x="660" y="332"/>
                  <a:pt x="657" y="329"/>
                  <a:pt x="652" y="329"/>
                </a:cubicBezTo>
                <a:close/>
                <a:moveTo>
                  <a:pt x="675" y="329"/>
                </a:moveTo>
                <a:cubicBezTo>
                  <a:pt x="671" y="329"/>
                  <a:pt x="667" y="333"/>
                  <a:pt x="667" y="336"/>
                </a:cubicBezTo>
                <a:cubicBezTo>
                  <a:pt x="667" y="340"/>
                  <a:pt x="671" y="343"/>
                  <a:pt x="675" y="343"/>
                </a:cubicBezTo>
                <a:cubicBezTo>
                  <a:pt x="679" y="343"/>
                  <a:pt x="682" y="340"/>
                  <a:pt x="682" y="336"/>
                </a:cubicBezTo>
                <a:cubicBezTo>
                  <a:pt x="682" y="333"/>
                  <a:pt x="679" y="329"/>
                  <a:pt x="675" y="329"/>
                </a:cubicBezTo>
                <a:close/>
                <a:moveTo>
                  <a:pt x="652" y="348"/>
                </a:moveTo>
                <a:cubicBezTo>
                  <a:pt x="648" y="348"/>
                  <a:pt x="645" y="351"/>
                  <a:pt x="645" y="355"/>
                </a:cubicBezTo>
                <a:cubicBezTo>
                  <a:pt x="645" y="359"/>
                  <a:pt x="648" y="362"/>
                  <a:pt x="652" y="362"/>
                </a:cubicBezTo>
                <a:cubicBezTo>
                  <a:pt x="657" y="362"/>
                  <a:pt x="660" y="359"/>
                  <a:pt x="660" y="355"/>
                </a:cubicBezTo>
                <a:cubicBezTo>
                  <a:pt x="660" y="351"/>
                  <a:pt x="657" y="348"/>
                  <a:pt x="652" y="348"/>
                </a:cubicBezTo>
                <a:close/>
                <a:moveTo>
                  <a:pt x="675" y="349"/>
                </a:moveTo>
                <a:cubicBezTo>
                  <a:pt x="671" y="349"/>
                  <a:pt x="667" y="352"/>
                  <a:pt x="667" y="355"/>
                </a:cubicBezTo>
                <a:cubicBezTo>
                  <a:pt x="667" y="359"/>
                  <a:pt x="671" y="362"/>
                  <a:pt x="675" y="362"/>
                </a:cubicBezTo>
                <a:cubicBezTo>
                  <a:pt x="679" y="362"/>
                  <a:pt x="682" y="359"/>
                  <a:pt x="682" y="355"/>
                </a:cubicBezTo>
                <a:cubicBezTo>
                  <a:pt x="682" y="352"/>
                  <a:pt x="679" y="349"/>
                  <a:pt x="675" y="349"/>
                </a:cubicBezTo>
                <a:close/>
                <a:moveTo>
                  <a:pt x="652" y="368"/>
                </a:moveTo>
                <a:cubicBezTo>
                  <a:pt x="648" y="368"/>
                  <a:pt x="645" y="371"/>
                  <a:pt x="645" y="374"/>
                </a:cubicBezTo>
                <a:cubicBezTo>
                  <a:pt x="645" y="378"/>
                  <a:pt x="648" y="381"/>
                  <a:pt x="652" y="381"/>
                </a:cubicBezTo>
                <a:cubicBezTo>
                  <a:pt x="657" y="381"/>
                  <a:pt x="660" y="378"/>
                  <a:pt x="660" y="374"/>
                </a:cubicBezTo>
                <a:cubicBezTo>
                  <a:pt x="660" y="371"/>
                  <a:pt x="657" y="368"/>
                  <a:pt x="652" y="368"/>
                </a:cubicBezTo>
                <a:close/>
                <a:moveTo>
                  <a:pt x="675" y="368"/>
                </a:moveTo>
                <a:cubicBezTo>
                  <a:pt x="671" y="368"/>
                  <a:pt x="667" y="371"/>
                  <a:pt x="667" y="375"/>
                </a:cubicBezTo>
                <a:cubicBezTo>
                  <a:pt x="667" y="378"/>
                  <a:pt x="671" y="381"/>
                  <a:pt x="675" y="381"/>
                </a:cubicBezTo>
                <a:cubicBezTo>
                  <a:pt x="679" y="381"/>
                  <a:pt x="682" y="378"/>
                  <a:pt x="682" y="375"/>
                </a:cubicBezTo>
                <a:cubicBezTo>
                  <a:pt x="682" y="371"/>
                  <a:pt x="679" y="368"/>
                  <a:pt x="675" y="368"/>
                </a:cubicBezTo>
                <a:close/>
                <a:moveTo>
                  <a:pt x="652" y="387"/>
                </a:moveTo>
                <a:cubicBezTo>
                  <a:pt x="648" y="387"/>
                  <a:pt x="645" y="390"/>
                  <a:pt x="645" y="393"/>
                </a:cubicBezTo>
                <a:cubicBezTo>
                  <a:pt x="645" y="397"/>
                  <a:pt x="648" y="400"/>
                  <a:pt x="652" y="400"/>
                </a:cubicBezTo>
                <a:cubicBezTo>
                  <a:pt x="657" y="400"/>
                  <a:pt x="660" y="397"/>
                  <a:pt x="660" y="393"/>
                </a:cubicBezTo>
                <a:cubicBezTo>
                  <a:pt x="660" y="390"/>
                  <a:pt x="657" y="387"/>
                  <a:pt x="652" y="387"/>
                </a:cubicBezTo>
                <a:close/>
                <a:moveTo>
                  <a:pt x="675" y="387"/>
                </a:moveTo>
                <a:cubicBezTo>
                  <a:pt x="671" y="387"/>
                  <a:pt x="667" y="390"/>
                  <a:pt x="667" y="394"/>
                </a:cubicBezTo>
                <a:cubicBezTo>
                  <a:pt x="667" y="398"/>
                  <a:pt x="671" y="401"/>
                  <a:pt x="675" y="401"/>
                </a:cubicBezTo>
                <a:cubicBezTo>
                  <a:pt x="679" y="401"/>
                  <a:pt x="682" y="398"/>
                  <a:pt x="682" y="394"/>
                </a:cubicBezTo>
                <a:cubicBezTo>
                  <a:pt x="682" y="390"/>
                  <a:pt x="679" y="387"/>
                  <a:pt x="675" y="387"/>
                </a:cubicBezTo>
                <a:close/>
                <a:moveTo>
                  <a:pt x="652" y="406"/>
                </a:moveTo>
                <a:cubicBezTo>
                  <a:pt x="648" y="406"/>
                  <a:pt x="645" y="409"/>
                  <a:pt x="645" y="413"/>
                </a:cubicBezTo>
                <a:cubicBezTo>
                  <a:pt x="645" y="416"/>
                  <a:pt x="648" y="419"/>
                  <a:pt x="652" y="419"/>
                </a:cubicBezTo>
                <a:cubicBezTo>
                  <a:pt x="657" y="419"/>
                  <a:pt x="660" y="416"/>
                  <a:pt x="660" y="413"/>
                </a:cubicBezTo>
                <a:cubicBezTo>
                  <a:pt x="660" y="409"/>
                  <a:pt x="657" y="406"/>
                  <a:pt x="652" y="406"/>
                </a:cubicBezTo>
                <a:close/>
                <a:moveTo>
                  <a:pt x="652" y="425"/>
                </a:moveTo>
                <a:cubicBezTo>
                  <a:pt x="648" y="425"/>
                  <a:pt x="645" y="428"/>
                  <a:pt x="645" y="432"/>
                </a:cubicBezTo>
                <a:cubicBezTo>
                  <a:pt x="645" y="435"/>
                  <a:pt x="648" y="438"/>
                  <a:pt x="652" y="438"/>
                </a:cubicBezTo>
                <a:cubicBezTo>
                  <a:pt x="657" y="438"/>
                  <a:pt x="660" y="435"/>
                  <a:pt x="660" y="432"/>
                </a:cubicBezTo>
                <a:cubicBezTo>
                  <a:pt x="660" y="428"/>
                  <a:pt x="657" y="425"/>
                  <a:pt x="652" y="425"/>
                </a:cubicBezTo>
                <a:close/>
                <a:moveTo>
                  <a:pt x="520" y="446"/>
                </a:moveTo>
                <a:cubicBezTo>
                  <a:pt x="516" y="446"/>
                  <a:pt x="512" y="448"/>
                  <a:pt x="512" y="452"/>
                </a:cubicBezTo>
                <a:cubicBezTo>
                  <a:pt x="512" y="455"/>
                  <a:pt x="516" y="458"/>
                  <a:pt x="520" y="458"/>
                </a:cubicBezTo>
                <a:cubicBezTo>
                  <a:pt x="524" y="458"/>
                  <a:pt x="528" y="455"/>
                  <a:pt x="528" y="452"/>
                </a:cubicBezTo>
                <a:cubicBezTo>
                  <a:pt x="528" y="448"/>
                  <a:pt x="524" y="446"/>
                  <a:pt x="520" y="446"/>
                </a:cubicBezTo>
                <a:close/>
                <a:moveTo>
                  <a:pt x="542" y="446"/>
                </a:moveTo>
                <a:cubicBezTo>
                  <a:pt x="538" y="446"/>
                  <a:pt x="534" y="448"/>
                  <a:pt x="534" y="452"/>
                </a:cubicBezTo>
                <a:cubicBezTo>
                  <a:pt x="534" y="455"/>
                  <a:pt x="538" y="458"/>
                  <a:pt x="542" y="458"/>
                </a:cubicBezTo>
                <a:cubicBezTo>
                  <a:pt x="546" y="458"/>
                  <a:pt x="549" y="455"/>
                  <a:pt x="549" y="452"/>
                </a:cubicBezTo>
                <a:cubicBezTo>
                  <a:pt x="549" y="448"/>
                  <a:pt x="546" y="446"/>
                  <a:pt x="542" y="446"/>
                </a:cubicBezTo>
                <a:close/>
                <a:moveTo>
                  <a:pt x="520" y="464"/>
                </a:moveTo>
                <a:cubicBezTo>
                  <a:pt x="516" y="464"/>
                  <a:pt x="512" y="467"/>
                  <a:pt x="512" y="471"/>
                </a:cubicBezTo>
                <a:cubicBezTo>
                  <a:pt x="512" y="475"/>
                  <a:pt x="516" y="478"/>
                  <a:pt x="520" y="478"/>
                </a:cubicBezTo>
                <a:cubicBezTo>
                  <a:pt x="524" y="478"/>
                  <a:pt x="528" y="475"/>
                  <a:pt x="528" y="471"/>
                </a:cubicBezTo>
                <a:cubicBezTo>
                  <a:pt x="528" y="467"/>
                  <a:pt x="524" y="464"/>
                  <a:pt x="520" y="464"/>
                </a:cubicBezTo>
                <a:close/>
                <a:moveTo>
                  <a:pt x="542" y="464"/>
                </a:moveTo>
                <a:cubicBezTo>
                  <a:pt x="538" y="464"/>
                  <a:pt x="534" y="467"/>
                  <a:pt x="534" y="471"/>
                </a:cubicBezTo>
                <a:cubicBezTo>
                  <a:pt x="534" y="475"/>
                  <a:pt x="538" y="478"/>
                  <a:pt x="542" y="478"/>
                </a:cubicBezTo>
                <a:cubicBezTo>
                  <a:pt x="546" y="478"/>
                  <a:pt x="549" y="475"/>
                  <a:pt x="549" y="471"/>
                </a:cubicBezTo>
                <a:cubicBezTo>
                  <a:pt x="549" y="467"/>
                  <a:pt x="546" y="464"/>
                  <a:pt x="542" y="464"/>
                </a:cubicBezTo>
                <a:close/>
                <a:moveTo>
                  <a:pt x="520" y="484"/>
                </a:moveTo>
                <a:cubicBezTo>
                  <a:pt x="516" y="484"/>
                  <a:pt x="512" y="487"/>
                  <a:pt x="512" y="490"/>
                </a:cubicBezTo>
                <a:cubicBezTo>
                  <a:pt x="512" y="494"/>
                  <a:pt x="516" y="497"/>
                  <a:pt x="520" y="497"/>
                </a:cubicBezTo>
                <a:cubicBezTo>
                  <a:pt x="524" y="497"/>
                  <a:pt x="528" y="494"/>
                  <a:pt x="528" y="490"/>
                </a:cubicBezTo>
                <a:cubicBezTo>
                  <a:pt x="528" y="487"/>
                  <a:pt x="524" y="484"/>
                  <a:pt x="520" y="484"/>
                </a:cubicBezTo>
                <a:close/>
                <a:moveTo>
                  <a:pt x="542" y="484"/>
                </a:moveTo>
                <a:cubicBezTo>
                  <a:pt x="538" y="484"/>
                  <a:pt x="534" y="487"/>
                  <a:pt x="534" y="490"/>
                </a:cubicBezTo>
                <a:cubicBezTo>
                  <a:pt x="534" y="494"/>
                  <a:pt x="538" y="497"/>
                  <a:pt x="542" y="497"/>
                </a:cubicBezTo>
                <a:cubicBezTo>
                  <a:pt x="546" y="497"/>
                  <a:pt x="549" y="494"/>
                  <a:pt x="549" y="490"/>
                </a:cubicBezTo>
                <a:cubicBezTo>
                  <a:pt x="549" y="487"/>
                  <a:pt x="546" y="484"/>
                  <a:pt x="542" y="484"/>
                </a:cubicBezTo>
                <a:close/>
                <a:moveTo>
                  <a:pt x="520" y="503"/>
                </a:moveTo>
                <a:cubicBezTo>
                  <a:pt x="516" y="503"/>
                  <a:pt x="512" y="506"/>
                  <a:pt x="512" y="509"/>
                </a:cubicBezTo>
                <a:cubicBezTo>
                  <a:pt x="512" y="513"/>
                  <a:pt x="516" y="516"/>
                  <a:pt x="520" y="516"/>
                </a:cubicBezTo>
                <a:cubicBezTo>
                  <a:pt x="524" y="516"/>
                  <a:pt x="528" y="513"/>
                  <a:pt x="528" y="509"/>
                </a:cubicBezTo>
                <a:cubicBezTo>
                  <a:pt x="528" y="506"/>
                  <a:pt x="524" y="503"/>
                  <a:pt x="520" y="503"/>
                </a:cubicBezTo>
                <a:close/>
                <a:moveTo>
                  <a:pt x="542" y="503"/>
                </a:moveTo>
                <a:cubicBezTo>
                  <a:pt x="538" y="503"/>
                  <a:pt x="534" y="506"/>
                  <a:pt x="534" y="509"/>
                </a:cubicBezTo>
                <a:cubicBezTo>
                  <a:pt x="534" y="513"/>
                  <a:pt x="538" y="516"/>
                  <a:pt x="542" y="516"/>
                </a:cubicBezTo>
                <a:cubicBezTo>
                  <a:pt x="546" y="516"/>
                  <a:pt x="549" y="513"/>
                  <a:pt x="549" y="509"/>
                </a:cubicBezTo>
                <a:cubicBezTo>
                  <a:pt x="549" y="506"/>
                  <a:pt x="546" y="503"/>
                  <a:pt x="542" y="503"/>
                </a:cubicBezTo>
                <a:close/>
                <a:moveTo>
                  <a:pt x="520" y="522"/>
                </a:moveTo>
                <a:cubicBezTo>
                  <a:pt x="516" y="522"/>
                  <a:pt x="512" y="525"/>
                  <a:pt x="512" y="529"/>
                </a:cubicBezTo>
                <a:cubicBezTo>
                  <a:pt x="512" y="533"/>
                  <a:pt x="516" y="536"/>
                  <a:pt x="520" y="536"/>
                </a:cubicBezTo>
                <a:cubicBezTo>
                  <a:pt x="524" y="536"/>
                  <a:pt x="528" y="533"/>
                  <a:pt x="528" y="529"/>
                </a:cubicBezTo>
                <a:cubicBezTo>
                  <a:pt x="528" y="525"/>
                  <a:pt x="524" y="522"/>
                  <a:pt x="520" y="522"/>
                </a:cubicBezTo>
                <a:close/>
                <a:moveTo>
                  <a:pt x="542" y="522"/>
                </a:moveTo>
                <a:cubicBezTo>
                  <a:pt x="538" y="522"/>
                  <a:pt x="534" y="525"/>
                  <a:pt x="534" y="529"/>
                </a:cubicBezTo>
                <a:cubicBezTo>
                  <a:pt x="534" y="533"/>
                  <a:pt x="538" y="536"/>
                  <a:pt x="542" y="536"/>
                </a:cubicBezTo>
                <a:cubicBezTo>
                  <a:pt x="546" y="536"/>
                  <a:pt x="549" y="533"/>
                  <a:pt x="549" y="529"/>
                </a:cubicBezTo>
                <a:cubicBezTo>
                  <a:pt x="549" y="525"/>
                  <a:pt x="546" y="522"/>
                  <a:pt x="542" y="522"/>
                </a:cubicBezTo>
                <a:close/>
                <a:moveTo>
                  <a:pt x="542" y="580"/>
                </a:moveTo>
                <a:cubicBezTo>
                  <a:pt x="538" y="580"/>
                  <a:pt x="534" y="583"/>
                  <a:pt x="534" y="587"/>
                </a:cubicBezTo>
                <a:cubicBezTo>
                  <a:pt x="534" y="590"/>
                  <a:pt x="538" y="593"/>
                  <a:pt x="542" y="593"/>
                </a:cubicBezTo>
                <a:cubicBezTo>
                  <a:pt x="546" y="593"/>
                  <a:pt x="549" y="590"/>
                  <a:pt x="549" y="587"/>
                </a:cubicBezTo>
                <a:cubicBezTo>
                  <a:pt x="549" y="583"/>
                  <a:pt x="546" y="580"/>
                  <a:pt x="542" y="580"/>
                </a:cubicBezTo>
                <a:close/>
                <a:moveTo>
                  <a:pt x="564" y="446"/>
                </a:moveTo>
                <a:cubicBezTo>
                  <a:pt x="559" y="446"/>
                  <a:pt x="556" y="448"/>
                  <a:pt x="556" y="452"/>
                </a:cubicBezTo>
                <a:cubicBezTo>
                  <a:pt x="556" y="455"/>
                  <a:pt x="559" y="458"/>
                  <a:pt x="564" y="458"/>
                </a:cubicBezTo>
                <a:cubicBezTo>
                  <a:pt x="568" y="458"/>
                  <a:pt x="571" y="455"/>
                  <a:pt x="571" y="452"/>
                </a:cubicBezTo>
                <a:cubicBezTo>
                  <a:pt x="571" y="448"/>
                  <a:pt x="568" y="446"/>
                  <a:pt x="564" y="446"/>
                </a:cubicBezTo>
                <a:close/>
                <a:moveTo>
                  <a:pt x="586" y="446"/>
                </a:moveTo>
                <a:cubicBezTo>
                  <a:pt x="582" y="446"/>
                  <a:pt x="579" y="448"/>
                  <a:pt x="579" y="452"/>
                </a:cubicBezTo>
                <a:cubicBezTo>
                  <a:pt x="579" y="455"/>
                  <a:pt x="582" y="458"/>
                  <a:pt x="586" y="458"/>
                </a:cubicBezTo>
                <a:cubicBezTo>
                  <a:pt x="590" y="458"/>
                  <a:pt x="593" y="455"/>
                  <a:pt x="593" y="452"/>
                </a:cubicBezTo>
                <a:cubicBezTo>
                  <a:pt x="593" y="448"/>
                  <a:pt x="590" y="446"/>
                  <a:pt x="586" y="446"/>
                </a:cubicBezTo>
                <a:close/>
                <a:moveTo>
                  <a:pt x="564" y="464"/>
                </a:moveTo>
                <a:cubicBezTo>
                  <a:pt x="559" y="464"/>
                  <a:pt x="556" y="467"/>
                  <a:pt x="556" y="471"/>
                </a:cubicBezTo>
                <a:cubicBezTo>
                  <a:pt x="556" y="475"/>
                  <a:pt x="559" y="478"/>
                  <a:pt x="564" y="478"/>
                </a:cubicBezTo>
                <a:cubicBezTo>
                  <a:pt x="568" y="478"/>
                  <a:pt x="571" y="475"/>
                  <a:pt x="571" y="471"/>
                </a:cubicBezTo>
                <a:cubicBezTo>
                  <a:pt x="571" y="467"/>
                  <a:pt x="568" y="464"/>
                  <a:pt x="564" y="464"/>
                </a:cubicBezTo>
                <a:close/>
                <a:moveTo>
                  <a:pt x="586" y="464"/>
                </a:moveTo>
                <a:cubicBezTo>
                  <a:pt x="582" y="464"/>
                  <a:pt x="579" y="467"/>
                  <a:pt x="579" y="471"/>
                </a:cubicBezTo>
                <a:cubicBezTo>
                  <a:pt x="579" y="475"/>
                  <a:pt x="582" y="478"/>
                  <a:pt x="586" y="478"/>
                </a:cubicBezTo>
                <a:cubicBezTo>
                  <a:pt x="590" y="478"/>
                  <a:pt x="593" y="475"/>
                  <a:pt x="593" y="471"/>
                </a:cubicBezTo>
                <a:cubicBezTo>
                  <a:pt x="593" y="467"/>
                  <a:pt x="590" y="464"/>
                  <a:pt x="586" y="464"/>
                </a:cubicBezTo>
                <a:close/>
                <a:moveTo>
                  <a:pt x="564" y="484"/>
                </a:moveTo>
                <a:cubicBezTo>
                  <a:pt x="559" y="484"/>
                  <a:pt x="556" y="487"/>
                  <a:pt x="556" y="490"/>
                </a:cubicBezTo>
                <a:cubicBezTo>
                  <a:pt x="556" y="494"/>
                  <a:pt x="559" y="497"/>
                  <a:pt x="564" y="497"/>
                </a:cubicBezTo>
                <a:cubicBezTo>
                  <a:pt x="568" y="497"/>
                  <a:pt x="571" y="494"/>
                  <a:pt x="571" y="490"/>
                </a:cubicBezTo>
                <a:cubicBezTo>
                  <a:pt x="571" y="487"/>
                  <a:pt x="568" y="484"/>
                  <a:pt x="564" y="484"/>
                </a:cubicBezTo>
                <a:close/>
                <a:moveTo>
                  <a:pt x="586" y="484"/>
                </a:moveTo>
                <a:cubicBezTo>
                  <a:pt x="582" y="484"/>
                  <a:pt x="579" y="487"/>
                  <a:pt x="579" y="490"/>
                </a:cubicBezTo>
                <a:cubicBezTo>
                  <a:pt x="579" y="494"/>
                  <a:pt x="582" y="497"/>
                  <a:pt x="586" y="497"/>
                </a:cubicBezTo>
                <a:cubicBezTo>
                  <a:pt x="590" y="497"/>
                  <a:pt x="593" y="494"/>
                  <a:pt x="593" y="490"/>
                </a:cubicBezTo>
                <a:cubicBezTo>
                  <a:pt x="593" y="487"/>
                  <a:pt x="590" y="484"/>
                  <a:pt x="586" y="484"/>
                </a:cubicBezTo>
                <a:close/>
                <a:moveTo>
                  <a:pt x="564" y="503"/>
                </a:moveTo>
                <a:cubicBezTo>
                  <a:pt x="559" y="503"/>
                  <a:pt x="556" y="506"/>
                  <a:pt x="556" y="509"/>
                </a:cubicBezTo>
                <a:cubicBezTo>
                  <a:pt x="556" y="513"/>
                  <a:pt x="559" y="516"/>
                  <a:pt x="564" y="516"/>
                </a:cubicBezTo>
                <a:cubicBezTo>
                  <a:pt x="568" y="516"/>
                  <a:pt x="571" y="513"/>
                  <a:pt x="571" y="509"/>
                </a:cubicBezTo>
                <a:cubicBezTo>
                  <a:pt x="571" y="506"/>
                  <a:pt x="568" y="503"/>
                  <a:pt x="564" y="503"/>
                </a:cubicBezTo>
                <a:close/>
                <a:moveTo>
                  <a:pt x="586" y="503"/>
                </a:moveTo>
                <a:cubicBezTo>
                  <a:pt x="582" y="503"/>
                  <a:pt x="579" y="506"/>
                  <a:pt x="579" y="509"/>
                </a:cubicBezTo>
                <a:cubicBezTo>
                  <a:pt x="579" y="513"/>
                  <a:pt x="582" y="516"/>
                  <a:pt x="586" y="516"/>
                </a:cubicBezTo>
                <a:cubicBezTo>
                  <a:pt x="590" y="516"/>
                  <a:pt x="593" y="513"/>
                  <a:pt x="593" y="509"/>
                </a:cubicBezTo>
                <a:cubicBezTo>
                  <a:pt x="593" y="506"/>
                  <a:pt x="590" y="503"/>
                  <a:pt x="586" y="503"/>
                </a:cubicBezTo>
                <a:close/>
                <a:moveTo>
                  <a:pt x="586" y="522"/>
                </a:moveTo>
                <a:cubicBezTo>
                  <a:pt x="582" y="522"/>
                  <a:pt x="579" y="525"/>
                  <a:pt x="579" y="529"/>
                </a:cubicBezTo>
                <a:cubicBezTo>
                  <a:pt x="579" y="533"/>
                  <a:pt x="582" y="536"/>
                  <a:pt x="586" y="536"/>
                </a:cubicBezTo>
                <a:cubicBezTo>
                  <a:pt x="590" y="536"/>
                  <a:pt x="593" y="533"/>
                  <a:pt x="593" y="529"/>
                </a:cubicBezTo>
                <a:cubicBezTo>
                  <a:pt x="593" y="525"/>
                  <a:pt x="590" y="522"/>
                  <a:pt x="586" y="522"/>
                </a:cubicBezTo>
                <a:close/>
                <a:moveTo>
                  <a:pt x="586" y="542"/>
                </a:moveTo>
                <a:cubicBezTo>
                  <a:pt x="582" y="542"/>
                  <a:pt x="579" y="545"/>
                  <a:pt x="579" y="549"/>
                </a:cubicBezTo>
                <a:cubicBezTo>
                  <a:pt x="579" y="552"/>
                  <a:pt x="582" y="556"/>
                  <a:pt x="586" y="556"/>
                </a:cubicBezTo>
                <a:cubicBezTo>
                  <a:pt x="590" y="556"/>
                  <a:pt x="593" y="552"/>
                  <a:pt x="593" y="549"/>
                </a:cubicBezTo>
                <a:cubicBezTo>
                  <a:pt x="593" y="545"/>
                  <a:pt x="590" y="542"/>
                  <a:pt x="586" y="542"/>
                </a:cubicBezTo>
                <a:close/>
                <a:moveTo>
                  <a:pt x="609" y="446"/>
                </a:moveTo>
                <a:cubicBezTo>
                  <a:pt x="605" y="446"/>
                  <a:pt x="601" y="448"/>
                  <a:pt x="601" y="452"/>
                </a:cubicBezTo>
                <a:cubicBezTo>
                  <a:pt x="601" y="455"/>
                  <a:pt x="605" y="458"/>
                  <a:pt x="609" y="458"/>
                </a:cubicBezTo>
                <a:cubicBezTo>
                  <a:pt x="613" y="458"/>
                  <a:pt x="616" y="455"/>
                  <a:pt x="616" y="452"/>
                </a:cubicBezTo>
                <a:cubicBezTo>
                  <a:pt x="616" y="448"/>
                  <a:pt x="613" y="446"/>
                  <a:pt x="609" y="446"/>
                </a:cubicBezTo>
                <a:close/>
                <a:moveTo>
                  <a:pt x="631" y="446"/>
                </a:moveTo>
                <a:cubicBezTo>
                  <a:pt x="627" y="446"/>
                  <a:pt x="623" y="448"/>
                  <a:pt x="623" y="452"/>
                </a:cubicBezTo>
                <a:cubicBezTo>
                  <a:pt x="623" y="455"/>
                  <a:pt x="627" y="458"/>
                  <a:pt x="631" y="458"/>
                </a:cubicBezTo>
                <a:cubicBezTo>
                  <a:pt x="635" y="458"/>
                  <a:pt x="638" y="455"/>
                  <a:pt x="638" y="452"/>
                </a:cubicBezTo>
                <a:cubicBezTo>
                  <a:pt x="638" y="448"/>
                  <a:pt x="635" y="446"/>
                  <a:pt x="631" y="446"/>
                </a:cubicBezTo>
                <a:close/>
                <a:moveTo>
                  <a:pt x="609" y="464"/>
                </a:moveTo>
                <a:cubicBezTo>
                  <a:pt x="605" y="464"/>
                  <a:pt x="601" y="467"/>
                  <a:pt x="601" y="471"/>
                </a:cubicBezTo>
                <a:cubicBezTo>
                  <a:pt x="601" y="475"/>
                  <a:pt x="605" y="478"/>
                  <a:pt x="609" y="478"/>
                </a:cubicBezTo>
                <a:cubicBezTo>
                  <a:pt x="613" y="478"/>
                  <a:pt x="616" y="475"/>
                  <a:pt x="616" y="471"/>
                </a:cubicBezTo>
                <a:cubicBezTo>
                  <a:pt x="616" y="467"/>
                  <a:pt x="613" y="464"/>
                  <a:pt x="609" y="464"/>
                </a:cubicBezTo>
                <a:close/>
                <a:moveTo>
                  <a:pt x="631" y="464"/>
                </a:moveTo>
                <a:cubicBezTo>
                  <a:pt x="627" y="464"/>
                  <a:pt x="623" y="467"/>
                  <a:pt x="623" y="471"/>
                </a:cubicBezTo>
                <a:cubicBezTo>
                  <a:pt x="623" y="475"/>
                  <a:pt x="627" y="478"/>
                  <a:pt x="631" y="478"/>
                </a:cubicBezTo>
                <a:cubicBezTo>
                  <a:pt x="635" y="478"/>
                  <a:pt x="638" y="475"/>
                  <a:pt x="638" y="471"/>
                </a:cubicBezTo>
                <a:cubicBezTo>
                  <a:pt x="638" y="467"/>
                  <a:pt x="635" y="464"/>
                  <a:pt x="631" y="464"/>
                </a:cubicBezTo>
                <a:close/>
                <a:moveTo>
                  <a:pt x="609" y="484"/>
                </a:moveTo>
                <a:cubicBezTo>
                  <a:pt x="605" y="484"/>
                  <a:pt x="601" y="487"/>
                  <a:pt x="601" y="490"/>
                </a:cubicBezTo>
                <a:cubicBezTo>
                  <a:pt x="601" y="494"/>
                  <a:pt x="605" y="497"/>
                  <a:pt x="609" y="497"/>
                </a:cubicBezTo>
                <a:cubicBezTo>
                  <a:pt x="613" y="497"/>
                  <a:pt x="616" y="494"/>
                  <a:pt x="616" y="490"/>
                </a:cubicBezTo>
                <a:cubicBezTo>
                  <a:pt x="616" y="487"/>
                  <a:pt x="613" y="484"/>
                  <a:pt x="609" y="484"/>
                </a:cubicBezTo>
                <a:close/>
                <a:moveTo>
                  <a:pt x="609" y="580"/>
                </a:moveTo>
                <a:cubicBezTo>
                  <a:pt x="605" y="580"/>
                  <a:pt x="601" y="583"/>
                  <a:pt x="601" y="587"/>
                </a:cubicBezTo>
                <a:cubicBezTo>
                  <a:pt x="601" y="590"/>
                  <a:pt x="605" y="593"/>
                  <a:pt x="609" y="593"/>
                </a:cubicBezTo>
                <a:cubicBezTo>
                  <a:pt x="613" y="593"/>
                  <a:pt x="616" y="590"/>
                  <a:pt x="616" y="587"/>
                </a:cubicBezTo>
                <a:cubicBezTo>
                  <a:pt x="616" y="583"/>
                  <a:pt x="613" y="580"/>
                  <a:pt x="609" y="580"/>
                </a:cubicBezTo>
                <a:close/>
                <a:moveTo>
                  <a:pt x="631" y="580"/>
                </a:moveTo>
                <a:cubicBezTo>
                  <a:pt x="627" y="580"/>
                  <a:pt x="623" y="583"/>
                  <a:pt x="623" y="587"/>
                </a:cubicBezTo>
                <a:cubicBezTo>
                  <a:pt x="623" y="590"/>
                  <a:pt x="627" y="593"/>
                  <a:pt x="631" y="593"/>
                </a:cubicBezTo>
                <a:cubicBezTo>
                  <a:pt x="635" y="593"/>
                  <a:pt x="638" y="590"/>
                  <a:pt x="638" y="587"/>
                </a:cubicBezTo>
                <a:cubicBezTo>
                  <a:pt x="638" y="583"/>
                  <a:pt x="635" y="580"/>
                  <a:pt x="631" y="580"/>
                </a:cubicBezTo>
                <a:close/>
                <a:moveTo>
                  <a:pt x="698" y="290"/>
                </a:moveTo>
                <a:cubicBezTo>
                  <a:pt x="693" y="290"/>
                  <a:pt x="690" y="293"/>
                  <a:pt x="690" y="296"/>
                </a:cubicBezTo>
                <a:cubicBezTo>
                  <a:pt x="690" y="300"/>
                  <a:pt x="693" y="303"/>
                  <a:pt x="698" y="303"/>
                </a:cubicBezTo>
                <a:cubicBezTo>
                  <a:pt x="702" y="303"/>
                  <a:pt x="705" y="300"/>
                  <a:pt x="705" y="296"/>
                </a:cubicBezTo>
                <a:cubicBezTo>
                  <a:pt x="705" y="293"/>
                  <a:pt x="702" y="290"/>
                  <a:pt x="698" y="290"/>
                </a:cubicBezTo>
                <a:close/>
                <a:moveTo>
                  <a:pt x="720" y="290"/>
                </a:moveTo>
                <a:cubicBezTo>
                  <a:pt x="715" y="290"/>
                  <a:pt x="712" y="293"/>
                  <a:pt x="712" y="296"/>
                </a:cubicBezTo>
                <a:cubicBezTo>
                  <a:pt x="712" y="300"/>
                  <a:pt x="715" y="303"/>
                  <a:pt x="720" y="303"/>
                </a:cubicBezTo>
                <a:cubicBezTo>
                  <a:pt x="724" y="303"/>
                  <a:pt x="727" y="300"/>
                  <a:pt x="727" y="296"/>
                </a:cubicBezTo>
                <a:cubicBezTo>
                  <a:pt x="727" y="293"/>
                  <a:pt x="724" y="290"/>
                  <a:pt x="720" y="290"/>
                </a:cubicBezTo>
                <a:close/>
                <a:moveTo>
                  <a:pt x="698" y="309"/>
                </a:moveTo>
                <a:cubicBezTo>
                  <a:pt x="693" y="309"/>
                  <a:pt x="690" y="312"/>
                  <a:pt x="690" y="316"/>
                </a:cubicBezTo>
                <a:cubicBezTo>
                  <a:pt x="690" y="320"/>
                  <a:pt x="693" y="323"/>
                  <a:pt x="698" y="323"/>
                </a:cubicBezTo>
                <a:cubicBezTo>
                  <a:pt x="702" y="323"/>
                  <a:pt x="705" y="320"/>
                  <a:pt x="705" y="316"/>
                </a:cubicBezTo>
                <a:cubicBezTo>
                  <a:pt x="705" y="312"/>
                  <a:pt x="702" y="309"/>
                  <a:pt x="698" y="309"/>
                </a:cubicBezTo>
                <a:close/>
                <a:moveTo>
                  <a:pt x="720" y="309"/>
                </a:moveTo>
                <a:cubicBezTo>
                  <a:pt x="715" y="309"/>
                  <a:pt x="712" y="312"/>
                  <a:pt x="712" y="316"/>
                </a:cubicBezTo>
                <a:cubicBezTo>
                  <a:pt x="712" y="320"/>
                  <a:pt x="715" y="323"/>
                  <a:pt x="720" y="323"/>
                </a:cubicBezTo>
                <a:cubicBezTo>
                  <a:pt x="724" y="323"/>
                  <a:pt x="727" y="320"/>
                  <a:pt x="727" y="316"/>
                </a:cubicBezTo>
                <a:cubicBezTo>
                  <a:pt x="727" y="312"/>
                  <a:pt x="724" y="309"/>
                  <a:pt x="720" y="309"/>
                </a:cubicBezTo>
                <a:close/>
                <a:moveTo>
                  <a:pt x="698" y="329"/>
                </a:moveTo>
                <a:cubicBezTo>
                  <a:pt x="693" y="329"/>
                  <a:pt x="690" y="332"/>
                  <a:pt x="690" y="335"/>
                </a:cubicBezTo>
                <a:cubicBezTo>
                  <a:pt x="690" y="339"/>
                  <a:pt x="693" y="342"/>
                  <a:pt x="698" y="342"/>
                </a:cubicBezTo>
                <a:cubicBezTo>
                  <a:pt x="702" y="342"/>
                  <a:pt x="705" y="339"/>
                  <a:pt x="705" y="335"/>
                </a:cubicBezTo>
                <a:cubicBezTo>
                  <a:pt x="705" y="332"/>
                  <a:pt x="702" y="329"/>
                  <a:pt x="698" y="329"/>
                </a:cubicBezTo>
                <a:close/>
                <a:moveTo>
                  <a:pt x="720" y="329"/>
                </a:moveTo>
                <a:cubicBezTo>
                  <a:pt x="715" y="329"/>
                  <a:pt x="712" y="332"/>
                  <a:pt x="712" y="335"/>
                </a:cubicBezTo>
                <a:cubicBezTo>
                  <a:pt x="712" y="339"/>
                  <a:pt x="715" y="342"/>
                  <a:pt x="720" y="342"/>
                </a:cubicBezTo>
                <a:cubicBezTo>
                  <a:pt x="724" y="342"/>
                  <a:pt x="727" y="339"/>
                  <a:pt x="727" y="335"/>
                </a:cubicBezTo>
                <a:cubicBezTo>
                  <a:pt x="727" y="332"/>
                  <a:pt x="724" y="329"/>
                  <a:pt x="720" y="329"/>
                </a:cubicBezTo>
                <a:close/>
                <a:moveTo>
                  <a:pt x="698" y="348"/>
                </a:moveTo>
                <a:cubicBezTo>
                  <a:pt x="693" y="348"/>
                  <a:pt x="690" y="351"/>
                  <a:pt x="690" y="355"/>
                </a:cubicBezTo>
                <a:cubicBezTo>
                  <a:pt x="690" y="359"/>
                  <a:pt x="693" y="362"/>
                  <a:pt x="698" y="362"/>
                </a:cubicBezTo>
                <a:cubicBezTo>
                  <a:pt x="702" y="362"/>
                  <a:pt x="705" y="359"/>
                  <a:pt x="705" y="355"/>
                </a:cubicBezTo>
                <a:cubicBezTo>
                  <a:pt x="705" y="351"/>
                  <a:pt x="702" y="348"/>
                  <a:pt x="698" y="348"/>
                </a:cubicBezTo>
                <a:close/>
                <a:moveTo>
                  <a:pt x="720" y="348"/>
                </a:moveTo>
                <a:cubicBezTo>
                  <a:pt x="715" y="348"/>
                  <a:pt x="712" y="351"/>
                  <a:pt x="712" y="355"/>
                </a:cubicBezTo>
                <a:cubicBezTo>
                  <a:pt x="712" y="359"/>
                  <a:pt x="715" y="362"/>
                  <a:pt x="720" y="362"/>
                </a:cubicBezTo>
                <a:cubicBezTo>
                  <a:pt x="724" y="362"/>
                  <a:pt x="727" y="359"/>
                  <a:pt x="727" y="355"/>
                </a:cubicBezTo>
                <a:cubicBezTo>
                  <a:pt x="727" y="351"/>
                  <a:pt x="724" y="348"/>
                  <a:pt x="720" y="348"/>
                </a:cubicBezTo>
                <a:close/>
                <a:moveTo>
                  <a:pt x="698" y="368"/>
                </a:moveTo>
                <a:cubicBezTo>
                  <a:pt x="693" y="368"/>
                  <a:pt x="690" y="371"/>
                  <a:pt x="690" y="374"/>
                </a:cubicBezTo>
                <a:cubicBezTo>
                  <a:pt x="690" y="378"/>
                  <a:pt x="693" y="381"/>
                  <a:pt x="698" y="381"/>
                </a:cubicBezTo>
                <a:cubicBezTo>
                  <a:pt x="702" y="381"/>
                  <a:pt x="705" y="378"/>
                  <a:pt x="705" y="374"/>
                </a:cubicBezTo>
                <a:cubicBezTo>
                  <a:pt x="705" y="371"/>
                  <a:pt x="702" y="368"/>
                  <a:pt x="698" y="368"/>
                </a:cubicBezTo>
                <a:close/>
                <a:moveTo>
                  <a:pt x="698" y="387"/>
                </a:moveTo>
                <a:cubicBezTo>
                  <a:pt x="693" y="387"/>
                  <a:pt x="690" y="390"/>
                  <a:pt x="690" y="393"/>
                </a:cubicBezTo>
                <a:cubicBezTo>
                  <a:pt x="690" y="397"/>
                  <a:pt x="693" y="400"/>
                  <a:pt x="698" y="400"/>
                </a:cubicBezTo>
                <a:cubicBezTo>
                  <a:pt x="702" y="400"/>
                  <a:pt x="705" y="397"/>
                  <a:pt x="705" y="393"/>
                </a:cubicBezTo>
                <a:cubicBezTo>
                  <a:pt x="705" y="390"/>
                  <a:pt x="702" y="387"/>
                  <a:pt x="698" y="387"/>
                </a:cubicBezTo>
                <a:close/>
                <a:moveTo>
                  <a:pt x="720" y="387"/>
                </a:moveTo>
                <a:cubicBezTo>
                  <a:pt x="715" y="387"/>
                  <a:pt x="712" y="390"/>
                  <a:pt x="712" y="393"/>
                </a:cubicBezTo>
                <a:cubicBezTo>
                  <a:pt x="712" y="397"/>
                  <a:pt x="715" y="400"/>
                  <a:pt x="720" y="400"/>
                </a:cubicBezTo>
                <a:cubicBezTo>
                  <a:pt x="724" y="400"/>
                  <a:pt x="727" y="397"/>
                  <a:pt x="727" y="393"/>
                </a:cubicBezTo>
                <a:cubicBezTo>
                  <a:pt x="727" y="390"/>
                  <a:pt x="724" y="387"/>
                  <a:pt x="720" y="387"/>
                </a:cubicBezTo>
                <a:close/>
                <a:moveTo>
                  <a:pt x="698" y="406"/>
                </a:moveTo>
                <a:cubicBezTo>
                  <a:pt x="693" y="406"/>
                  <a:pt x="690" y="409"/>
                  <a:pt x="690" y="413"/>
                </a:cubicBezTo>
                <a:cubicBezTo>
                  <a:pt x="690" y="416"/>
                  <a:pt x="693" y="419"/>
                  <a:pt x="698" y="419"/>
                </a:cubicBezTo>
                <a:cubicBezTo>
                  <a:pt x="702" y="419"/>
                  <a:pt x="705" y="416"/>
                  <a:pt x="705" y="413"/>
                </a:cubicBezTo>
                <a:cubicBezTo>
                  <a:pt x="705" y="409"/>
                  <a:pt x="702" y="406"/>
                  <a:pt x="698" y="406"/>
                </a:cubicBezTo>
                <a:close/>
                <a:moveTo>
                  <a:pt x="741" y="323"/>
                </a:moveTo>
                <a:cubicBezTo>
                  <a:pt x="746" y="323"/>
                  <a:pt x="749" y="320"/>
                  <a:pt x="749" y="316"/>
                </a:cubicBezTo>
                <a:cubicBezTo>
                  <a:pt x="749" y="312"/>
                  <a:pt x="746" y="309"/>
                  <a:pt x="741" y="309"/>
                </a:cubicBezTo>
                <a:cubicBezTo>
                  <a:pt x="737" y="309"/>
                  <a:pt x="734" y="312"/>
                  <a:pt x="734" y="316"/>
                </a:cubicBezTo>
                <a:cubicBezTo>
                  <a:pt x="734" y="320"/>
                  <a:pt x="737" y="323"/>
                  <a:pt x="741" y="323"/>
                </a:cubicBezTo>
                <a:close/>
                <a:moveTo>
                  <a:pt x="741" y="342"/>
                </a:moveTo>
                <a:cubicBezTo>
                  <a:pt x="746" y="342"/>
                  <a:pt x="749" y="339"/>
                  <a:pt x="749" y="335"/>
                </a:cubicBezTo>
                <a:cubicBezTo>
                  <a:pt x="749" y="332"/>
                  <a:pt x="746" y="329"/>
                  <a:pt x="741" y="329"/>
                </a:cubicBezTo>
                <a:cubicBezTo>
                  <a:pt x="737" y="329"/>
                  <a:pt x="734" y="332"/>
                  <a:pt x="734" y="335"/>
                </a:cubicBezTo>
                <a:cubicBezTo>
                  <a:pt x="734" y="339"/>
                  <a:pt x="737" y="342"/>
                  <a:pt x="741" y="342"/>
                </a:cubicBezTo>
                <a:close/>
                <a:moveTo>
                  <a:pt x="764" y="362"/>
                </a:moveTo>
                <a:cubicBezTo>
                  <a:pt x="768" y="362"/>
                  <a:pt x="771" y="359"/>
                  <a:pt x="771" y="355"/>
                </a:cubicBezTo>
                <a:cubicBezTo>
                  <a:pt x="771" y="351"/>
                  <a:pt x="768" y="348"/>
                  <a:pt x="764" y="348"/>
                </a:cubicBezTo>
                <a:cubicBezTo>
                  <a:pt x="759" y="348"/>
                  <a:pt x="756" y="351"/>
                  <a:pt x="756" y="355"/>
                </a:cubicBezTo>
                <a:cubicBezTo>
                  <a:pt x="756" y="359"/>
                  <a:pt x="759" y="362"/>
                  <a:pt x="764" y="362"/>
                </a:cubicBezTo>
                <a:close/>
                <a:moveTo>
                  <a:pt x="741" y="381"/>
                </a:moveTo>
                <a:cubicBezTo>
                  <a:pt x="746" y="381"/>
                  <a:pt x="749" y="378"/>
                  <a:pt x="749" y="374"/>
                </a:cubicBezTo>
                <a:cubicBezTo>
                  <a:pt x="749" y="371"/>
                  <a:pt x="746" y="368"/>
                  <a:pt x="741" y="368"/>
                </a:cubicBezTo>
                <a:cubicBezTo>
                  <a:pt x="737" y="368"/>
                  <a:pt x="734" y="371"/>
                  <a:pt x="734" y="374"/>
                </a:cubicBezTo>
                <a:cubicBezTo>
                  <a:pt x="734" y="378"/>
                  <a:pt x="737" y="381"/>
                  <a:pt x="741" y="381"/>
                </a:cubicBezTo>
                <a:close/>
                <a:moveTo>
                  <a:pt x="764" y="381"/>
                </a:moveTo>
                <a:cubicBezTo>
                  <a:pt x="768" y="381"/>
                  <a:pt x="771" y="378"/>
                  <a:pt x="771" y="374"/>
                </a:cubicBezTo>
                <a:cubicBezTo>
                  <a:pt x="771" y="371"/>
                  <a:pt x="768" y="368"/>
                  <a:pt x="764" y="368"/>
                </a:cubicBezTo>
                <a:cubicBezTo>
                  <a:pt x="759" y="368"/>
                  <a:pt x="756" y="371"/>
                  <a:pt x="756" y="374"/>
                </a:cubicBezTo>
                <a:cubicBezTo>
                  <a:pt x="756" y="378"/>
                  <a:pt x="759" y="381"/>
                  <a:pt x="764" y="381"/>
                </a:cubicBezTo>
                <a:close/>
                <a:moveTo>
                  <a:pt x="786" y="381"/>
                </a:moveTo>
                <a:cubicBezTo>
                  <a:pt x="791" y="381"/>
                  <a:pt x="794" y="378"/>
                  <a:pt x="794" y="374"/>
                </a:cubicBezTo>
                <a:cubicBezTo>
                  <a:pt x="794" y="371"/>
                  <a:pt x="791" y="368"/>
                  <a:pt x="786" y="368"/>
                </a:cubicBezTo>
                <a:cubicBezTo>
                  <a:pt x="782" y="368"/>
                  <a:pt x="779" y="371"/>
                  <a:pt x="779" y="374"/>
                </a:cubicBezTo>
                <a:cubicBezTo>
                  <a:pt x="779" y="378"/>
                  <a:pt x="782" y="381"/>
                  <a:pt x="786" y="381"/>
                </a:cubicBezTo>
                <a:close/>
                <a:moveTo>
                  <a:pt x="1031" y="561"/>
                </a:moveTo>
                <a:cubicBezTo>
                  <a:pt x="1026" y="561"/>
                  <a:pt x="1023" y="564"/>
                  <a:pt x="1023" y="567"/>
                </a:cubicBezTo>
                <a:cubicBezTo>
                  <a:pt x="1023" y="571"/>
                  <a:pt x="1026" y="574"/>
                  <a:pt x="1031" y="574"/>
                </a:cubicBezTo>
                <a:cubicBezTo>
                  <a:pt x="1035" y="574"/>
                  <a:pt x="1038" y="571"/>
                  <a:pt x="1038" y="567"/>
                </a:cubicBezTo>
                <a:cubicBezTo>
                  <a:pt x="1038" y="564"/>
                  <a:pt x="1035" y="561"/>
                  <a:pt x="1031" y="561"/>
                </a:cubicBezTo>
                <a:close/>
                <a:moveTo>
                  <a:pt x="1031" y="580"/>
                </a:moveTo>
                <a:cubicBezTo>
                  <a:pt x="1026" y="580"/>
                  <a:pt x="1023" y="583"/>
                  <a:pt x="1023" y="587"/>
                </a:cubicBezTo>
                <a:cubicBezTo>
                  <a:pt x="1023" y="590"/>
                  <a:pt x="1026" y="593"/>
                  <a:pt x="1031" y="593"/>
                </a:cubicBezTo>
                <a:cubicBezTo>
                  <a:pt x="1035" y="593"/>
                  <a:pt x="1038" y="590"/>
                  <a:pt x="1038" y="587"/>
                </a:cubicBezTo>
                <a:cubicBezTo>
                  <a:pt x="1038" y="583"/>
                  <a:pt x="1035" y="580"/>
                  <a:pt x="1031" y="580"/>
                </a:cubicBezTo>
                <a:close/>
                <a:moveTo>
                  <a:pt x="1075" y="309"/>
                </a:moveTo>
                <a:cubicBezTo>
                  <a:pt x="1071" y="309"/>
                  <a:pt x="1068" y="312"/>
                  <a:pt x="1068" y="316"/>
                </a:cubicBezTo>
                <a:cubicBezTo>
                  <a:pt x="1068" y="320"/>
                  <a:pt x="1071" y="323"/>
                  <a:pt x="1075" y="323"/>
                </a:cubicBezTo>
                <a:cubicBezTo>
                  <a:pt x="1080" y="323"/>
                  <a:pt x="1083" y="320"/>
                  <a:pt x="1083" y="316"/>
                </a:cubicBezTo>
                <a:cubicBezTo>
                  <a:pt x="1083" y="312"/>
                  <a:pt x="1080" y="309"/>
                  <a:pt x="1075" y="309"/>
                </a:cubicBezTo>
                <a:close/>
                <a:moveTo>
                  <a:pt x="1075" y="329"/>
                </a:moveTo>
                <a:cubicBezTo>
                  <a:pt x="1071" y="329"/>
                  <a:pt x="1068" y="332"/>
                  <a:pt x="1068" y="335"/>
                </a:cubicBezTo>
                <a:cubicBezTo>
                  <a:pt x="1068" y="339"/>
                  <a:pt x="1071" y="342"/>
                  <a:pt x="1075" y="342"/>
                </a:cubicBezTo>
                <a:cubicBezTo>
                  <a:pt x="1080" y="342"/>
                  <a:pt x="1083" y="339"/>
                  <a:pt x="1083" y="335"/>
                </a:cubicBezTo>
                <a:cubicBezTo>
                  <a:pt x="1083" y="332"/>
                  <a:pt x="1080" y="329"/>
                  <a:pt x="1075" y="329"/>
                </a:cubicBezTo>
                <a:close/>
                <a:moveTo>
                  <a:pt x="1075" y="425"/>
                </a:moveTo>
                <a:cubicBezTo>
                  <a:pt x="1071" y="425"/>
                  <a:pt x="1068" y="428"/>
                  <a:pt x="1068" y="432"/>
                </a:cubicBezTo>
                <a:cubicBezTo>
                  <a:pt x="1068" y="435"/>
                  <a:pt x="1071" y="438"/>
                  <a:pt x="1075" y="438"/>
                </a:cubicBezTo>
                <a:cubicBezTo>
                  <a:pt x="1080" y="438"/>
                  <a:pt x="1083" y="435"/>
                  <a:pt x="1083" y="432"/>
                </a:cubicBezTo>
                <a:cubicBezTo>
                  <a:pt x="1083" y="428"/>
                  <a:pt x="1080" y="425"/>
                  <a:pt x="1075" y="425"/>
                </a:cubicBezTo>
                <a:close/>
                <a:moveTo>
                  <a:pt x="1098" y="290"/>
                </a:moveTo>
                <a:cubicBezTo>
                  <a:pt x="1094" y="290"/>
                  <a:pt x="1090" y="293"/>
                  <a:pt x="1090" y="296"/>
                </a:cubicBezTo>
                <a:cubicBezTo>
                  <a:pt x="1090" y="300"/>
                  <a:pt x="1094" y="303"/>
                  <a:pt x="1098" y="303"/>
                </a:cubicBezTo>
                <a:cubicBezTo>
                  <a:pt x="1102" y="303"/>
                  <a:pt x="1105" y="300"/>
                  <a:pt x="1105" y="296"/>
                </a:cubicBezTo>
                <a:cubicBezTo>
                  <a:pt x="1105" y="293"/>
                  <a:pt x="1102" y="290"/>
                  <a:pt x="1098" y="290"/>
                </a:cubicBezTo>
                <a:close/>
                <a:moveTo>
                  <a:pt x="1120" y="290"/>
                </a:moveTo>
                <a:cubicBezTo>
                  <a:pt x="1116" y="290"/>
                  <a:pt x="1113" y="293"/>
                  <a:pt x="1113" y="296"/>
                </a:cubicBezTo>
                <a:cubicBezTo>
                  <a:pt x="1113" y="300"/>
                  <a:pt x="1116" y="303"/>
                  <a:pt x="1120" y="303"/>
                </a:cubicBezTo>
                <a:cubicBezTo>
                  <a:pt x="1125" y="303"/>
                  <a:pt x="1128" y="300"/>
                  <a:pt x="1128" y="296"/>
                </a:cubicBezTo>
                <a:cubicBezTo>
                  <a:pt x="1128" y="293"/>
                  <a:pt x="1125" y="290"/>
                  <a:pt x="1120" y="290"/>
                </a:cubicBezTo>
                <a:close/>
                <a:moveTo>
                  <a:pt x="1098" y="309"/>
                </a:moveTo>
                <a:cubicBezTo>
                  <a:pt x="1094" y="309"/>
                  <a:pt x="1090" y="312"/>
                  <a:pt x="1090" y="316"/>
                </a:cubicBezTo>
                <a:cubicBezTo>
                  <a:pt x="1090" y="320"/>
                  <a:pt x="1094" y="323"/>
                  <a:pt x="1098" y="323"/>
                </a:cubicBezTo>
                <a:cubicBezTo>
                  <a:pt x="1102" y="323"/>
                  <a:pt x="1105" y="320"/>
                  <a:pt x="1105" y="316"/>
                </a:cubicBezTo>
                <a:cubicBezTo>
                  <a:pt x="1105" y="312"/>
                  <a:pt x="1102" y="309"/>
                  <a:pt x="1098" y="309"/>
                </a:cubicBezTo>
                <a:close/>
                <a:moveTo>
                  <a:pt x="1120" y="309"/>
                </a:moveTo>
                <a:cubicBezTo>
                  <a:pt x="1116" y="309"/>
                  <a:pt x="1113" y="312"/>
                  <a:pt x="1113" y="316"/>
                </a:cubicBezTo>
                <a:cubicBezTo>
                  <a:pt x="1113" y="320"/>
                  <a:pt x="1116" y="323"/>
                  <a:pt x="1120" y="323"/>
                </a:cubicBezTo>
                <a:cubicBezTo>
                  <a:pt x="1125" y="323"/>
                  <a:pt x="1128" y="320"/>
                  <a:pt x="1128" y="316"/>
                </a:cubicBezTo>
                <a:cubicBezTo>
                  <a:pt x="1128" y="312"/>
                  <a:pt x="1125" y="309"/>
                  <a:pt x="1120" y="309"/>
                </a:cubicBezTo>
                <a:close/>
                <a:moveTo>
                  <a:pt x="1120" y="329"/>
                </a:moveTo>
                <a:cubicBezTo>
                  <a:pt x="1116" y="329"/>
                  <a:pt x="1113" y="332"/>
                  <a:pt x="1113" y="335"/>
                </a:cubicBezTo>
                <a:cubicBezTo>
                  <a:pt x="1113" y="339"/>
                  <a:pt x="1116" y="342"/>
                  <a:pt x="1120" y="342"/>
                </a:cubicBezTo>
                <a:cubicBezTo>
                  <a:pt x="1125" y="342"/>
                  <a:pt x="1128" y="339"/>
                  <a:pt x="1128" y="335"/>
                </a:cubicBezTo>
                <a:cubicBezTo>
                  <a:pt x="1128" y="332"/>
                  <a:pt x="1125" y="329"/>
                  <a:pt x="1120" y="329"/>
                </a:cubicBezTo>
                <a:close/>
                <a:moveTo>
                  <a:pt x="1098" y="348"/>
                </a:moveTo>
                <a:cubicBezTo>
                  <a:pt x="1094" y="348"/>
                  <a:pt x="1090" y="351"/>
                  <a:pt x="1090" y="355"/>
                </a:cubicBezTo>
                <a:cubicBezTo>
                  <a:pt x="1090" y="359"/>
                  <a:pt x="1094" y="362"/>
                  <a:pt x="1098" y="362"/>
                </a:cubicBezTo>
                <a:cubicBezTo>
                  <a:pt x="1102" y="362"/>
                  <a:pt x="1105" y="359"/>
                  <a:pt x="1105" y="355"/>
                </a:cubicBezTo>
                <a:cubicBezTo>
                  <a:pt x="1105" y="351"/>
                  <a:pt x="1102" y="348"/>
                  <a:pt x="1098" y="348"/>
                </a:cubicBezTo>
                <a:close/>
                <a:moveTo>
                  <a:pt x="1120" y="348"/>
                </a:moveTo>
                <a:cubicBezTo>
                  <a:pt x="1116" y="348"/>
                  <a:pt x="1113" y="351"/>
                  <a:pt x="1113" y="355"/>
                </a:cubicBezTo>
                <a:cubicBezTo>
                  <a:pt x="1113" y="359"/>
                  <a:pt x="1116" y="362"/>
                  <a:pt x="1120" y="362"/>
                </a:cubicBezTo>
                <a:cubicBezTo>
                  <a:pt x="1125" y="362"/>
                  <a:pt x="1128" y="359"/>
                  <a:pt x="1128" y="355"/>
                </a:cubicBezTo>
                <a:cubicBezTo>
                  <a:pt x="1128" y="351"/>
                  <a:pt x="1125" y="348"/>
                  <a:pt x="1120" y="348"/>
                </a:cubicBezTo>
                <a:close/>
                <a:moveTo>
                  <a:pt x="1120" y="387"/>
                </a:moveTo>
                <a:cubicBezTo>
                  <a:pt x="1116" y="387"/>
                  <a:pt x="1113" y="390"/>
                  <a:pt x="1113" y="393"/>
                </a:cubicBezTo>
                <a:cubicBezTo>
                  <a:pt x="1113" y="397"/>
                  <a:pt x="1116" y="400"/>
                  <a:pt x="1120" y="400"/>
                </a:cubicBezTo>
                <a:cubicBezTo>
                  <a:pt x="1125" y="400"/>
                  <a:pt x="1128" y="397"/>
                  <a:pt x="1128" y="393"/>
                </a:cubicBezTo>
                <a:cubicBezTo>
                  <a:pt x="1128" y="390"/>
                  <a:pt x="1125" y="387"/>
                  <a:pt x="1120" y="387"/>
                </a:cubicBezTo>
                <a:close/>
                <a:moveTo>
                  <a:pt x="1098" y="425"/>
                </a:moveTo>
                <a:cubicBezTo>
                  <a:pt x="1094" y="425"/>
                  <a:pt x="1090" y="428"/>
                  <a:pt x="1090" y="432"/>
                </a:cubicBezTo>
                <a:cubicBezTo>
                  <a:pt x="1090" y="435"/>
                  <a:pt x="1094" y="438"/>
                  <a:pt x="1098" y="438"/>
                </a:cubicBezTo>
                <a:cubicBezTo>
                  <a:pt x="1102" y="438"/>
                  <a:pt x="1105" y="435"/>
                  <a:pt x="1105" y="432"/>
                </a:cubicBezTo>
                <a:cubicBezTo>
                  <a:pt x="1105" y="428"/>
                  <a:pt x="1102" y="425"/>
                  <a:pt x="1098" y="425"/>
                </a:cubicBezTo>
                <a:close/>
                <a:moveTo>
                  <a:pt x="1120" y="425"/>
                </a:moveTo>
                <a:cubicBezTo>
                  <a:pt x="1116" y="425"/>
                  <a:pt x="1113" y="428"/>
                  <a:pt x="1113" y="432"/>
                </a:cubicBezTo>
                <a:cubicBezTo>
                  <a:pt x="1113" y="435"/>
                  <a:pt x="1116" y="438"/>
                  <a:pt x="1120" y="438"/>
                </a:cubicBezTo>
                <a:cubicBezTo>
                  <a:pt x="1125" y="438"/>
                  <a:pt x="1128" y="435"/>
                  <a:pt x="1128" y="432"/>
                </a:cubicBezTo>
                <a:cubicBezTo>
                  <a:pt x="1128" y="428"/>
                  <a:pt x="1125" y="425"/>
                  <a:pt x="1120" y="425"/>
                </a:cubicBezTo>
                <a:close/>
                <a:moveTo>
                  <a:pt x="1143" y="329"/>
                </a:moveTo>
                <a:cubicBezTo>
                  <a:pt x="1138" y="329"/>
                  <a:pt x="1135" y="332"/>
                  <a:pt x="1135" y="335"/>
                </a:cubicBezTo>
                <a:cubicBezTo>
                  <a:pt x="1135" y="339"/>
                  <a:pt x="1138" y="342"/>
                  <a:pt x="1143" y="342"/>
                </a:cubicBezTo>
                <a:cubicBezTo>
                  <a:pt x="1147" y="342"/>
                  <a:pt x="1150" y="339"/>
                  <a:pt x="1150" y="335"/>
                </a:cubicBezTo>
                <a:cubicBezTo>
                  <a:pt x="1150" y="332"/>
                  <a:pt x="1147" y="329"/>
                  <a:pt x="1143" y="329"/>
                </a:cubicBezTo>
                <a:close/>
                <a:moveTo>
                  <a:pt x="1164" y="348"/>
                </a:moveTo>
                <a:cubicBezTo>
                  <a:pt x="1160" y="348"/>
                  <a:pt x="1157" y="351"/>
                  <a:pt x="1157" y="355"/>
                </a:cubicBezTo>
                <a:cubicBezTo>
                  <a:pt x="1157" y="359"/>
                  <a:pt x="1160" y="362"/>
                  <a:pt x="1164" y="362"/>
                </a:cubicBezTo>
                <a:cubicBezTo>
                  <a:pt x="1169" y="362"/>
                  <a:pt x="1172" y="359"/>
                  <a:pt x="1172" y="355"/>
                </a:cubicBezTo>
                <a:cubicBezTo>
                  <a:pt x="1172" y="351"/>
                  <a:pt x="1169" y="348"/>
                  <a:pt x="1164" y="348"/>
                </a:cubicBezTo>
                <a:close/>
                <a:moveTo>
                  <a:pt x="1143" y="368"/>
                </a:moveTo>
                <a:cubicBezTo>
                  <a:pt x="1138" y="368"/>
                  <a:pt x="1135" y="371"/>
                  <a:pt x="1135" y="374"/>
                </a:cubicBezTo>
                <a:cubicBezTo>
                  <a:pt x="1135" y="378"/>
                  <a:pt x="1138" y="381"/>
                  <a:pt x="1143" y="381"/>
                </a:cubicBezTo>
                <a:cubicBezTo>
                  <a:pt x="1147" y="381"/>
                  <a:pt x="1150" y="378"/>
                  <a:pt x="1150" y="374"/>
                </a:cubicBezTo>
                <a:cubicBezTo>
                  <a:pt x="1150" y="371"/>
                  <a:pt x="1147" y="368"/>
                  <a:pt x="1143" y="368"/>
                </a:cubicBezTo>
                <a:close/>
                <a:moveTo>
                  <a:pt x="1164" y="368"/>
                </a:moveTo>
                <a:cubicBezTo>
                  <a:pt x="1160" y="368"/>
                  <a:pt x="1157" y="371"/>
                  <a:pt x="1157" y="374"/>
                </a:cubicBezTo>
                <a:cubicBezTo>
                  <a:pt x="1157" y="378"/>
                  <a:pt x="1160" y="381"/>
                  <a:pt x="1164" y="381"/>
                </a:cubicBezTo>
                <a:cubicBezTo>
                  <a:pt x="1169" y="381"/>
                  <a:pt x="1172" y="378"/>
                  <a:pt x="1172" y="374"/>
                </a:cubicBezTo>
                <a:cubicBezTo>
                  <a:pt x="1172" y="371"/>
                  <a:pt x="1169" y="368"/>
                  <a:pt x="1164" y="368"/>
                </a:cubicBezTo>
                <a:close/>
                <a:moveTo>
                  <a:pt x="1143" y="387"/>
                </a:moveTo>
                <a:cubicBezTo>
                  <a:pt x="1138" y="387"/>
                  <a:pt x="1135" y="390"/>
                  <a:pt x="1135" y="393"/>
                </a:cubicBezTo>
                <a:cubicBezTo>
                  <a:pt x="1135" y="397"/>
                  <a:pt x="1138" y="400"/>
                  <a:pt x="1143" y="400"/>
                </a:cubicBezTo>
                <a:cubicBezTo>
                  <a:pt x="1147" y="400"/>
                  <a:pt x="1150" y="397"/>
                  <a:pt x="1150" y="393"/>
                </a:cubicBezTo>
                <a:cubicBezTo>
                  <a:pt x="1150" y="390"/>
                  <a:pt x="1147" y="387"/>
                  <a:pt x="1143" y="387"/>
                </a:cubicBezTo>
                <a:close/>
                <a:moveTo>
                  <a:pt x="1164" y="387"/>
                </a:moveTo>
                <a:cubicBezTo>
                  <a:pt x="1160" y="387"/>
                  <a:pt x="1157" y="390"/>
                  <a:pt x="1157" y="393"/>
                </a:cubicBezTo>
                <a:cubicBezTo>
                  <a:pt x="1157" y="397"/>
                  <a:pt x="1160" y="400"/>
                  <a:pt x="1164" y="400"/>
                </a:cubicBezTo>
                <a:cubicBezTo>
                  <a:pt x="1169" y="400"/>
                  <a:pt x="1172" y="397"/>
                  <a:pt x="1172" y="393"/>
                </a:cubicBezTo>
                <a:cubicBezTo>
                  <a:pt x="1172" y="390"/>
                  <a:pt x="1169" y="387"/>
                  <a:pt x="1164" y="387"/>
                </a:cubicBezTo>
                <a:close/>
                <a:moveTo>
                  <a:pt x="1143" y="406"/>
                </a:moveTo>
                <a:cubicBezTo>
                  <a:pt x="1138" y="406"/>
                  <a:pt x="1135" y="409"/>
                  <a:pt x="1135" y="413"/>
                </a:cubicBezTo>
                <a:cubicBezTo>
                  <a:pt x="1135" y="416"/>
                  <a:pt x="1138" y="419"/>
                  <a:pt x="1143" y="419"/>
                </a:cubicBezTo>
                <a:cubicBezTo>
                  <a:pt x="1147" y="419"/>
                  <a:pt x="1150" y="416"/>
                  <a:pt x="1150" y="413"/>
                </a:cubicBezTo>
                <a:cubicBezTo>
                  <a:pt x="1150" y="409"/>
                  <a:pt x="1147" y="406"/>
                  <a:pt x="1143" y="406"/>
                </a:cubicBezTo>
                <a:close/>
                <a:moveTo>
                  <a:pt x="1164" y="406"/>
                </a:moveTo>
                <a:cubicBezTo>
                  <a:pt x="1160" y="406"/>
                  <a:pt x="1157" y="409"/>
                  <a:pt x="1157" y="413"/>
                </a:cubicBezTo>
                <a:cubicBezTo>
                  <a:pt x="1157" y="416"/>
                  <a:pt x="1160" y="419"/>
                  <a:pt x="1164" y="419"/>
                </a:cubicBezTo>
                <a:cubicBezTo>
                  <a:pt x="1169" y="419"/>
                  <a:pt x="1172" y="416"/>
                  <a:pt x="1172" y="413"/>
                </a:cubicBezTo>
                <a:cubicBezTo>
                  <a:pt x="1172" y="409"/>
                  <a:pt x="1169" y="406"/>
                  <a:pt x="1164" y="406"/>
                </a:cubicBezTo>
                <a:close/>
                <a:moveTo>
                  <a:pt x="1143" y="425"/>
                </a:moveTo>
                <a:cubicBezTo>
                  <a:pt x="1138" y="425"/>
                  <a:pt x="1135" y="428"/>
                  <a:pt x="1135" y="432"/>
                </a:cubicBezTo>
                <a:cubicBezTo>
                  <a:pt x="1135" y="435"/>
                  <a:pt x="1138" y="438"/>
                  <a:pt x="1143" y="438"/>
                </a:cubicBezTo>
                <a:cubicBezTo>
                  <a:pt x="1147" y="438"/>
                  <a:pt x="1150" y="435"/>
                  <a:pt x="1150" y="432"/>
                </a:cubicBezTo>
                <a:cubicBezTo>
                  <a:pt x="1150" y="428"/>
                  <a:pt x="1147" y="425"/>
                  <a:pt x="1143" y="425"/>
                </a:cubicBezTo>
                <a:close/>
                <a:moveTo>
                  <a:pt x="1208" y="290"/>
                </a:moveTo>
                <a:cubicBezTo>
                  <a:pt x="1204" y="290"/>
                  <a:pt x="1201" y="293"/>
                  <a:pt x="1201" y="296"/>
                </a:cubicBezTo>
                <a:cubicBezTo>
                  <a:pt x="1201" y="300"/>
                  <a:pt x="1204" y="303"/>
                  <a:pt x="1208" y="303"/>
                </a:cubicBezTo>
                <a:cubicBezTo>
                  <a:pt x="1213" y="303"/>
                  <a:pt x="1216" y="300"/>
                  <a:pt x="1216" y="296"/>
                </a:cubicBezTo>
                <a:cubicBezTo>
                  <a:pt x="1216" y="293"/>
                  <a:pt x="1213" y="290"/>
                  <a:pt x="1208" y="290"/>
                </a:cubicBezTo>
                <a:close/>
                <a:moveTo>
                  <a:pt x="1186" y="309"/>
                </a:moveTo>
                <a:cubicBezTo>
                  <a:pt x="1182" y="309"/>
                  <a:pt x="1179" y="312"/>
                  <a:pt x="1179" y="316"/>
                </a:cubicBezTo>
                <a:cubicBezTo>
                  <a:pt x="1179" y="320"/>
                  <a:pt x="1182" y="323"/>
                  <a:pt x="1186" y="323"/>
                </a:cubicBezTo>
                <a:cubicBezTo>
                  <a:pt x="1191" y="323"/>
                  <a:pt x="1194" y="320"/>
                  <a:pt x="1194" y="316"/>
                </a:cubicBezTo>
                <a:cubicBezTo>
                  <a:pt x="1194" y="312"/>
                  <a:pt x="1191" y="309"/>
                  <a:pt x="1186" y="309"/>
                </a:cubicBezTo>
                <a:close/>
                <a:moveTo>
                  <a:pt x="1208" y="309"/>
                </a:moveTo>
                <a:cubicBezTo>
                  <a:pt x="1204" y="309"/>
                  <a:pt x="1201" y="312"/>
                  <a:pt x="1201" y="316"/>
                </a:cubicBezTo>
                <a:cubicBezTo>
                  <a:pt x="1201" y="320"/>
                  <a:pt x="1204" y="323"/>
                  <a:pt x="1208" y="323"/>
                </a:cubicBezTo>
                <a:cubicBezTo>
                  <a:pt x="1213" y="323"/>
                  <a:pt x="1216" y="320"/>
                  <a:pt x="1216" y="316"/>
                </a:cubicBezTo>
                <a:cubicBezTo>
                  <a:pt x="1216" y="312"/>
                  <a:pt x="1213" y="309"/>
                  <a:pt x="1208" y="309"/>
                </a:cubicBezTo>
                <a:close/>
                <a:moveTo>
                  <a:pt x="1186" y="329"/>
                </a:moveTo>
                <a:cubicBezTo>
                  <a:pt x="1182" y="329"/>
                  <a:pt x="1179" y="332"/>
                  <a:pt x="1179" y="335"/>
                </a:cubicBezTo>
                <a:cubicBezTo>
                  <a:pt x="1179" y="339"/>
                  <a:pt x="1182" y="342"/>
                  <a:pt x="1186" y="342"/>
                </a:cubicBezTo>
                <a:cubicBezTo>
                  <a:pt x="1191" y="342"/>
                  <a:pt x="1194" y="339"/>
                  <a:pt x="1194" y="335"/>
                </a:cubicBezTo>
                <a:cubicBezTo>
                  <a:pt x="1194" y="332"/>
                  <a:pt x="1191" y="329"/>
                  <a:pt x="1186" y="329"/>
                </a:cubicBezTo>
                <a:close/>
                <a:moveTo>
                  <a:pt x="1208" y="329"/>
                </a:moveTo>
                <a:cubicBezTo>
                  <a:pt x="1204" y="329"/>
                  <a:pt x="1201" y="332"/>
                  <a:pt x="1201" y="335"/>
                </a:cubicBezTo>
                <a:cubicBezTo>
                  <a:pt x="1201" y="339"/>
                  <a:pt x="1204" y="342"/>
                  <a:pt x="1208" y="342"/>
                </a:cubicBezTo>
                <a:cubicBezTo>
                  <a:pt x="1213" y="342"/>
                  <a:pt x="1216" y="339"/>
                  <a:pt x="1216" y="335"/>
                </a:cubicBezTo>
                <a:cubicBezTo>
                  <a:pt x="1216" y="332"/>
                  <a:pt x="1213" y="329"/>
                  <a:pt x="1208" y="329"/>
                </a:cubicBezTo>
                <a:close/>
                <a:moveTo>
                  <a:pt x="1186" y="348"/>
                </a:moveTo>
                <a:cubicBezTo>
                  <a:pt x="1182" y="348"/>
                  <a:pt x="1179" y="351"/>
                  <a:pt x="1179" y="355"/>
                </a:cubicBezTo>
                <a:cubicBezTo>
                  <a:pt x="1179" y="359"/>
                  <a:pt x="1182" y="362"/>
                  <a:pt x="1186" y="362"/>
                </a:cubicBezTo>
                <a:cubicBezTo>
                  <a:pt x="1191" y="362"/>
                  <a:pt x="1194" y="359"/>
                  <a:pt x="1194" y="355"/>
                </a:cubicBezTo>
                <a:cubicBezTo>
                  <a:pt x="1194" y="351"/>
                  <a:pt x="1191" y="348"/>
                  <a:pt x="1186" y="348"/>
                </a:cubicBezTo>
                <a:close/>
                <a:moveTo>
                  <a:pt x="1208" y="348"/>
                </a:moveTo>
                <a:cubicBezTo>
                  <a:pt x="1204" y="348"/>
                  <a:pt x="1201" y="351"/>
                  <a:pt x="1201" y="355"/>
                </a:cubicBezTo>
                <a:cubicBezTo>
                  <a:pt x="1201" y="359"/>
                  <a:pt x="1204" y="362"/>
                  <a:pt x="1208" y="362"/>
                </a:cubicBezTo>
                <a:cubicBezTo>
                  <a:pt x="1213" y="362"/>
                  <a:pt x="1216" y="359"/>
                  <a:pt x="1216" y="355"/>
                </a:cubicBezTo>
                <a:cubicBezTo>
                  <a:pt x="1216" y="351"/>
                  <a:pt x="1213" y="348"/>
                  <a:pt x="1208" y="348"/>
                </a:cubicBezTo>
                <a:close/>
                <a:moveTo>
                  <a:pt x="1186" y="368"/>
                </a:moveTo>
                <a:cubicBezTo>
                  <a:pt x="1182" y="368"/>
                  <a:pt x="1179" y="371"/>
                  <a:pt x="1179" y="374"/>
                </a:cubicBezTo>
                <a:cubicBezTo>
                  <a:pt x="1179" y="378"/>
                  <a:pt x="1182" y="381"/>
                  <a:pt x="1186" y="381"/>
                </a:cubicBezTo>
                <a:cubicBezTo>
                  <a:pt x="1191" y="381"/>
                  <a:pt x="1194" y="378"/>
                  <a:pt x="1194" y="374"/>
                </a:cubicBezTo>
                <a:cubicBezTo>
                  <a:pt x="1194" y="371"/>
                  <a:pt x="1191" y="368"/>
                  <a:pt x="1186" y="368"/>
                </a:cubicBezTo>
                <a:close/>
                <a:moveTo>
                  <a:pt x="1208" y="368"/>
                </a:moveTo>
                <a:cubicBezTo>
                  <a:pt x="1204" y="368"/>
                  <a:pt x="1201" y="371"/>
                  <a:pt x="1201" y="374"/>
                </a:cubicBezTo>
                <a:cubicBezTo>
                  <a:pt x="1201" y="378"/>
                  <a:pt x="1204" y="381"/>
                  <a:pt x="1208" y="381"/>
                </a:cubicBezTo>
                <a:cubicBezTo>
                  <a:pt x="1213" y="381"/>
                  <a:pt x="1216" y="378"/>
                  <a:pt x="1216" y="374"/>
                </a:cubicBezTo>
                <a:cubicBezTo>
                  <a:pt x="1216" y="371"/>
                  <a:pt x="1213" y="368"/>
                  <a:pt x="1208" y="368"/>
                </a:cubicBezTo>
                <a:close/>
                <a:moveTo>
                  <a:pt x="1186" y="387"/>
                </a:moveTo>
                <a:cubicBezTo>
                  <a:pt x="1182" y="387"/>
                  <a:pt x="1179" y="390"/>
                  <a:pt x="1179" y="393"/>
                </a:cubicBezTo>
                <a:cubicBezTo>
                  <a:pt x="1179" y="397"/>
                  <a:pt x="1182" y="400"/>
                  <a:pt x="1186" y="400"/>
                </a:cubicBezTo>
                <a:cubicBezTo>
                  <a:pt x="1191" y="400"/>
                  <a:pt x="1194" y="397"/>
                  <a:pt x="1194" y="393"/>
                </a:cubicBezTo>
                <a:cubicBezTo>
                  <a:pt x="1194" y="390"/>
                  <a:pt x="1191" y="387"/>
                  <a:pt x="1186" y="387"/>
                </a:cubicBezTo>
                <a:close/>
                <a:moveTo>
                  <a:pt x="1208" y="387"/>
                </a:moveTo>
                <a:cubicBezTo>
                  <a:pt x="1204" y="387"/>
                  <a:pt x="1201" y="390"/>
                  <a:pt x="1201" y="393"/>
                </a:cubicBezTo>
                <a:cubicBezTo>
                  <a:pt x="1201" y="397"/>
                  <a:pt x="1204" y="400"/>
                  <a:pt x="1208" y="400"/>
                </a:cubicBezTo>
                <a:cubicBezTo>
                  <a:pt x="1213" y="400"/>
                  <a:pt x="1216" y="397"/>
                  <a:pt x="1216" y="393"/>
                </a:cubicBezTo>
                <a:cubicBezTo>
                  <a:pt x="1216" y="390"/>
                  <a:pt x="1213" y="387"/>
                  <a:pt x="1208" y="387"/>
                </a:cubicBezTo>
                <a:close/>
                <a:moveTo>
                  <a:pt x="1186" y="406"/>
                </a:moveTo>
                <a:cubicBezTo>
                  <a:pt x="1182" y="406"/>
                  <a:pt x="1179" y="409"/>
                  <a:pt x="1179" y="413"/>
                </a:cubicBezTo>
                <a:cubicBezTo>
                  <a:pt x="1179" y="416"/>
                  <a:pt x="1182" y="419"/>
                  <a:pt x="1186" y="419"/>
                </a:cubicBezTo>
                <a:cubicBezTo>
                  <a:pt x="1191" y="419"/>
                  <a:pt x="1194" y="416"/>
                  <a:pt x="1194" y="413"/>
                </a:cubicBezTo>
                <a:cubicBezTo>
                  <a:pt x="1194" y="409"/>
                  <a:pt x="1191" y="406"/>
                  <a:pt x="1186" y="406"/>
                </a:cubicBezTo>
                <a:close/>
                <a:moveTo>
                  <a:pt x="1208" y="406"/>
                </a:moveTo>
                <a:cubicBezTo>
                  <a:pt x="1204" y="406"/>
                  <a:pt x="1201" y="409"/>
                  <a:pt x="1201" y="413"/>
                </a:cubicBezTo>
                <a:cubicBezTo>
                  <a:pt x="1201" y="416"/>
                  <a:pt x="1204" y="419"/>
                  <a:pt x="1208" y="419"/>
                </a:cubicBezTo>
                <a:cubicBezTo>
                  <a:pt x="1213" y="419"/>
                  <a:pt x="1216" y="416"/>
                  <a:pt x="1216" y="413"/>
                </a:cubicBezTo>
                <a:cubicBezTo>
                  <a:pt x="1216" y="409"/>
                  <a:pt x="1213" y="406"/>
                  <a:pt x="1208" y="406"/>
                </a:cubicBezTo>
                <a:close/>
                <a:moveTo>
                  <a:pt x="1208" y="425"/>
                </a:moveTo>
                <a:cubicBezTo>
                  <a:pt x="1204" y="425"/>
                  <a:pt x="1201" y="428"/>
                  <a:pt x="1201" y="432"/>
                </a:cubicBezTo>
                <a:cubicBezTo>
                  <a:pt x="1201" y="435"/>
                  <a:pt x="1204" y="438"/>
                  <a:pt x="1208" y="438"/>
                </a:cubicBezTo>
                <a:cubicBezTo>
                  <a:pt x="1213" y="438"/>
                  <a:pt x="1216" y="435"/>
                  <a:pt x="1216" y="432"/>
                </a:cubicBezTo>
                <a:cubicBezTo>
                  <a:pt x="1216" y="428"/>
                  <a:pt x="1213" y="425"/>
                  <a:pt x="1208" y="425"/>
                </a:cubicBezTo>
                <a:close/>
                <a:moveTo>
                  <a:pt x="1075" y="446"/>
                </a:moveTo>
                <a:cubicBezTo>
                  <a:pt x="1071" y="446"/>
                  <a:pt x="1068" y="448"/>
                  <a:pt x="1068" y="452"/>
                </a:cubicBezTo>
                <a:cubicBezTo>
                  <a:pt x="1068" y="455"/>
                  <a:pt x="1071" y="458"/>
                  <a:pt x="1075" y="458"/>
                </a:cubicBezTo>
                <a:cubicBezTo>
                  <a:pt x="1080" y="458"/>
                  <a:pt x="1083" y="455"/>
                  <a:pt x="1083" y="452"/>
                </a:cubicBezTo>
                <a:cubicBezTo>
                  <a:pt x="1083" y="448"/>
                  <a:pt x="1080" y="446"/>
                  <a:pt x="1075" y="446"/>
                </a:cubicBezTo>
                <a:close/>
                <a:moveTo>
                  <a:pt x="1075" y="503"/>
                </a:moveTo>
                <a:cubicBezTo>
                  <a:pt x="1071" y="503"/>
                  <a:pt x="1068" y="506"/>
                  <a:pt x="1068" y="509"/>
                </a:cubicBezTo>
                <a:cubicBezTo>
                  <a:pt x="1068" y="513"/>
                  <a:pt x="1071" y="516"/>
                  <a:pt x="1075" y="516"/>
                </a:cubicBezTo>
                <a:cubicBezTo>
                  <a:pt x="1080" y="516"/>
                  <a:pt x="1083" y="513"/>
                  <a:pt x="1083" y="509"/>
                </a:cubicBezTo>
                <a:cubicBezTo>
                  <a:pt x="1083" y="506"/>
                  <a:pt x="1080" y="503"/>
                  <a:pt x="1075" y="503"/>
                </a:cubicBezTo>
                <a:close/>
                <a:moveTo>
                  <a:pt x="1075" y="522"/>
                </a:moveTo>
                <a:cubicBezTo>
                  <a:pt x="1071" y="522"/>
                  <a:pt x="1068" y="525"/>
                  <a:pt x="1068" y="529"/>
                </a:cubicBezTo>
                <a:cubicBezTo>
                  <a:pt x="1068" y="533"/>
                  <a:pt x="1071" y="536"/>
                  <a:pt x="1075" y="536"/>
                </a:cubicBezTo>
                <a:cubicBezTo>
                  <a:pt x="1080" y="536"/>
                  <a:pt x="1083" y="533"/>
                  <a:pt x="1083" y="529"/>
                </a:cubicBezTo>
                <a:cubicBezTo>
                  <a:pt x="1083" y="525"/>
                  <a:pt x="1080" y="522"/>
                  <a:pt x="1075" y="522"/>
                </a:cubicBezTo>
                <a:close/>
                <a:moveTo>
                  <a:pt x="1054" y="542"/>
                </a:moveTo>
                <a:cubicBezTo>
                  <a:pt x="1050" y="542"/>
                  <a:pt x="1046" y="545"/>
                  <a:pt x="1046" y="549"/>
                </a:cubicBezTo>
                <a:cubicBezTo>
                  <a:pt x="1046" y="552"/>
                  <a:pt x="1050" y="556"/>
                  <a:pt x="1054" y="556"/>
                </a:cubicBezTo>
                <a:cubicBezTo>
                  <a:pt x="1058" y="556"/>
                  <a:pt x="1061" y="552"/>
                  <a:pt x="1061" y="549"/>
                </a:cubicBezTo>
                <a:cubicBezTo>
                  <a:pt x="1061" y="545"/>
                  <a:pt x="1058" y="542"/>
                  <a:pt x="1054" y="542"/>
                </a:cubicBezTo>
                <a:close/>
                <a:moveTo>
                  <a:pt x="1075" y="542"/>
                </a:moveTo>
                <a:cubicBezTo>
                  <a:pt x="1071" y="542"/>
                  <a:pt x="1068" y="545"/>
                  <a:pt x="1068" y="549"/>
                </a:cubicBezTo>
                <a:cubicBezTo>
                  <a:pt x="1068" y="552"/>
                  <a:pt x="1071" y="556"/>
                  <a:pt x="1075" y="556"/>
                </a:cubicBezTo>
                <a:cubicBezTo>
                  <a:pt x="1080" y="556"/>
                  <a:pt x="1083" y="552"/>
                  <a:pt x="1083" y="549"/>
                </a:cubicBezTo>
                <a:cubicBezTo>
                  <a:pt x="1083" y="545"/>
                  <a:pt x="1080" y="542"/>
                  <a:pt x="1075" y="542"/>
                </a:cubicBezTo>
                <a:close/>
                <a:moveTo>
                  <a:pt x="1054" y="561"/>
                </a:moveTo>
                <a:cubicBezTo>
                  <a:pt x="1050" y="561"/>
                  <a:pt x="1046" y="564"/>
                  <a:pt x="1046" y="567"/>
                </a:cubicBezTo>
                <a:cubicBezTo>
                  <a:pt x="1046" y="571"/>
                  <a:pt x="1050" y="574"/>
                  <a:pt x="1054" y="574"/>
                </a:cubicBezTo>
                <a:cubicBezTo>
                  <a:pt x="1058" y="574"/>
                  <a:pt x="1061" y="571"/>
                  <a:pt x="1061" y="567"/>
                </a:cubicBezTo>
                <a:cubicBezTo>
                  <a:pt x="1061" y="564"/>
                  <a:pt x="1058" y="561"/>
                  <a:pt x="1054" y="561"/>
                </a:cubicBezTo>
                <a:close/>
                <a:moveTo>
                  <a:pt x="1075" y="561"/>
                </a:moveTo>
                <a:cubicBezTo>
                  <a:pt x="1071" y="561"/>
                  <a:pt x="1068" y="564"/>
                  <a:pt x="1068" y="567"/>
                </a:cubicBezTo>
                <a:cubicBezTo>
                  <a:pt x="1068" y="571"/>
                  <a:pt x="1071" y="574"/>
                  <a:pt x="1075" y="574"/>
                </a:cubicBezTo>
                <a:cubicBezTo>
                  <a:pt x="1080" y="574"/>
                  <a:pt x="1083" y="571"/>
                  <a:pt x="1083" y="567"/>
                </a:cubicBezTo>
                <a:cubicBezTo>
                  <a:pt x="1083" y="564"/>
                  <a:pt x="1080" y="561"/>
                  <a:pt x="1075" y="561"/>
                </a:cubicBezTo>
                <a:close/>
                <a:moveTo>
                  <a:pt x="1054" y="580"/>
                </a:moveTo>
                <a:cubicBezTo>
                  <a:pt x="1050" y="580"/>
                  <a:pt x="1046" y="583"/>
                  <a:pt x="1046" y="587"/>
                </a:cubicBezTo>
                <a:cubicBezTo>
                  <a:pt x="1046" y="590"/>
                  <a:pt x="1050" y="593"/>
                  <a:pt x="1054" y="593"/>
                </a:cubicBezTo>
                <a:cubicBezTo>
                  <a:pt x="1058" y="593"/>
                  <a:pt x="1061" y="590"/>
                  <a:pt x="1061" y="587"/>
                </a:cubicBezTo>
                <a:cubicBezTo>
                  <a:pt x="1061" y="583"/>
                  <a:pt x="1058" y="580"/>
                  <a:pt x="1054" y="580"/>
                </a:cubicBezTo>
                <a:close/>
                <a:moveTo>
                  <a:pt x="1075" y="580"/>
                </a:moveTo>
                <a:cubicBezTo>
                  <a:pt x="1071" y="580"/>
                  <a:pt x="1068" y="583"/>
                  <a:pt x="1068" y="587"/>
                </a:cubicBezTo>
                <a:cubicBezTo>
                  <a:pt x="1068" y="590"/>
                  <a:pt x="1071" y="593"/>
                  <a:pt x="1075" y="593"/>
                </a:cubicBezTo>
                <a:cubicBezTo>
                  <a:pt x="1080" y="593"/>
                  <a:pt x="1083" y="590"/>
                  <a:pt x="1083" y="587"/>
                </a:cubicBezTo>
                <a:cubicBezTo>
                  <a:pt x="1083" y="583"/>
                  <a:pt x="1080" y="580"/>
                  <a:pt x="1075" y="580"/>
                </a:cubicBezTo>
                <a:close/>
                <a:moveTo>
                  <a:pt x="1098" y="446"/>
                </a:moveTo>
                <a:cubicBezTo>
                  <a:pt x="1094" y="446"/>
                  <a:pt x="1090" y="448"/>
                  <a:pt x="1090" y="452"/>
                </a:cubicBezTo>
                <a:cubicBezTo>
                  <a:pt x="1090" y="455"/>
                  <a:pt x="1094" y="458"/>
                  <a:pt x="1098" y="458"/>
                </a:cubicBezTo>
                <a:cubicBezTo>
                  <a:pt x="1102" y="458"/>
                  <a:pt x="1105" y="455"/>
                  <a:pt x="1105" y="452"/>
                </a:cubicBezTo>
                <a:cubicBezTo>
                  <a:pt x="1105" y="448"/>
                  <a:pt x="1102" y="446"/>
                  <a:pt x="1098" y="446"/>
                </a:cubicBezTo>
                <a:close/>
                <a:moveTo>
                  <a:pt x="1120" y="446"/>
                </a:moveTo>
                <a:cubicBezTo>
                  <a:pt x="1116" y="446"/>
                  <a:pt x="1113" y="448"/>
                  <a:pt x="1113" y="452"/>
                </a:cubicBezTo>
                <a:cubicBezTo>
                  <a:pt x="1113" y="455"/>
                  <a:pt x="1116" y="458"/>
                  <a:pt x="1120" y="458"/>
                </a:cubicBezTo>
                <a:cubicBezTo>
                  <a:pt x="1125" y="458"/>
                  <a:pt x="1128" y="455"/>
                  <a:pt x="1128" y="452"/>
                </a:cubicBezTo>
                <a:cubicBezTo>
                  <a:pt x="1128" y="448"/>
                  <a:pt x="1125" y="446"/>
                  <a:pt x="1120" y="446"/>
                </a:cubicBezTo>
                <a:close/>
                <a:moveTo>
                  <a:pt x="1098" y="464"/>
                </a:moveTo>
                <a:cubicBezTo>
                  <a:pt x="1094" y="464"/>
                  <a:pt x="1090" y="467"/>
                  <a:pt x="1090" y="471"/>
                </a:cubicBezTo>
                <a:cubicBezTo>
                  <a:pt x="1090" y="475"/>
                  <a:pt x="1094" y="478"/>
                  <a:pt x="1098" y="478"/>
                </a:cubicBezTo>
                <a:cubicBezTo>
                  <a:pt x="1102" y="478"/>
                  <a:pt x="1105" y="475"/>
                  <a:pt x="1105" y="471"/>
                </a:cubicBezTo>
                <a:cubicBezTo>
                  <a:pt x="1105" y="467"/>
                  <a:pt x="1102" y="464"/>
                  <a:pt x="1098" y="464"/>
                </a:cubicBezTo>
                <a:close/>
                <a:moveTo>
                  <a:pt x="1098" y="484"/>
                </a:moveTo>
                <a:cubicBezTo>
                  <a:pt x="1094" y="484"/>
                  <a:pt x="1090" y="487"/>
                  <a:pt x="1090" y="490"/>
                </a:cubicBezTo>
                <a:cubicBezTo>
                  <a:pt x="1090" y="494"/>
                  <a:pt x="1094" y="497"/>
                  <a:pt x="1098" y="497"/>
                </a:cubicBezTo>
                <a:cubicBezTo>
                  <a:pt x="1102" y="497"/>
                  <a:pt x="1105" y="494"/>
                  <a:pt x="1105" y="490"/>
                </a:cubicBezTo>
                <a:cubicBezTo>
                  <a:pt x="1105" y="487"/>
                  <a:pt x="1102" y="484"/>
                  <a:pt x="1098" y="484"/>
                </a:cubicBezTo>
                <a:close/>
                <a:moveTo>
                  <a:pt x="1120" y="484"/>
                </a:moveTo>
                <a:cubicBezTo>
                  <a:pt x="1116" y="484"/>
                  <a:pt x="1113" y="487"/>
                  <a:pt x="1113" y="490"/>
                </a:cubicBezTo>
                <a:cubicBezTo>
                  <a:pt x="1113" y="494"/>
                  <a:pt x="1116" y="497"/>
                  <a:pt x="1120" y="497"/>
                </a:cubicBezTo>
                <a:cubicBezTo>
                  <a:pt x="1125" y="497"/>
                  <a:pt x="1128" y="494"/>
                  <a:pt x="1128" y="490"/>
                </a:cubicBezTo>
                <a:cubicBezTo>
                  <a:pt x="1128" y="487"/>
                  <a:pt x="1125" y="484"/>
                  <a:pt x="1120" y="484"/>
                </a:cubicBezTo>
                <a:close/>
                <a:moveTo>
                  <a:pt x="1098" y="503"/>
                </a:moveTo>
                <a:cubicBezTo>
                  <a:pt x="1094" y="503"/>
                  <a:pt x="1090" y="506"/>
                  <a:pt x="1090" y="509"/>
                </a:cubicBezTo>
                <a:cubicBezTo>
                  <a:pt x="1090" y="513"/>
                  <a:pt x="1094" y="516"/>
                  <a:pt x="1098" y="516"/>
                </a:cubicBezTo>
                <a:cubicBezTo>
                  <a:pt x="1102" y="516"/>
                  <a:pt x="1105" y="513"/>
                  <a:pt x="1105" y="509"/>
                </a:cubicBezTo>
                <a:cubicBezTo>
                  <a:pt x="1105" y="506"/>
                  <a:pt x="1102" y="503"/>
                  <a:pt x="1098" y="503"/>
                </a:cubicBezTo>
                <a:close/>
                <a:moveTo>
                  <a:pt x="1120" y="503"/>
                </a:moveTo>
                <a:cubicBezTo>
                  <a:pt x="1116" y="503"/>
                  <a:pt x="1113" y="506"/>
                  <a:pt x="1113" y="509"/>
                </a:cubicBezTo>
                <a:cubicBezTo>
                  <a:pt x="1113" y="513"/>
                  <a:pt x="1116" y="516"/>
                  <a:pt x="1120" y="516"/>
                </a:cubicBezTo>
                <a:cubicBezTo>
                  <a:pt x="1125" y="516"/>
                  <a:pt x="1128" y="513"/>
                  <a:pt x="1128" y="509"/>
                </a:cubicBezTo>
                <a:cubicBezTo>
                  <a:pt x="1128" y="506"/>
                  <a:pt x="1125" y="503"/>
                  <a:pt x="1120" y="503"/>
                </a:cubicBezTo>
                <a:close/>
                <a:moveTo>
                  <a:pt x="1098" y="522"/>
                </a:moveTo>
                <a:cubicBezTo>
                  <a:pt x="1094" y="522"/>
                  <a:pt x="1090" y="525"/>
                  <a:pt x="1090" y="529"/>
                </a:cubicBezTo>
                <a:cubicBezTo>
                  <a:pt x="1090" y="533"/>
                  <a:pt x="1094" y="536"/>
                  <a:pt x="1098" y="536"/>
                </a:cubicBezTo>
                <a:cubicBezTo>
                  <a:pt x="1102" y="536"/>
                  <a:pt x="1105" y="533"/>
                  <a:pt x="1105" y="529"/>
                </a:cubicBezTo>
                <a:cubicBezTo>
                  <a:pt x="1105" y="525"/>
                  <a:pt x="1102" y="522"/>
                  <a:pt x="1098" y="522"/>
                </a:cubicBezTo>
                <a:close/>
                <a:moveTo>
                  <a:pt x="1120" y="522"/>
                </a:moveTo>
                <a:cubicBezTo>
                  <a:pt x="1116" y="522"/>
                  <a:pt x="1113" y="525"/>
                  <a:pt x="1113" y="529"/>
                </a:cubicBezTo>
                <a:cubicBezTo>
                  <a:pt x="1113" y="533"/>
                  <a:pt x="1116" y="536"/>
                  <a:pt x="1120" y="536"/>
                </a:cubicBezTo>
                <a:cubicBezTo>
                  <a:pt x="1125" y="536"/>
                  <a:pt x="1128" y="533"/>
                  <a:pt x="1128" y="529"/>
                </a:cubicBezTo>
                <a:cubicBezTo>
                  <a:pt x="1128" y="525"/>
                  <a:pt x="1125" y="522"/>
                  <a:pt x="1120" y="522"/>
                </a:cubicBezTo>
                <a:close/>
                <a:moveTo>
                  <a:pt x="1098" y="542"/>
                </a:moveTo>
                <a:cubicBezTo>
                  <a:pt x="1094" y="542"/>
                  <a:pt x="1090" y="545"/>
                  <a:pt x="1090" y="549"/>
                </a:cubicBezTo>
                <a:cubicBezTo>
                  <a:pt x="1090" y="552"/>
                  <a:pt x="1094" y="556"/>
                  <a:pt x="1098" y="556"/>
                </a:cubicBezTo>
                <a:cubicBezTo>
                  <a:pt x="1102" y="556"/>
                  <a:pt x="1105" y="552"/>
                  <a:pt x="1105" y="549"/>
                </a:cubicBezTo>
                <a:cubicBezTo>
                  <a:pt x="1105" y="545"/>
                  <a:pt x="1102" y="542"/>
                  <a:pt x="1098" y="542"/>
                </a:cubicBezTo>
                <a:close/>
                <a:moveTo>
                  <a:pt x="1120" y="542"/>
                </a:moveTo>
                <a:cubicBezTo>
                  <a:pt x="1116" y="542"/>
                  <a:pt x="1113" y="545"/>
                  <a:pt x="1113" y="549"/>
                </a:cubicBezTo>
                <a:cubicBezTo>
                  <a:pt x="1113" y="552"/>
                  <a:pt x="1116" y="556"/>
                  <a:pt x="1120" y="556"/>
                </a:cubicBezTo>
                <a:cubicBezTo>
                  <a:pt x="1125" y="556"/>
                  <a:pt x="1128" y="552"/>
                  <a:pt x="1128" y="549"/>
                </a:cubicBezTo>
                <a:cubicBezTo>
                  <a:pt x="1128" y="545"/>
                  <a:pt x="1125" y="542"/>
                  <a:pt x="1120" y="542"/>
                </a:cubicBezTo>
                <a:close/>
                <a:moveTo>
                  <a:pt x="1098" y="561"/>
                </a:moveTo>
                <a:cubicBezTo>
                  <a:pt x="1094" y="561"/>
                  <a:pt x="1090" y="564"/>
                  <a:pt x="1090" y="567"/>
                </a:cubicBezTo>
                <a:cubicBezTo>
                  <a:pt x="1090" y="571"/>
                  <a:pt x="1094" y="574"/>
                  <a:pt x="1098" y="574"/>
                </a:cubicBezTo>
                <a:cubicBezTo>
                  <a:pt x="1102" y="574"/>
                  <a:pt x="1105" y="571"/>
                  <a:pt x="1105" y="567"/>
                </a:cubicBezTo>
                <a:cubicBezTo>
                  <a:pt x="1105" y="564"/>
                  <a:pt x="1102" y="561"/>
                  <a:pt x="1098" y="561"/>
                </a:cubicBezTo>
                <a:close/>
                <a:moveTo>
                  <a:pt x="1120" y="561"/>
                </a:moveTo>
                <a:cubicBezTo>
                  <a:pt x="1116" y="561"/>
                  <a:pt x="1113" y="564"/>
                  <a:pt x="1113" y="567"/>
                </a:cubicBezTo>
                <a:cubicBezTo>
                  <a:pt x="1113" y="571"/>
                  <a:pt x="1116" y="574"/>
                  <a:pt x="1120" y="574"/>
                </a:cubicBezTo>
                <a:cubicBezTo>
                  <a:pt x="1125" y="574"/>
                  <a:pt x="1128" y="571"/>
                  <a:pt x="1128" y="567"/>
                </a:cubicBezTo>
                <a:cubicBezTo>
                  <a:pt x="1128" y="564"/>
                  <a:pt x="1125" y="561"/>
                  <a:pt x="1120" y="561"/>
                </a:cubicBezTo>
                <a:close/>
                <a:moveTo>
                  <a:pt x="1098" y="580"/>
                </a:moveTo>
                <a:cubicBezTo>
                  <a:pt x="1094" y="580"/>
                  <a:pt x="1090" y="583"/>
                  <a:pt x="1090" y="587"/>
                </a:cubicBezTo>
                <a:cubicBezTo>
                  <a:pt x="1090" y="590"/>
                  <a:pt x="1094" y="593"/>
                  <a:pt x="1098" y="593"/>
                </a:cubicBezTo>
                <a:cubicBezTo>
                  <a:pt x="1102" y="593"/>
                  <a:pt x="1105" y="590"/>
                  <a:pt x="1105" y="587"/>
                </a:cubicBezTo>
                <a:cubicBezTo>
                  <a:pt x="1105" y="583"/>
                  <a:pt x="1102" y="580"/>
                  <a:pt x="1098" y="580"/>
                </a:cubicBezTo>
                <a:close/>
                <a:moveTo>
                  <a:pt x="1120" y="580"/>
                </a:moveTo>
                <a:cubicBezTo>
                  <a:pt x="1116" y="580"/>
                  <a:pt x="1113" y="583"/>
                  <a:pt x="1113" y="587"/>
                </a:cubicBezTo>
                <a:cubicBezTo>
                  <a:pt x="1113" y="590"/>
                  <a:pt x="1116" y="593"/>
                  <a:pt x="1120" y="593"/>
                </a:cubicBezTo>
                <a:cubicBezTo>
                  <a:pt x="1125" y="593"/>
                  <a:pt x="1128" y="590"/>
                  <a:pt x="1128" y="587"/>
                </a:cubicBezTo>
                <a:cubicBezTo>
                  <a:pt x="1128" y="583"/>
                  <a:pt x="1125" y="580"/>
                  <a:pt x="1120" y="580"/>
                </a:cubicBezTo>
                <a:close/>
                <a:moveTo>
                  <a:pt x="1143" y="484"/>
                </a:moveTo>
                <a:cubicBezTo>
                  <a:pt x="1138" y="484"/>
                  <a:pt x="1135" y="487"/>
                  <a:pt x="1135" y="490"/>
                </a:cubicBezTo>
                <a:cubicBezTo>
                  <a:pt x="1135" y="494"/>
                  <a:pt x="1138" y="497"/>
                  <a:pt x="1143" y="497"/>
                </a:cubicBezTo>
                <a:cubicBezTo>
                  <a:pt x="1147" y="497"/>
                  <a:pt x="1150" y="494"/>
                  <a:pt x="1150" y="490"/>
                </a:cubicBezTo>
                <a:cubicBezTo>
                  <a:pt x="1150" y="487"/>
                  <a:pt x="1147" y="484"/>
                  <a:pt x="1143" y="484"/>
                </a:cubicBezTo>
                <a:close/>
                <a:moveTo>
                  <a:pt x="1164" y="484"/>
                </a:moveTo>
                <a:cubicBezTo>
                  <a:pt x="1160" y="484"/>
                  <a:pt x="1157" y="487"/>
                  <a:pt x="1157" y="490"/>
                </a:cubicBezTo>
                <a:cubicBezTo>
                  <a:pt x="1157" y="494"/>
                  <a:pt x="1160" y="497"/>
                  <a:pt x="1164" y="497"/>
                </a:cubicBezTo>
                <a:cubicBezTo>
                  <a:pt x="1169" y="497"/>
                  <a:pt x="1172" y="494"/>
                  <a:pt x="1172" y="490"/>
                </a:cubicBezTo>
                <a:cubicBezTo>
                  <a:pt x="1172" y="487"/>
                  <a:pt x="1169" y="484"/>
                  <a:pt x="1164" y="484"/>
                </a:cubicBezTo>
                <a:close/>
                <a:moveTo>
                  <a:pt x="1143" y="503"/>
                </a:moveTo>
                <a:cubicBezTo>
                  <a:pt x="1138" y="503"/>
                  <a:pt x="1135" y="506"/>
                  <a:pt x="1135" y="509"/>
                </a:cubicBezTo>
                <a:cubicBezTo>
                  <a:pt x="1135" y="513"/>
                  <a:pt x="1138" y="516"/>
                  <a:pt x="1143" y="516"/>
                </a:cubicBezTo>
                <a:cubicBezTo>
                  <a:pt x="1147" y="516"/>
                  <a:pt x="1150" y="513"/>
                  <a:pt x="1150" y="509"/>
                </a:cubicBezTo>
                <a:cubicBezTo>
                  <a:pt x="1150" y="506"/>
                  <a:pt x="1147" y="503"/>
                  <a:pt x="1143" y="503"/>
                </a:cubicBezTo>
                <a:close/>
                <a:moveTo>
                  <a:pt x="1164" y="503"/>
                </a:moveTo>
                <a:cubicBezTo>
                  <a:pt x="1160" y="503"/>
                  <a:pt x="1157" y="506"/>
                  <a:pt x="1157" y="509"/>
                </a:cubicBezTo>
                <a:cubicBezTo>
                  <a:pt x="1157" y="513"/>
                  <a:pt x="1160" y="516"/>
                  <a:pt x="1164" y="516"/>
                </a:cubicBezTo>
                <a:cubicBezTo>
                  <a:pt x="1169" y="516"/>
                  <a:pt x="1172" y="513"/>
                  <a:pt x="1172" y="509"/>
                </a:cubicBezTo>
                <a:cubicBezTo>
                  <a:pt x="1172" y="506"/>
                  <a:pt x="1169" y="503"/>
                  <a:pt x="1164" y="503"/>
                </a:cubicBezTo>
                <a:close/>
                <a:moveTo>
                  <a:pt x="1143" y="522"/>
                </a:moveTo>
                <a:cubicBezTo>
                  <a:pt x="1138" y="522"/>
                  <a:pt x="1135" y="525"/>
                  <a:pt x="1135" y="529"/>
                </a:cubicBezTo>
                <a:cubicBezTo>
                  <a:pt x="1135" y="533"/>
                  <a:pt x="1138" y="536"/>
                  <a:pt x="1143" y="536"/>
                </a:cubicBezTo>
                <a:cubicBezTo>
                  <a:pt x="1147" y="536"/>
                  <a:pt x="1150" y="533"/>
                  <a:pt x="1150" y="529"/>
                </a:cubicBezTo>
                <a:cubicBezTo>
                  <a:pt x="1150" y="525"/>
                  <a:pt x="1147" y="522"/>
                  <a:pt x="1143" y="522"/>
                </a:cubicBezTo>
                <a:close/>
                <a:moveTo>
                  <a:pt x="1164" y="522"/>
                </a:moveTo>
                <a:cubicBezTo>
                  <a:pt x="1160" y="522"/>
                  <a:pt x="1157" y="525"/>
                  <a:pt x="1157" y="529"/>
                </a:cubicBezTo>
                <a:cubicBezTo>
                  <a:pt x="1157" y="533"/>
                  <a:pt x="1160" y="536"/>
                  <a:pt x="1164" y="536"/>
                </a:cubicBezTo>
                <a:cubicBezTo>
                  <a:pt x="1169" y="536"/>
                  <a:pt x="1172" y="533"/>
                  <a:pt x="1172" y="529"/>
                </a:cubicBezTo>
                <a:cubicBezTo>
                  <a:pt x="1172" y="525"/>
                  <a:pt x="1169" y="522"/>
                  <a:pt x="1164" y="522"/>
                </a:cubicBezTo>
                <a:close/>
                <a:moveTo>
                  <a:pt x="1143" y="542"/>
                </a:moveTo>
                <a:cubicBezTo>
                  <a:pt x="1138" y="542"/>
                  <a:pt x="1135" y="545"/>
                  <a:pt x="1135" y="549"/>
                </a:cubicBezTo>
                <a:cubicBezTo>
                  <a:pt x="1135" y="552"/>
                  <a:pt x="1138" y="556"/>
                  <a:pt x="1143" y="556"/>
                </a:cubicBezTo>
                <a:cubicBezTo>
                  <a:pt x="1147" y="556"/>
                  <a:pt x="1150" y="552"/>
                  <a:pt x="1150" y="549"/>
                </a:cubicBezTo>
                <a:cubicBezTo>
                  <a:pt x="1150" y="545"/>
                  <a:pt x="1147" y="542"/>
                  <a:pt x="1143" y="542"/>
                </a:cubicBezTo>
                <a:close/>
                <a:moveTo>
                  <a:pt x="1164" y="542"/>
                </a:moveTo>
                <a:cubicBezTo>
                  <a:pt x="1160" y="542"/>
                  <a:pt x="1157" y="545"/>
                  <a:pt x="1157" y="549"/>
                </a:cubicBezTo>
                <a:cubicBezTo>
                  <a:pt x="1157" y="552"/>
                  <a:pt x="1160" y="556"/>
                  <a:pt x="1164" y="556"/>
                </a:cubicBezTo>
                <a:cubicBezTo>
                  <a:pt x="1169" y="556"/>
                  <a:pt x="1172" y="552"/>
                  <a:pt x="1172" y="549"/>
                </a:cubicBezTo>
                <a:cubicBezTo>
                  <a:pt x="1172" y="545"/>
                  <a:pt x="1169" y="542"/>
                  <a:pt x="1164" y="542"/>
                </a:cubicBezTo>
                <a:close/>
                <a:moveTo>
                  <a:pt x="1143" y="561"/>
                </a:moveTo>
                <a:cubicBezTo>
                  <a:pt x="1138" y="561"/>
                  <a:pt x="1135" y="564"/>
                  <a:pt x="1135" y="567"/>
                </a:cubicBezTo>
                <a:cubicBezTo>
                  <a:pt x="1135" y="571"/>
                  <a:pt x="1138" y="574"/>
                  <a:pt x="1143" y="574"/>
                </a:cubicBezTo>
                <a:cubicBezTo>
                  <a:pt x="1147" y="574"/>
                  <a:pt x="1150" y="571"/>
                  <a:pt x="1150" y="567"/>
                </a:cubicBezTo>
                <a:cubicBezTo>
                  <a:pt x="1150" y="564"/>
                  <a:pt x="1147" y="561"/>
                  <a:pt x="1143" y="561"/>
                </a:cubicBezTo>
                <a:close/>
                <a:moveTo>
                  <a:pt x="1164" y="561"/>
                </a:moveTo>
                <a:cubicBezTo>
                  <a:pt x="1160" y="561"/>
                  <a:pt x="1157" y="564"/>
                  <a:pt x="1157" y="567"/>
                </a:cubicBezTo>
                <a:cubicBezTo>
                  <a:pt x="1157" y="571"/>
                  <a:pt x="1160" y="574"/>
                  <a:pt x="1164" y="574"/>
                </a:cubicBezTo>
                <a:cubicBezTo>
                  <a:pt x="1169" y="574"/>
                  <a:pt x="1172" y="571"/>
                  <a:pt x="1172" y="567"/>
                </a:cubicBezTo>
                <a:cubicBezTo>
                  <a:pt x="1172" y="564"/>
                  <a:pt x="1169" y="561"/>
                  <a:pt x="1164" y="561"/>
                </a:cubicBezTo>
                <a:close/>
                <a:moveTo>
                  <a:pt x="1143" y="580"/>
                </a:moveTo>
                <a:cubicBezTo>
                  <a:pt x="1138" y="580"/>
                  <a:pt x="1135" y="583"/>
                  <a:pt x="1135" y="587"/>
                </a:cubicBezTo>
                <a:cubicBezTo>
                  <a:pt x="1135" y="590"/>
                  <a:pt x="1138" y="593"/>
                  <a:pt x="1143" y="593"/>
                </a:cubicBezTo>
                <a:cubicBezTo>
                  <a:pt x="1147" y="593"/>
                  <a:pt x="1150" y="590"/>
                  <a:pt x="1150" y="587"/>
                </a:cubicBezTo>
                <a:cubicBezTo>
                  <a:pt x="1150" y="583"/>
                  <a:pt x="1147" y="580"/>
                  <a:pt x="1143" y="580"/>
                </a:cubicBezTo>
                <a:close/>
                <a:moveTo>
                  <a:pt x="1164" y="580"/>
                </a:moveTo>
                <a:cubicBezTo>
                  <a:pt x="1160" y="580"/>
                  <a:pt x="1157" y="583"/>
                  <a:pt x="1157" y="587"/>
                </a:cubicBezTo>
                <a:cubicBezTo>
                  <a:pt x="1157" y="590"/>
                  <a:pt x="1160" y="593"/>
                  <a:pt x="1164" y="593"/>
                </a:cubicBezTo>
                <a:cubicBezTo>
                  <a:pt x="1169" y="593"/>
                  <a:pt x="1172" y="590"/>
                  <a:pt x="1172" y="587"/>
                </a:cubicBezTo>
                <a:cubicBezTo>
                  <a:pt x="1172" y="583"/>
                  <a:pt x="1169" y="580"/>
                  <a:pt x="1164" y="580"/>
                </a:cubicBezTo>
                <a:close/>
                <a:moveTo>
                  <a:pt x="1186" y="484"/>
                </a:moveTo>
                <a:cubicBezTo>
                  <a:pt x="1182" y="484"/>
                  <a:pt x="1179" y="487"/>
                  <a:pt x="1179" y="490"/>
                </a:cubicBezTo>
                <a:cubicBezTo>
                  <a:pt x="1179" y="494"/>
                  <a:pt x="1182" y="497"/>
                  <a:pt x="1186" y="497"/>
                </a:cubicBezTo>
                <a:cubicBezTo>
                  <a:pt x="1191" y="497"/>
                  <a:pt x="1194" y="494"/>
                  <a:pt x="1194" y="490"/>
                </a:cubicBezTo>
                <a:cubicBezTo>
                  <a:pt x="1194" y="487"/>
                  <a:pt x="1191" y="484"/>
                  <a:pt x="1186" y="484"/>
                </a:cubicBezTo>
                <a:close/>
                <a:moveTo>
                  <a:pt x="1186" y="503"/>
                </a:moveTo>
                <a:cubicBezTo>
                  <a:pt x="1182" y="503"/>
                  <a:pt x="1179" y="506"/>
                  <a:pt x="1179" y="509"/>
                </a:cubicBezTo>
                <a:cubicBezTo>
                  <a:pt x="1179" y="513"/>
                  <a:pt x="1182" y="516"/>
                  <a:pt x="1186" y="516"/>
                </a:cubicBezTo>
                <a:cubicBezTo>
                  <a:pt x="1191" y="516"/>
                  <a:pt x="1194" y="513"/>
                  <a:pt x="1194" y="509"/>
                </a:cubicBezTo>
                <a:cubicBezTo>
                  <a:pt x="1194" y="506"/>
                  <a:pt x="1191" y="503"/>
                  <a:pt x="1186" y="503"/>
                </a:cubicBezTo>
                <a:close/>
                <a:moveTo>
                  <a:pt x="1208" y="503"/>
                </a:moveTo>
                <a:cubicBezTo>
                  <a:pt x="1204" y="503"/>
                  <a:pt x="1201" y="506"/>
                  <a:pt x="1201" y="509"/>
                </a:cubicBezTo>
                <a:cubicBezTo>
                  <a:pt x="1201" y="513"/>
                  <a:pt x="1204" y="516"/>
                  <a:pt x="1208" y="516"/>
                </a:cubicBezTo>
                <a:cubicBezTo>
                  <a:pt x="1213" y="516"/>
                  <a:pt x="1216" y="513"/>
                  <a:pt x="1216" y="509"/>
                </a:cubicBezTo>
                <a:cubicBezTo>
                  <a:pt x="1216" y="506"/>
                  <a:pt x="1213" y="503"/>
                  <a:pt x="1208" y="503"/>
                </a:cubicBezTo>
                <a:close/>
                <a:moveTo>
                  <a:pt x="1186" y="522"/>
                </a:moveTo>
                <a:cubicBezTo>
                  <a:pt x="1182" y="522"/>
                  <a:pt x="1179" y="525"/>
                  <a:pt x="1179" y="529"/>
                </a:cubicBezTo>
                <a:cubicBezTo>
                  <a:pt x="1179" y="533"/>
                  <a:pt x="1182" y="536"/>
                  <a:pt x="1186" y="536"/>
                </a:cubicBezTo>
                <a:cubicBezTo>
                  <a:pt x="1191" y="536"/>
                  <a:pt x="1194" y="533"/>
                  <a:pt x="1194" y="529"/>
                </a:cubicBezTo>
                <a:cubicBezTo>
                  <a:pt x="1194" y="525"/>
                  <a:pt x="1191" y="522"/>
                  <a:pt x="1186" y="522"/>
                </a:cubicBezTo>
                <a:close/>
                <a:moveTo>
                  <a:pt x="1208" y="522"/>
                </a:moveTo>
                <a:cubicBezTo>
                  <a:pt x="1204" y="522"/>
                  <a:pt x="1201" y="525"/>
                  <a:pt x="1201" y="529"/>
                </a:cubicBezTo>
                <a:cubicBezTo>
                  <a:pt x="1201" y="533"/>
                  <a:pt x="1204" y="536"/>
                  <a:pt x="1208" y="536"/>
                </a:cubicBezTo>
                <a:cubicBezTo>
                  <a:pt x="1213" y="536"/>
                  <a:pt x="1216" y="533"/>
                  <a:pt x="1216" y="529"/>
                </a:cubicBezTo>
                <a:cubicBezTo>
                  <a:pt x="1216" y="525"/>
                  <a:pt x="1213" y="522"/>
                  <a:pt x="1208" y="522"/>
                </a:cubicBezTo>
                <a:close/>
                <a:moveTo>
                  <a:pt x="1186" y="542"/>
                </a:moveTo>
                <a:cubicBezTo>
                  <a:pt x="1182" y="542"/>
                  <a:pt x="1179" y="545"/>
                  <a:pt x="1179" y="549"/>
                </a:cubicBezTo>
                <a:cubicBezTo>
                  <a:pt x="1179" y="552"/>
                  <a:pt x="1182" y="556"/>
                  <a:pt x="1186" y="556"/>
                </a:cubicBezTo>
                <a:cubicBezTo>
                  <a:pt x="1191" y="556"/>
                  <a:pt x="1194" y="552"/>
                  <a:pt x="1194" y="549"/>
                </a:cubicBezTo>
                <a:cubicBezTo>
                  <a:pt x="1194" y="545"/>
                  <a:pt x="1191" y="542"/>
                  <a:pt x="1186" y="542"/>
                </a:cubicBezTo>
                <a:close/>
                <a:moveTo>
                  <a:pt x="1208" y="542"/>
                </a:moveTo>
                <a:cubicBezTo>
                  <a:pt x="1204" y="542"/>
                  <a:pt x="1201" y="545"/>
                  <a:pt x="1201" y="549"/>
                </a:cubicBezTo>
                <a:cubicBezTo>
                  <a:pt x="1201" y="552"/>
                  <a:pt x="1204" y="556"/>
                  <a:pt x="1208" y="556"/>
                </a:cubicBezTo>
                <a:cubicBezTo>
                  <a:pt x="1213" y="556"/>
                  <a:pt x="1216" y="552"/>
                  <a:pt x="1216" y="549"/>
                </a:cubicBezTo>
                <a:cubicBezTo>
                  <a:pt x="1216" y="545"/>
                  <a:pt x="1213" y="542"/>
                  <a:pt x="1208" y="542"/>
                </a:cubicBezTo>
                <a:close/>
                <a:moveTo>
                  <a:pt x="1186" y="561"/>
                </a:moveTo>
                <a:cubicBezTo>
                  <a:pt x="1182" y="561"/>
                  <a:pt x="1179" y="564"/>
                  <a:pt x="1179" y="567"/>
                </a:cubicBezTo>
                <a:cubicBezTo>
                  <a:pt x="1179" y="571"/>
                  <a:pt x="1182" y="574"/>
                  <a:pt x="1186" y="574"/>
                </a:cubicBezTo>
                <a:cubicBezTo>
                  <a:pt x="1191" y="574"/>
                  <a:pt x="1194" y="571"/>
                  <a:pt x="1194" y="567"/>
                </a:cubicBezTo>
                <a:cubicBezTo>
                  <a:pt x="1194" y="564"/>
                  <a:pt x="1191" y="561"/>
                  <a:pt x="1186" y="561"/>
                </a:cubicBezTo>
                <a:close/>
                <a:moveTo>
                  <a:pt x="1208" y="561"/>
                </a:moveTo>
                <a:cubicBezTo>
                  <a:pt x="1204" y="561"/>
                  <a:pt x="1201" y="564"/>
                  <a:pt x="1201" y="567"/>
                </a:cubicBezTo>
                <a:cubicBezTo>
                  <a:pt x="1201" y="571"/>
                  <a:pt x="1204" y="574"/>
                  <a:pt x="1208" y="574"/>
                </a:cubicBezTo>
                <a:cubicBezTo>
                  <a:pt x="1213" y="574"/>
                  <a:pt x="1216" y="571"/>
                  <a:pt x="1216" y="567"/>
                </a:cubicBezTo>
                <a:cubicBezTo>
                  <a:pt x="1216" y="564"/>
                  <a:pt x="1213" y="561"/>
                  <a:pt x="1208" y="561"/>
                </a:cubicBezTo>
                <a:close/>
                <a:moveTo>
                  <a:pt x="1186" y="580"/>
                </a:moveTo>
                <a:cubicBezTo>
                  <a:pt x="1182" y="580"/>
                  <a:pt x="1179" y="583"/>
                  <a:pt x="1179" y="587"/>
                </a:cubicBezTo>
                <a:cubicBezTo>
                  <a:pt x="1179" y="590"/>
                  <a:pt x="1182" y="593"/>
                  <a:pt x="1186" y="593"/>
                </a:cubicBezTo>
                <a:cubicBezTo>
                  <a:pt x="1191" y="593"/>
                  <a:pt x="1194" y="590"/>
                  <a:pt x="1194" y="587"/>
                </a:cubicBezTo>
                <a:cubicBezTo>
                  <a:pt x="1194" y="583"/>
                  <a:pt x="1191" y="580"/>
                  <a:pt x="1186" y="580"/>
                </a:cubicBezTo>
                <a:close/>
                <a:moveTo>
                  <a:pt x="1208" y="580"/>
                </a:moveTo>
                <a:cubicBezTo>
                  <a:pt x="1204" y="580"/>
                  <a:pt x="1201" y="583"/>
                  <a:pt x="1201" y="587"/>
                </a:cubicBezTo>
                <a:cubicBezTo>
                  <a:pt x="1201" y="590"/>
                  <a:pt x="1204" y="593"/>
                  <a:pt x="1208" y="593"/>
                </a:cubicBezTo>
                <a:cubicBezTo>
                  <a:pt x="1213" y="593"/>
                  <a:pt x="1216" y="590"/>
                  <a:pt x="1216" y="587"/>
                </a:cubicBezTo>
                <a:cubicBezTo>
                  <a:pt x="1216" y="583"/>
                  <a:pt x="1213" y="580"/>
                  <a:pt x="1208" y="580"/>
                </a:cubicBezTo>
                <a:close/>
                <a:moveTo>
                  <a:pt x="1255" y="175"/>
                </a:moveTo>
                <a:cubicBezTo>
                  <a:pt x="1251" y="175"/>
                  <a:pt x="1247" y="178"/>
                  <a:pt x="1247" y="182"/>
                </a:cubicBezTo>
                <a:cubicBezTo>
                  <a:pt x="1247" y="185"/>
                  <a:pt x="1251" y="188"/>
                  <a:pt x="1255" y="188"/>
                </a:cubicBezTo>
                <a:cubicBezTo>
                  <a:pt x="1259" y="188"/>
                  <a:pt x="1263" y="185"/>
                  <a:pt x="1263" y="182"/>
                </a:cubicBezTo>
                <a:cubicBezTo>
                  <a:pt x="1263" y="178"/>
                  <a:pt x="1259" y="175"/>
                  <a:pt x="1255" y="175"/>
                </a:cubicBezTo>
                <a:close/>
                <a:moveTo>
                  <a:pt x="1233" y="194"/>
                </a:moveTo>
                <a:cubicBezTo>
                  <a:pt x="1229" y="194"/>
                  <a:pt x="1226" y="197"/>
                  <a:pt x="1226" y="201"/>
                </a:cubicBezTo>
                <a:cubicBezTo>
                  <a:pt x="1226" y="205"/>
                  <a:pt x="1229" y="208"/>
                  <a:pt x="1233" y="208"/>
                </a:cubicBezTo>
                <a:cubicBezTo>
                  <a:pt x="1237" y="208"/>
                  <a:pt x="1240" y="205"/>
                  <a:pt x="1240" y="201"/>
                </a:cubicBezTo>
                <a:cubicBezTo>
                  <a:pt x="1240" y="197"/>
                  <a:pt x="1237" y="194"/>
                  <a:pt x="1233" y="194"/>
                </a:cubicBezTo>
                <a:close/>
                <a:moveTo>
                  <a:pt x="1255" y="194"/>
                </a:moveTo>
                <a:cubicBezTo>
                  <a:pt x="1251" y="194"/>
                  <a:pt x="1247" y="197"/>
                  <a:pt x="1247" y="201"/>
                </a:cubicBezTo>
                <a:cubicBezTo>
                  <a:pt x="1247" y="205"/>
                  <a:pt x="1251" y="208"/>
                  <a:pt x="1255" y="208"/>
                </a:cubicBezTo>
                <a:cubicBezTo>
                  <a:pt x="1259" y="208"/>
                  <a:pt x="1263" y="205"/>
                  <a:pt x="1263" y="201"/>
                </a:cubicBezTo>
                <a:cubicBezTo>
                  <a:pt x="1263" y="197"/>
                  <a:pt x="1259" y="194"/>
                  <a:pt x="1255" y="194"/>
                </a:cubicBezTo>
                <a:close/>
                <a:moveTo>
                  <a:pt x="1233" y="214"/>
                </a:moveTo>
                <a:cubicBezTo>
                  <a:pt x="1229" y="214"/>
                  <a:pt x="1226" y="217"/>
                  <a:pt x="1226" y="220"/>
                </a:cubicBezTo>
                <a:cubicBezTo>
                  <a:pt x="1226" y="224"/>
                  <a:pt x="1229" y="227"/>
                  <a:pt x="1233" y="227"/>
                </a:cubicBezTo>
                <a:cubicBezTo>
                  <a:pt x="1237" y="227"/>
                  <a:pt x="1240" y="224"/>
                  <a:pt x="1240" y="220"/>
                </a:cubicBezTo>
                <a:cubicBezTo>
                  <a:pt x="1240" y="217"/>
                  <a:pt x="1237" y="214"/>
                  <a:pt x="1233" y="214"/>
                </a:cubicBezTo>
                <a:close/>
                <a:moveTo>
                  <a:pt x="1255" y="214"/>
                </a:moveTo>
                <a:cubicBezTo>
                  <a:pt x="1251" y="214"/>
                  <a:pt x="1247" y="217"/>
                  <a:pt x="1247" y="220"/>
                </a:cubicBezTo>
                <a:cubicBezTo>
                  <a:pt x="1247" y="224"/>
                  <a:pt x="1251" y="227"/>
                  <a:pt x="1255" y="227"/>
                </a:cubicBezTo>
                <a:cubicBezTo>
                  <a:pt x="1259" y="227"/>
                  <a:pt x="1263" y="224"/>
                  <a:pt x="1263" y="220"/>
                </a:cubicBezTo>
                <a:cubicBezTo>
                  <a:pt x="1263" y="217"/>
                  <a:pt x="1259" y="214"/>
                  <a:pt x="1255" y="214"/>
                </a:cubicBezTo>
                <a:close/>
                <a:moveTo>
                  <a:pt x="1232" y="233"/>
                </a:moveTo>
                <a:cubicBezTo>
                  <a:pt x="1228" y="233"/>
                  <a:pt x="1224" y="236"/>
                  <a:pt x="1224" y="239"/>
                </a:cubicBezTo>
                <a:cubicBezTo>
                  <a:pt x="1224" y="243"/>
                  <a:pt x="1228" y="245"/>
                  <a:pt x="1232" y="245"/>
                </a:cubicBezTo>
                <a:cubicBezTo>
                  <a:pt x="1236" y="245"/>
                  <a:pt x="1240" y="243"/>
                  <a:pt x="1240" y="239"/>
                </a:cubicBezTo>
                <a:cubicBezTo>
                  <a:pt x="1240" y="236"/>
                  <a:pt x="1236" y="233"/>
                  <a:pt x="1232" y="233"/>
                </a:cubicBezTo>
                <a:close/>
                <a:moveTo>
                  <a:pt x="1255" y="233"/>
                </a:moveTo>
                <a:cubicBezTo>
                  <a:pt x="1251" y="233"/>
                  <a:pt x="1247" y="236"/>
                  <a:pt x="1247" y="239"/>
                </a:cubicBezTo>
                <a:cubicBezTo>
                  <a:pt x="1247" y="243"/>
                  <a:pt x="1251" y="245"/>
                  <a:pt x="1255" y="245"/>
                </a:cubicBezTo>
                <a:cubicBezTo>
                  <a:pt x="1259" y="245"/>
                  <a:pt x="1263" y="243"/>
                  <a:pt x="1263" y="239"/>
                </a:cubicBezTo>
                <a:cubicBezTo>
                  <a:pt x="1263" y="236"/>
                  <a:pt x="1259" y="233"/>
                  <a:pt x="1255" y="233"/>
                </a:cubicBezTo>
                <a:close/>
                <a:moveTo>
                  <a:pt x="1232" y="252"/>
                </a:moveTo>
                <a:cubicBezTo>
                  <a:pt x="1228" y="252"/>
                  <a:pt x="1224" y="255"/>
                  <a:pt x="1224" y="258"/>
                </a:cubicBezTo>
                <a:cubicBezTo>
                  <a:pt x="1224" y="262"/>
                  <a:pt x="1228" y="265"/>
                  <a:pt x="1232" y="265"/>
                </a:cubicBezTo>
                <a:cubicBezTo>
                  <a:pt x="1236" y="265"/>
                  <a:pt x="1240" y="262"/>
                  <a:pt x="1240" y="258"/>
                </a:cubicBezTo>
                <a:cubicBezTo>
                  <a:pt x="1240" y="255"/>
                  <a:pt x="1236" y="252"/>
                  <a:pt x="1232" y="252"/>
                </a:cubicBezTo>
                <a:close/>
                <a:moveTo>
                  <a:pt x="1232" y="271"/>
                </a:moveTo>
                <a:cubicBezTo>
                  <a:pt x="1228" y="271"/>
                  <a:pt x="1224" y="274"/>
                  <a:pt x="1224" y="278"/>
                </a:cubicBezTo>
                <a:cubicBezTo>
                  <a:pt x="1224" y="282"/>
                  <a:pt x="1228" y="285"/>
                  <a:pt x="1232" y="285"/>
                </a:cubicBezTo>
                <a:cubicBezTo>
                  <a:pt x="1236" y="285"/>
                  <a:pt x="1240" y="282"/>
                  <a:pt x="1240" y="278"/>
                </a:cubicBezTo>
                <a:cubicBezTo>
                  <a:pt x="1240" y="274"/>
                  <a:pt x="1236" y="271"/>
                  <a:pt x="1232" y="271"/>
                </a:cubicBezTo>
                <a:close/>
                <a:moveTo>
                  <a:pt x="1255" y="271"/>
                </a:moveTo>
                <a:cubicBezTo>
                  <a:pt x="1251" y="271"/>
                  <a:pt x="1247" y="274"/>
                  <a:pt x="1247" y="278"/>
                </a:cubicBezTo>
                <a:cubicBezTo>
                  <a:pt x="1247" y="282"/>
                  <a:pt x="1251" y="285"/>
                  <a:pt x="1255" y="285"/>
                </a:cubicBezTo>
                <a:cubicBezTo>
                  <a:pt x="1259" y="285"/>
                  <a:pt x="1263" y="282"/>
                  <a:pt x="1263" y="278"/>
                </a:cubicBezTo>
                <a:cubicBezTo>
                  <a:pt x="1263" y="274"/>
                  <a:pt x="1259" y="271"/>
                  <a:pt x="1255" y="271"/>
                </a:cubicBezTo>
                <a:close/>
                <a:moveTo>
                  <a:pt x="1277" y="155"/>
                </a:moveTo>
                <a:cubicBezTo>
                  <a:pt x="1273" y="155"/>
                  <a:pt x="1269" y="158"/>
                  <a:pt x="1269" y="162"/>
                </a:cubicBezTo>
                <a:cubicBezTo>
                  <a:pt x="1269" y="166"/>
                  <a:pt x="1273" y="169"/>
                  <a:pt x="1277" y="169"/>
                </a:cubicBezTo>
                <a:cubicBezTo>
                  <a:pt x="1281" y="169"/>
                  <a:pt x="1285" y="166"/>
                  <a:pt x="1285" y="162"/>
                </a:cubicBezTo>
                <a:cubicBezTo>
                  <a:pt x="1285" y="158"/>
                  <a:pt x="1281" y="155"/>
                  <a:pt x="1277" y="155"/>
                </a:cubicBezTo>
                <a:close/>
                <a:moveTo>
                  <a:pt x="1299" y="155"/>
                </a:moveTo>
                <a:cubicBezTo>
                  <a:pt x="1295" y="155"/>
                  <a:pt x="1291" y="158"/>
                  <a:pt x="1291" y="162"/>
                </a:cubicBezTo>
                <a:cubicBezTo>
                  <a:pt x="1291" y="166"/>
                  <a:pt x="1295" y="169"/>
                  <a:pt x="1299" y="169"/>
                </a:cubicBezTo>
                <a:cubicBezTo>
                  <a:pt x="1303" y="169"/>
                  <a:pt x="1307" y="166"/>
                  <a:pt x="1307" y="162"/>
                </a:cubicBezTo>
                <a:cubicBezTo>
                  <a:pt x="1307" y="158"/>
                  <a:pt x="1303" y="155"/>
                  <a:pt x="1299" y="155"/>
                </a:cubicBezTo>
                <a:close/>
                <a:moveTo>
                  <a:pt x="1277" y="175"/>
                </a:moveTo>
                <a:cubicBezTo>
                  <a:pt x="1273" y="175"/>
                  <a:pt x="1269" y="178"/>
                  <a:pt x="1269" y="182"/>
                </a:cubicBezTo>
                <a:cubicBezTo>
                  <a:pt x="1269" y="185"/>
                  <a:pt x="1273" y="188"/>
                  <a:pt x="1277" y="188"/>
                </a:cubicBezTo>
                <a:cubicBezTo>
                  <a:pt x="1281" y="188"/>
                  <a:pt x="1285" y="185"/>
                  <a:pt x="1285" y="182"/>
                </a:cubicBezTo>
                <a:cubicBezTo>
                  <a:pt x="1285" y="178"/>
                  <a:pt x="1281" y="175"/>
                  <a:pt x="1277" y="175"/>
                </a:cubicBezTo>
                <a:close/>
                <a:moveTo>
                  <a:pt x="1299" y="175"/>
                </a:moveTo>
                <a:cubicBezTo>
                  <a:pt x="1295" y="175"/>
                  <a:pt x="1291" y="178"/>
                  <a:pt x="1291" y="182"/>
                </a:cubicBezTo>
                <a:cubicBezTo>
                  <a:pt x="1291" y="185"/>
                  <a:pt x="1295" y="188"/>
                  <a:pt x="1299" y="188"/>
                </a:cubicBezTo>
                <a:cubicBezTo>
                  <a:pt x="1303" y="188"/>
                  <a:pt x="1307" y="185"/>
                  <a:pt x="1307" y="182"/>
                </a:cubicBezTo>
                <a:cubicBezTo>
                  <a:pt x="1307" y="178"/>
                  <a:pt x="1303" y="175"/>
                  <a:pt x="1299" y="175"/>
                </a:cubicBezTo>
                <a:close/>
                <a:moveTo>
                  <a:pt x="1277" y="194"/>
                </a:moveTo>
                <a:cubicBezTo>
                  <a:pt x="1273" y="194"/>
                  <a:pt x="1269" y="197"/>
                  <a:pt x="1269" y="201"/>
                </a:cubicBezTo>
                <a:cubicBezTo>
                  <a:pt x="1269" y="205"/>
                  <a:pt x="1273" y="208"/>
                  <a:pt x="1277" y="208"/>
                </a:cubicBezTo>
                <a:cubicBezTo>
                  <a:pt x="1281" y="208"/>
                  <a:pt x="1285" y="205"/>
                  <a:pt x="1285" y="201"/>
                </a:cubicBezTo>
                <a:cubicBezTo>
                  <a:pt x="1285" y="197"/>
                  <a:pt x="1281" y="194"/>
                  <a:pt x="1277" y="194"/>
                </a:cubicBezTo>
                <a:close/>
                <a:moveTo>
                  <a:pt x="1299" y="194"/>
                </a:moveTo>
                <a:cubicBezTo>
                  <a:pt x="1295" y="194"/>
                  <a:pt x="1291" y="197"/>
                  <a:pt x="1291" y="201"/>
                </a:cubicBezTo>
                <a:cubicBezTo>
                  <a:pt x="1291" y="205"/>
                  <a:pt x="1295" y="208"/>
                  <a:pt x="1299" y="208"/>
                </a:cubicBezTo>
                <a:cubicBezTo>
                  <a:pt x="1303" y="208"/>
                  <a:pt x="1307" y="205"/>
                  <a:pt x="1307" y="201"/>
                </a:cubicBezTo>
                <a:cubicBezTo>
                  <a:pt x="1307" y="197"/>
                  <a:pt x="1303" y="194"/>
                  <a:pt x="1299" y="194"/>
                </a:cubicBezTo>
                <a:close/>
                <a:moveTo>
                  <a:pt x="1299" y="214"/>
                </a:moveTo>
                <a:cubicBezTo>
                  <a:pt x="1295" y="214"/>
                  <a:pt x="1291" y="217"/>
                  <a:pt x="1291" y="220"/>
                </a:cubicBezTo>
                <a:cubicBezTo>
                  <a:pt x="1291" y="224"/>
                  <a:pt x="1295" y="227"/>
                  <a:pt x="1299" y="227"/>
                </a:cubicBezTo>
                <a:cubicBezTo>
                  <a:pt x="1303" y="227"/>
                  <a:pt x="1307" y="224"/>
                  <a:pt x="1307" y="220"/>
                </a:cubicBezTo>
                <a:cubicBezTo>
                  <a:pt x="1307" y="217"/>
                  <a:pt x="1303" y="214"/>
                  <a:pt x="1299" y="214"/>
                </a:cubicBezTo>
                <a:close/>
                <a:moveTo>
                  <a:pt x="1299" y="233"/>
                </a:moveTo>
                <a:cubicBezTo>
                  <a:pt x="1295" y="233"/>
                  <a:pt x="1291" y="236"/>
                  <a:pt x="1291" y="239"/>
                </a:cubicBezTo>
                <a:cubicBezTo>
                  <a:pt x="1291" y="243"/>
                  <a:pt x="1295" y="245"/>
                  <a:pt x="1299" y="245"/>
                </a:cubicBezTo>
                <a:cubicBezTo>
                  <a:pt x="1303" y="245"/>
                  <a:pt x="1307" y="243"/>
                  <a:pt x="1307" y="239"/>
                </a:cubicBezTo>
                <a:cubicBezTo>
                  <a:pt x="1307" y="236"/>
                  <a:pt x="1303" y="233"/>
                  <a:pt x="1299" y="233"/>
                </a:cubicBezTo>
                <a:close/>
                <a:moveTo>
                  <a:pt x="1299" y="252"/>
                </a:moveTo>
                <a:cubicBezTo>
                  <a:pt x="1295" y="252"/>
                  <a:pt x="1291" y="255"/>
                  <a:pt x="1291" y="258"/>
                </a:cubicBezTo>
                <a:cubicBezTo>
                  <a:pt x="1291" y="262"/>
                  <a:pt x="1295" y="265"/>
                  <a:pt x="1299" y="265"/>
                </a:cubicBezTo>
                <a:cubicBezTo>
                  <a:pt x="1303" y="265"/>
                  <a:pt x="1307" y="262"/>
                  <a:pt x="1307" y="258"/>
                </a:cubicBezTo>
                <a:cubicBezTo>
                  <a:pt x="1307" y="255"/>
                  <a:pt x="1303" y="252"/>
                  <a:pt x="1299" y="252"/>
                </a:cubicBezTo>
                <a:close/>
                <a:moveTo>
                  <a:pt x="1299" y="271"/>
                </a:moveTo>
                <a:cubicBezTo>
                  <a:pt x="1295" y="271"/>
                  <a:pt x="1291" y="274"/>
                  <a:pt x="1291" y="278"/>
                </a:cubicBezTo>
                <a:cubicBezTo>
                  <a:pt x="1291" y="282"/>
                  <a:pt x="1295" y="285"/>
                  <a:pt x="1299" y="285"/>
                </a:cubicBezTo>
                <a:cubicBezTo>
                  <a:pt x="1303" y="285"/>
                  <a:pt x="1307" y="282"/>
                  <a:pt x="1307" y="278"/>
                </a:cubicBezTo>
                <a:cubicBezTo>
                  <a:pt x="1307" y="274"/>
                  <a:pt x="1303" y="271"/>
                  <a:pt x="1299" y="271"/>
                </a:cubicBezTo>
                <a:close/>
                <a:moveTo>
                  <a:pt x="1321" y="155"/>
                </a:moveTo>
                <a:cubicBezTo>
                  <a:pt x="1317" y="155"/>
                  <a:pt x="1313" y="158"/>
                  <a:pt x="1313" y="162"/>
                </a:cubicBezTo>
                <a:cubicBezTo>
                  <a:pt x="1313" y="166"/>
                  <a:pt x="1317" y="169"/>
                  <a:pt x="1321" y="169"/>
                </a:cubicBezTo>
                <a:cubicBezTo>
                  <a:pt x="1325" y="169"/>
                  <a:pt x="1328" y="166"/>
                  <a:pt x="1328" y="162"/>
                </a:cubicBezTo>
                <a:cubicBezTo>
                  <a:pt x="1328" y="158"/>
                  <a:pt x="1325" y="155"/>
                  <a:pt x="1321" y="155"/>
                </a:cubicBezTo>
                <a:close/>
                <a:moveTo>
                  <a:pt x="1344" y="155"/>
                </a:moveTo>
                <a:cubicBezTo>
                  <a:pt x="1339" y="155"/>
                  <a:pt x="1336" y="158"/>
                  <a:pt x="1336" y="162"/>
                </a:cubicBezTo>
                <a:cubicBezTo>
                  <a:pt x="1336" y="166"/>
                  <a:pt x="1339" y="169"/>
                  <a:pt x="1344" y="169"/>
                </a:cubicBezTo>
                <a:cubicBezTo>
                  <a:pt x="1348" y="169"/>
                  <a:pt x="1351" y="166"/>
                  <a:pt x="1351" y="162"/>
                </a:cubicBezTo>
                <a:cubicBezTo>
                  <a:pt x="1351" y="158"/>
                  <a:pt x="1348" y="155"/>
                  <a:pt x="1344" y="155"/>
                </a:cubicBezTo>
                <a:close/>
                <a:moveTo>
                  <a:pt x="1321" y="175"/>
                </a:moveTo>
                <a:cubicBezTo>
                  <a:pt x="1317" y="175"/>
                  <a:pt x="1313" y="178"/>
                  <a:pt x="1313" y="182"/>
                </a:cubicBezTo>
                <a:cubicBezTo>
                  <a:pt x="1313" y="185"/>
                  <a:pt x="1317" y="188"/>
                  <a:pt x="1321" y="188"/>
                </a:cubicBezTo>
                <a:cubicBezTo>
                  <a:pt x="1325" y="188"/>
                  <a:pt x="1328" y="185"/>
                  <a:pt x="1328" y="182"/>
                </a:cubicBezTo>
                <a:cubicBezTo>
                  <a:pt x="1328" y="178"/>
                  <a:pt x="1325" y="175"/>
                  <a:pt x="1321" y="175"/>
                </a:cubicBezTo>
                <a:close/>
                <a:moveTo>
                  <a:pt x="1344" y="175"/>
                </a:moveTo>
                <a:cubicBezTo>
                  <a:pt x="1339" y="175"/>
                  <a:pt x="1336" y="178"/>
                  <a:pt x="1336" y="182"/>
                </a:cubicBezTo>
                <a:cubicBezTo>
                  <a:pt x="1336" y="185"/>
                  <a:pt x="1339" y="188"/>
                  <a:pt x="1344" y="188"/>
                </a:cubicBezTo>
                <a:cubicBezTo>
                  <a:pt x="1348" y="188"/>
                  <a:pt x="1351" y="185"/>
                  <a:pt x="1351" y="182"/>
                </a:cubicBezTo>
                <a:cubicBezTo>
                  <a:pt x="1351" y="178"/>
                  <a:pt x="1348" y="175"/>
                  <a:pt x="1344" y="175"/>
                </a:cubicBezTo>
                <a:close/>
                <a:moveTo>
                  <a:pt x="1321" y="194"/>
                </a:moveTo>
                <a:cubicBezTo>
                  <a:pt x="1317" y="194"/>
                  <a:pt x="1313" y="197"/>
                  <a:pt x="1313" y="201"/>
                </a:cubicBezTo>
                <a:cubicBezTo>
                  <a:pt x="1313" y="205"/>
                  <a:pt x="1317" y="208"/>
                  <a:pt x="1321" y="208"/>
                </a:cubicBezTo>
                <a:cubicBezTo>
                  <a:pt x="1325" y="208"/>
                  <a:pt x="1328" y="205"/>
                  <a:pt x="1328" y="201"/>
                </a:cubicBezTo>
                <a:cubicBezTo>
                  <a:pt x="1328" y="197"/>
                  <a:pt x="1325" y="194"/>
                  <a:pt x="1321" y="194"/>
                </a:cubicBezTo>
                <a:close/>
                <a:moveTo>
                  <a:pt x="1344" y="194"/>
                </a:moveTo>
                <a:cubicBezTo>
                  <a:pt x="1339" y="194"/>
                  <a:pt x="1336" y="197"/>
                  <a:pt x="1336" y="201"/>
                </a:cubicBezTo>
                <a:cubicBezTo>
                  <a:pt x="1336" y="205"/>
                  <a:pt x="1339" y="208"/>
                  <a:pt x="1344" y="208"/>
                </a:cubicBezTo>
                <a:cubicBezTo>
                  <a:pt x="1348" y="208"/>
                  <a:pt x="1351" y="205"/>
                  <a:pt x="1351" y="201"/>
                </a:cubicBezTo>
                <a:cubicBezTo>
                  <a:pt x="1351" y="197"/>
                  <a:pt x="1348" y="194"/>
                  <a:pt x="1344" y="194"/>
                </a:cubicBezTo>
                <a:close/>
                <a:moveTo>
                  <a:pt x="1321" y="214"/>
                </a:moveTo>
                <a:cubicBezTo>
                  <a:pt x="1317" y="214"/>
                  <a:pt x="1313" y="217"/>
                  <a:pt x="1313" y="220"/>
                </a:cubicBezTo>
                <a:cubicBezTo>
                  <a:pt x="1313" y="224"/>
                  <a:pt x="1317" y="227"/>
                  <a:pt x="1321" y="227"/>
                </a:cubicBezTo>
                <a:cubicBezTo>
                  <a:pt x="1325" y="227"/>
                  <a:pt x="1328" y="224"/>
                  <a:pt x="1328" y="220"/>
                </a:cubicBezTo>
                <a:cubicBezTo>
                  <a:pt x="1328" y="217"/>
                  <a:pt x="1325" y="214"/>
                  <a:pt x="1321" y="214"/>
                </a:cubicBezTo>
                <a:close/>
                <a:moveTo>
                  <a:pt x="1344" y="214"/>
                </a:moveTo>
                <a:cubicBezTo>
                  <a:pt x="1339" y="214"/>
                  <a:pt x="1336" y="217"/>
                  <a:pt x="1336" y="220"/>
                </a:cubicBezTo>
                <a:cubicBezTo>
                  <a:pt x="1336" y="224"/>
                  <a:pt x="1339" y="227"/>
                  <a:pt x="1344" y="227"/>
                </a:cubicBezTo>
                <a:cubicBezTo>
                  <a:pt x="1348" y="227"/>
                  <a:pt x="1351" y="224"/>
                  <a:pt x="1351" y="220"/>
                </a:cubicBezTo>
                <a:cubicBezTo>
                  <a:pt x="1351" y="217"/>
                  <a:pt x="1348" y="214"/>
                  <a:pt x="1344" y="214"/>
                </a:cubicBezTo>
                <a:close/>
                <a:moveTo>
                  <a:pt x="1321" y="233"/>
                </a:moveTo>
                <a:cubicBezTo>
                  <a:pt x="1317" y="233"/>
                  <a:pt x="1313" y="236"/>
                  <a:pt x="1313" y="239"/>
                </a:cubicBezTo>
                <a:cubicBezTo>
                  <a:pt x="1313" y="243"/>
                  <a:pt x="1317" y="245"/>
                  <a:pt x="1321" y="245"/>
                </a:cubicBezTo>
                <a:cubicBezTo>
                  <a:pt x="1325" y="245"/>
                  <a:pt x="1328" y="243"/>
                  <a:pt x="1328" y="239"/>
                </a:cubicBezTo>
                <a:cubicBezTo>
                  <a:pt x="1328" y="236"/>
                  <a:pt x="1325" y="233"/>
                  <a:pt x="1321" y="233"/>
                </a:cubicBezTo>
                <a:close/>
                <a:moveTo>
                  <a:pt x="1344" y="233"/>
                </a:moveTo>
                <a:cubicBezTo>
                  <a:pt x="1339" y="233"/>
                  <a:pt x="1336" y="236"/>
                  <a:pt x="1336" y="239"/>
                </a:cubicBezTo>
                <a:cubicBezTo>
                  <a:pt x="1336" y="243"/>
                  <a:pt x="1339" y="245"/>
                  <a:pt x="1344" y="245"/>
                </a:cubicBezTo>
                <a:cubicBezTo>
                  <a:pt x="1348" y="245"/>
                  <a:pt x="1351" y="243"/>
                  <a:pt x="1351" y="239"/>
                </a:cubicBezTo>
                <a:cubicBezTo>
                  <a:pt x="1351" y="236"/>
                  <a:pt x="1348" y="233"/>
                  <a:pt x="1344" y="233"/>
                </a:cubicBezTo>
                <a:close/>
                <a:moveTo>
                  <a:pt x="1321" y="252"/>
                </a:moveTo>
                <a:cubicBezTo>
                  <a:pt x="1317" y="252"/>
                  <a:pt x="1313" y="255"/>
                  <a:pt x="1313" y="258"/>
                </a:cubicBezTo>
                <a:cubicBezTo>
                  <a:pt x="1313" y="262"/>
                  <a:pt x="1317" y="265"/>
                  <a:pt x="1321" y="265"/>
                </a:cubicBezTo>
                <a:cubicBezTo>
                  <a:pt x="1325" y="265"/>
                  <a:pt x="1328" y="262"/>
                  <a:pt x="1328" y="258"/>
                </a:cubicBezTo>
                <a:cubicBezTo>
                  <a:pt x="1328" y="255"/>
                  <a:pt x="1325" y="252"/>
                  <a:pt x="1321" y="252"/>
                </a:cubicBezTo>
                <a:close/>
                <a:moveTo>
                  <a:pt x="1344" y="252"/>
                </a:moveTo>
                <a:cubicBezTo>
                  <a:pt x="1339" y="252"/>
                  <a:pt x="1336" y="255"/>
                  <a:pt x="1336" y="258"/>
                </a:cubicBezTo>
                <a:cubicBezTo>
                  <a:pt x="1336" y="262"/>
                  <a:pt x="1339" y="265"/>
                  <a:pt x="1344" y="265"/>
                </a:cubicBezTo>
                <a:cubicBezTo>
                  <a:pt x="1348" y="265"/>
                  <a:pt x="1351" y="262"/>
                  <a:pt x="1351" y="258"/>
                </a:cubicBezTo>
                <a:cubicBezTo>
                  <a:pt x="1351" y="255"/>
                  <a:pt x="1348" y="252"/>
                  <a:pt x="1344" y="252"/>
                </a:cubicBezTo>
                <a:close/>
                <a:moveTo>
                  <a:pt x="1321" y="271"/>
                </a:moveTo>
                <a:cubicBezTo>
                  <a:pt x="1317" y="271"/>
                  <a:pt x="1313" y="274"/>
                  <a:pt x="1313" y="278"/>
                </a:cubicBezTo>
                <a:cubicBezTo>
                  <a:pt x="1313" y="282"/>
                  <a:pt x="1317" y="285"/>
                  <a:pt x="1321" y="285"/>
                </a:cubicBezTo>
                <a:cubicBezTo>
                  <a:pt x="1325" y="285"/>
                  <a:pt x="1328" y="282"/>
                  <a:pt x="1328" y="278"/>
                </a:cubicBezTo>
                <a:cubicBezTo>
                  <a:pt x="1328" y="274"/>
                  <a:pt x="1325" y="271"/>
                  <a:pt x="1321" y="271"/>
                </a:cubicBezTo>
                <a:close/>
                <a:moveTo>
                  <a:pt x="1344" y="271"/>
                </a:moveTo>
                <a:cubicBezTo>
                  <a:pt x="1339" y="271"/>
                  <a:pt x="1336" y="274"/>
                  <a:pt x="1336" y="278"/>
                </a:cubicBezTo>
                <a:cubicBezTo>
                  <a:pt x="1336" y="282"/>
                  <a:pt x="1339" y="285"/>
                  <a:pt x="1344" y="285"/>
                </a:cubicBezTo>
                <a:cubicBezTo>
                  <a:pt x="1348" y="285"/>
                  <a:pt x="1351" y="282"/>
                  <a:pt x="1351" y="278"/>
                </a:cubicBezTo>
                <a:cubicBezTo>
                  <a:pt x="1351" y="274"/>
                  <a:pt x="1348" y="271"/>
                  <a:pt x="1344" y="271"/>
                </a:cubicBezTo>
                <a:close/>
                <a:moveTo>
                  <a:pt x="1366" y="175"/>
                </a:moveTo>
                <a:cubicBezTo>
                  <a:pt x="1362" y="175"/>
                  <a:pt x="1358" y="178"/>
                  <a:pt x="1358" y="182"/>
                </a:cubicBezTo>
                <a:cubicBezTo>
                  <a:pt x="1358" y="185"/>
                  <a:pt x="1362" y="188"/>
                  <a:pt x="1366" y="188"/>
                </a:cubicBezTo>
                <a:cubicBezTo>
                  <a:pt x="1370" y="188"/>
                  <a:pt x="1373" y="185"/>
                  <a:pt x="1373" y="182"/>
                </a:cubicBezTo>
                <a:cubicBezTo>
                  <a:pt x="1373" y="178"/>
                  <a:pt x="1370" y="175"/>
                  <a:pt x="1366" y="175"/>
                </a:cubicBezTo>
                <a:close/>
                <a:moveTo>
                  <a:pt x="1388" y="175"/>
                </a:moveTo>
                <a:cubicBezTo>
                  <a:pt x="1384" y="175"/>
                  <a:pt x="1380" y="178"/>
                  <a:pt x="1380" y="182"/>
                </a:cubicBezTo>
                <a:cubicBezTo>
                  <a:pt x="1380" y="185"/>
                  <a:pt x="1384" y="188"/>
                  <a:pt x="1388" y="188"/>
                </a:cubicBezTo>
                <a:cubicBezTo>
                  <a:pt x="1392" y="188"/>
                  <a:pt x="1396" y="185"/>
                  <a:pt x="1396" y="182"/>
                </a:cubicBezTo>
                <a:cubicBezTo>
                  <a:pt x="1396" y="178"/>
                  <a:pt x="1392" y="175"/>
                  <a:pt x="1388" y="175"/>
                </a:cubicBezTo>
                <a:close/>
                <a:moveTo>
                  <a:pt x="1366" y="194"/>
                </a:moveTo>
                <a:cubicBezTo>
                  <a:pt x="1362" y="194"/>
                  <a:pt x="1358" y="197"/>
                  <a:pt x="1358" y="201"/>
                </a:cubicBezTo>
                <a:cubicBezTo>
                  <a:pt x="1358" y="205"/>
                  <a:pt x="1362" y="208"/>
                  <a:pt x="1366" y="208"/>
                </a:cubicBezTo>
                <a:cubicBezTo>
                  <a:pt x="1370" y="208"/>
                  <a:pt x="1373" y="205"/>
                  <a:pt x="1373" y="201"/>
                </a:cubicBezTo>
                <a:cubicBezTo>
                  <a:pt x="1373" y="197"/>
                  <a:pt x="1370" y="194"/>
                  <a:pt x="1366" y="194"/>
                </a:cubicBezTo>
                <a:close/>
                <a:moveTo>
                  <a:pt x="1388" y="194"/>
                </a:moveTo>
                <a:cubicBezTo>
                  <a:pt x="1384" y="194"/>
                  <a:pt x="1380" y="197"/>
                  <a:pt x="1380" y="201"/>
                </a:cubicBezTo>
                <a:cubicBezTo>
                  <a:pt x="1380" y="205"/>
                  <a:pt x="1384" y="208"/>
                  <a:pt x="1388" y="208"/>
                </a:cubicBezTo>
                <a:cubicBezTo>
                  <a:pt x="1392" y="208"/>
                  <a:pt x="1396" y="205"/>
                  <a:pt x="1396" y="201"/>
                </a:cubicBezTo>
                <a:cubicBezTo>
                  <a:pt x="1396" y="197"/>
                  <a:pt x="1392" y="194"/>
                  <a:pt x="1388" y="194"/>
                </a:cubicBezTo>
                <a:close/>
                <a:moveTo>
                  <a:pt x="1366" y="214"/>
                </a:moveTo>
                <a:cubicBezTo>
                  <a:pt x="1362" y="214"/>
                  <a:pt x="1358" y="217"/>
                  <a:pt x="1358" y="220"/>
                </a:cubicBezTo>
                <a:cubicBezTo>
                  <a:pt x="1358" y="224"/>
                  <a:pt x="1362" y="227"/>
                  <a:pt x="1366" y="227"/>
                </a:cubicBezTo>
                <a:cubicBezTo>
                  <a:pt x="1370" y="227"/>
                  <a:pt x="1373" y="224"/>
                  <a:pt x="1373" y="220"/>
                </a:cubicBezTo>
                <a:cubicBezTo>
                  <a:pt x="1373" y="217"/>
                  <a:pt x="1370" y="214"/>
                  <a:pt x="1366" y="214"/>
                </a:cubicBezTo>
                <a:close/>
                <a:moveTo>
                  <a:pt x="1388" y="214"/>
                </a:moveTo>
                <a:cubicBezTo>
                  <a:pt x="1384" y="214"/>
                  <a:pt x="1380" y="217"/>
                  <a:pt x="1380" y="220"/>
                </a:cubicBezTo>
                <a:cubicBezTo>
                  <a:pt x="1380" y="224"/>
                  <a:pt x="1384" y="227"/>
                  <a:pt x="1388" y="227"/>
                </a:cubicBezTo>
                <a:cubicBezTo>
                  <a:pt x="1392" y="227"/>
                  <a:pt x="1396" y="224"/>
                  <a:pt x="1396" y="220"/>
                </a:cubicBezTo>
                <a:cubicBezTo>
                  <a:pt x="1396" y="217"/>
                  <a:pt x="1392" y="214"/>
                  <a:pt x="1388" y="214"/>
                </a:cubicBezTo>
                <a:close/>
                <a:moveTo>
                  <a:pt x="1366" y="233"/>
                </a:moveTo>
                <a:cubicBezTo>
                  <a:pt x="1362" y="233"/>
                  <a:pt x="1358" y="236"/>
                  <a:pt x="1358" y="239"/>
                </a:cubicBezTo>
                <a:cubicBezTo>
                  <a:pt x="1358" y="243"/>
                  <a:pt x="1362" y="245"/>
                  <a:pt x="1366" y="245"/>
                </a:cubicBezTo>
                <a:cubicBezTo>
                  <a:pt x="1370" y="245"/>
                  <a:pt x="1373" y="243"/>
                  <a:pt x="1373" y="239"/>
                </a:cubicBezTo>
                <a:cubicBezTo>
                  <a:pt x="1373" y="236"/>
                  <a:pt x="1370" y="233"/>
                  <a:pt x="1366" y="233"/>
                </a:cubicBezTo>
                <a:close/>
                <a:moveTo>
                  <a:pt x="1388" y="233"/>
                </a:moveTo>
                <a:cubicBezTo>
                  <a:pt x="1384" y="233"/>
                  <a:pt x="1380" y="236"/>
                  <a:pt x="1380" y="239"/>
                </a:cubicBezTo>
                <a:cubicBezTo>
                  <a:pt x="1380" y="243"/>
                  <a:pt x="1384" y="245"/>
                  <a:pt x="1388" y="245"/>
                </a:cubicBezTo>
                <a:cubicBezTo>
                  <a:pt x="1392" y="245"/>
                  <a:pt x="1396" y="243"/>
                  <a:pt x="1396" y="239"/>
                </a:cubicBezTo>
                <a:cubicBezTo>
                  <a:pt x="1396" y="236"/>
                  <a:pt x="1392" y="233"/>
                  <a:pt x="1388" y="233"/>
                </a:cubicBezTo>
                <a:close/>
                <a:moveTo>
                  <a:pt x="1366" y="252"/>
                </a:moveTo>
                <a:cubicBezTo>
                  <a:pt x="1362" y="252"/>
                  <a:pt x="1358" y="255"/>
                  <a:pt x="1358" y="258"/>
                </a:cubicBezTo>
                <a:cubicBezTo>
                  <a:pt x="1358" y="262"/>
                  <a:pt x="1362" y="265"/>
                  <a:pt x="1366" y="265"/>
                </a:cubicBezTo>
                <a:cubicBezTo>
                  <a:pt x="1370" y="265"/>
                  <a:pt x="1373" y="262"/>
                  <a:pt x="1373" y="258"/>
                </a:cubicBezTo>
                <a:cubicBezTo>
                  <a:pt x="1373" y="255"/>
                  <a:pt x="1370" y="252"/>
                  <a:pt x="1366" y="252"/>
                </a:cubicBezTo>
                <a:close/>
                <a:moveTo>
                  <a:pt x="1388" y="252"/>
                </a:moveTo>
                <a:cubicBezTo>
                  <a:pt x="1384" y="252"/>
                  <a:pt x="1380" y="255"/>
                  <a:pt x="1380" y="258"/>
                </a:cubicBezTo>
                <a:cubicBezTo>
                  <a:pt x="1380" y="262"/>
                  <a:pt x="1384" y="265"/>
                  <a:pt x="1388" y="265"/>
                </a:cubicBezTo>
                <a:cubicBezTo>
                  <a:pt x="1392" y="265"/>
                  <a:pt x="1396" y="262"/>
                  <a:pt x="1396" y="258"/>
                </a:cubicBezTo>
                <a:cubicBezTo>
                  <a:pt x="1396" y="255"/>
                  <a:pt x="1392" y="252"/>
                  <a:pt x="1388" y="252"/>
                </a:cubicBezTo>
                <a:close/>
                <a:moveTo>
                  <a:pt x="1366" y="271"/>
                </a:moveTo>
                <a:cubicBezTo>
                  <a:pt x="1362" y="271"/>
                  <a:pt x="1358" y="274"/>
                  <a:pt x="1358" y="278"/>
                </a:cubicBezTo>
                <a:cubicBezTo>
                  <a:pt x="1358" y="282"/>
                  <a:pt x="1362" y="285"/>
                  <a:pt x="1366" y="285"/>
                </a:cubicBezTo>
                <a:cubicBezTo>
                  <a:pt x="1370" y="285"/>
                  <a:pt x="1373" y="282"/>
                  <a:pt x="1373" y="278"/>
                </a:cubicBezTo>
                <a:cubicBezTo>
                  <a:pt x="1373" y="274"/>
                  <a:pt x="1370" y="271"/>
                  <a:pt x="1366" y="271"/>
                </a:cubicBezTo>
                <a:close/>
                <a:moveTo>
                  <a:pt x="1388" y="271"/>
                </a:moveTo>
                <a:cubicBezTo>
                  <a:pt x="1384" y="271"/>
                  <a:pt x="1380" y="274"/>
                  <a:pt x="1380" y="278"/>
                </a:cubicBezTo>
                <a:cubicBezTo>
                  <a:pt x="1380" y="282"/>
                  <a:pt x="1384" y="285"/>
                  <a:pt x="1388" y="285"/>
                </a:cubicBezTo>
                <a:cubicBezTo>
                  <a:pt x="1392" y="285"/>
                  <a:pt x="1396" y="282"/>
                  <a:pt x="1396" y="278"/>
                </a:cubicBezTo>
                <a:cubicBezTo>
                  <a:pt x="1396" y="274"/>
                  <a:pt x="1392" y="271"/>
                  <a:pt x="1388" y="271"/>
                </a:cubicBezTo>
                <a:close/>
                <a:moveTo>
                  <a:pt x="1521" y="97"/>
                </a:moveTo>
                <a:cubicBezTo>
                  <a:pt x="1517" y="97"/>
                  <a:pt x="1514" y="100"/>
                  <a:pt x="1514" y="104"/>
                </a:cubicBezTo>
                <a:cubicBezTo>
                  <a:pt x="1514" y="107"/>
                  <a:pt x="1517" y="110"/>
                  <a:pt x="1521" y="110"/>
                </a:cubicBezTo>
                <a:cubicBezTo>
                  <a:pt x="1526" y="110"/>
                  <a:pt x="1529" y="107"/>
                  <a:pt x="1529" y="104"/>
                </a:cubicBezTo>
                <a:cubicBezTo>
                  <a:pt x="1529" y="100"/>
                  <a:pt x="1526" y="97"/>
                  <a:pt x="1521" y="97"/>
                </a:cubicBezTo>
                <a:close/>
                <a:moveTo>
                  <a:pt x="1498" y="116"/>
                </a:moveTo>
                <a:cubicBezTo>
                  <a:pt x="1494" y="116"/>
                  <a:pt x="1491" y="119"/>
                  <a:pt x="1491" y="123"/>
                </a:cubicBezTo>
                <a:cubicBezTo>
                  <a:pt x="1491" y="127"/>
                  <a:pt x="1494" y="130"/>
                  <a:pt x="1498" y="130"/>
                </a:cubicBezTo>
                <a:cubicBezTo>
                  <a:pt x="1503" y="130"/>
                  <a:pt x="1506" y="127"/>
                  <a:pt x="1506" y="123"/>
                </a:cubicBezTo>
                <a:cubicBezTo>
                  <a:pt x="1506" y="119"/>
                  <a:pt x="1503" y="116"/>
                  <a:pt x="1498" y="116"/>
                </a:cubicBezTo>
                <a:close/>
                <a:moveTo>
                  <a:pt x="1543" y="97"/>
                </a:moveTo>
                <a:cubicBezTo>
                  <a:pt x="1539" y="97"/>
                  <a:pt x="1536" y="100"/>
                  <a:pt x="1536" y="104"/>
                </a:cubicBezTo>
                <a:cubicBezTo>
                  <a:pt x="1536" y="107"/>
                  <a:pt x="1539" y="110"/>
                  <a:pt x="1543" y="110"/>
                </a:cubicBezTo>
                <a:cubicBezTo>
                  <a:pt x="1548" y="110"/>
                  <a:pt x="1551" y="107"/>
                  <a:pt x="1551" y="104"/>
                </a:cubicBezTo>
                <a:cubicBezTo>
                  <a:pt x="1551" y="100"/>
                  <a:pt x="1548" y="97"/>
                  <a:pt x="1543" y="97"/>
                </a:cubicBezTo>
                <a:close/>
                <a:moveTo>
                  <a:pt x="1432" y="175"/>
                </a:moveTo>
                <a:cubicBezTo>
                  <a:pt x="1428" y="175"/>
                  <a:pt x="1425" y="178"/>
                  <a:pt x="1425" y="182"/>
                </a:cubicBezTo>
                <a:cubicBezTo>
                  <a:pt x="1425" y="185"/>
                  <a:pt x="1428" y="188"/>
                  <a:pt x="1432" y="188"/>
                </a:cubicBezTo>
                <a:cubicBezTo>
                  <a:pt x="1437" y="188"/>
                  <a:pt x="1440" y="185"/>
                  <a:pt x="1440" y="182"/>
                </a:cubicBezTo>
                <a:cubicBezTo>
                  <a:pt x="1440" y="178"/>
                  <a:pt x="1437" y="175"/>
                  <a:pt x="1432" y="175"/>
                </a:cubicBezTo>
                <a:close/>
                <a:moveTo>
                  <a:pt x="1432" y="194"/>
                </a:moveTo>
                <a:cubicBezTo>
                  <a:pt x="1428" y="194"/>
                  <a:pt x="1425" y="197"/>
                  <a:pt x="1425" y="201"/>
                </a:cubicBezTo>
                <a:cubicBezTo>
                  <a:pt x="1425" y="205"/>
                  <a:pt x="1428" y="208"/>
                  <a:pt x="1432" y="208"/>
                </a:cubicBezTo>
                <a:cubicBezTo>
                  <a:pt x="1437" y="208"/>
                  <a:pt x="1440" y="205"/>
                  <a:pt x="1440" y="201"/>
                </a:cubicBezTo>
                <a:cubicBezTo>
                  <a:pt x="1440" y="197"/>
                  <a:pt x="1437" y="194"/>
                  <a:pt x="1432" y="194"/>
                </a:cubicBezTo>
                <a:close/>
                <a:moveTo>
                  <a:pt x="1410" y="214"/>
                </a:moveTo>
                <a:cubicBezTo>
                  <a:pt x="1406" y="214"/>
                  <a:pt x="1402" y="217"/>
                  <a:pt x="1402" y="220"/>
                </a:cubicBezTo>
                <a:cubicBezTo>
                  <a:pt x="1402" y="224"/>
                  <a:pt x="1406" y="227"/>
                  <a:pt x="1410" y="227"/>
                </a:cubicBezTo>
                <a:cubicBezTo>
                  <a:pt x="1414" y="227"/>
                  <a:pt x="1417" y="224"/>
                  <a:pt x="1417" y="220"/>
                </a:cubicBezTo>
                <a:cubicBezTo>
                  <a:pt x="1417" y="217"/>
                  <a:pt x="1414" y="214"/>
                  <a:pt x="1410" y="214"/>
                </a:cubicBezTo>
                <a:close/>
                <a:moveTo>
                  <a:pt x="1432" y="214"/>
                </a:moveTo>
                <a:cubicBezTo>
                  <a:pt x="1428" y="214"/>
                  <a:pt x="1425" y="217"/>
                  <a:pt x="1425" y="220"/>
                </a:cubicBezTo>
                <a:cubicBezTo>
                  <a:pt x="1425" y="224"/>
                  <a:pt x="1428" y="227"/>
                  <a:pt x="1432" y="227"/>
                </a:cubicBezTo>
                <a:cubicBezTo>
                  <a:pt x="1437" y="227"/>
                  <a:pt x="1440" y="224"/>
                  <a:pt x="1440" y="220"/>
                </a:cubicBezTo>
                <a:cubicBezTo>
                  <a:pt x="1440" y="217"/>
                  <a:pt x="1437" y="214"/>
                  <a:pt x="1432" y="214"/>
                </a:cubicBezTo>
                <a:close/>
                <a:moveTo>
                  <a:pt x="1410" y="233"/>
                </a:moveTo>
                <a:cubicBezTo>
                  <a:pt x="1406" y="233"/>
                  <a:pt x="1402" y="236"/>
                  <a:pt x="1402" y="239"/>
                </a:cubicBezTo>
                <a:cubicBezTo>
                  <a:pt x="1402" y="243"/>
                  <a:pt x="1406" y="245"/>
                  <a:pt x="1410" y="245"/>
                </a:cubicBezTo>
                <a:cubicBezTo>
                  <a:pt x="1414" y="245"/>
                  <a:pt x="1417" y="243"/>
                  <a:pt x="1417" y="239"/>
                </a:cubicBezTo>
                <a:cubicBezTo>
                  <a:pt x="1417" y="236"/>
                  <a:pt x="1414" y="233"/>
                  <a:pt x="1410" y="233"/>
                </a:cubicBezTo>
                <a:close/>
                <a:moveTo>
                  <a:pt x="1432" y="233"/>
                </a:moveTo>
                <a:cubicBezTo>
                  <a:pt x="1428" y="233"/>
                  <a:pt x="1425" y="236"/>
                  <a:pt x="1425" y="239"/>
                </a:cubicBezTo>
                <a:cubicBezTo>
                  <a:pt x="1425" y="243"/>
                  <a:pt x="1428" y="245"/>
                  <a:pt x="1432" y="245"/>
                </a:cubicBezTo>
                <a:cubicBezTo>
                  <a:pt x="1437" y="245"/>
                  <a:pt x="1440" y="243"/>
                  <a:pt x="1440" y="239"/>
                </a:cubicBezTo>
                <a:cubicBezTo>
                  <a:pt x="1440" y="236"/>
                  <a:pt x="1437" y="233"/>
                  <a:pt x="1432" y="233"/>
                </a:cubicBezTo>
                <a:close/>
                <a:moveTo>
                  <a:pt x="1410" y="252"/>
                </a:moveTo>
                <a:cubicBezTo>
                  <a:pt x="1406" y="252"/>
                  <a:pt x="1402" y="255"/>
                  <a:pt x="1402" y="258"/>
                </a:cubicBezTo>
                <a:cubicBezTo>
                  <a:pt x="1402" y="262"/>
                  <a:pt x="1406" y="265"/>
                  <a:pt x="1410" y="265"/>
                </a:cubicBezTo>
                <a:cubicBezTo>
                  <a:pt x="1414" y="265"/>
                  <a:pt x="1417" y="262"/>
                  <a:pt x="1417" y="258"/>
                </a:cubicBezTo>
                <a:cubicBezTo>
                  <a:pt x="1417" y="255"/>
                  <a:pt x="1414" y="252"/>
                  <a:pt x="1410" y="252"/>
                </a:cubicBezTo>
                <a:close/>
                <a:moveTo>
                  <a:pt x="1432" y="252"/>
                </a:moveTo>
                <a:cubicBezTo>
                  <a:pt x="1428" y="252"/>
                  <a:pt x="1425" y="255"/>
                  <a:pt x="1425" y="258"/>
                </a:cubicBezTo>
                <a:cubicBezTo>
                  <a:pt x="1425" y="262"/>
                  <a:pt x="1428" y="265"/>
                  <a:pt x="1432" y="265"/>
                </a:cubicBezTo>
                <a:cubicBezTo>
                  <a:pt x="1437" y="265"/>
                  <a:pt x="1440" y="262"/>
                  <a:pt x="1440" y="258"/>
                </a:cubicBezTo>
                <a:cubicBezTo>
                  <a:pt x="1440" y="255"/>
                  <a:pt x="1437" y="252"/>
                  <a:pt x="1432" y="252"/>
                </a:cubicBezTo>
                <a:close/>
                <a:moveTo>
                  <a:pt x="1410" y="271"/>
                </a:moveTo>
                <a:cubicBezTo>
                  <a:pt x="1406" y="271"/>
                  <a:pt x="1402" y="274"/>
                  <a:pt x="1402" y="278"/>
                </a:cubicBezTo>
                <a:cubicBezTo>
                  <a:pt x="1402" y="282"/>
                  <a:pt x="1406" y="285"/>
                  <a:pt x="1410" y="285"/>
                </a:cubicBezTo>
                <a:cubicBezTo>
                  <a:pt x="1414" y="285"/>
                  <a:pt x="1417" y="282"/>
                  <a:pt x="1417" y="278"/>
                </a:cubicBezTo>
                <a:cubicBezTo>
                  <a:pt x="1417" y="274"/>
                  <a:pt x="1414" y="271"/>
                  <a:pt x="1410" y="271"/>
                </a:cubicBezTo>
                <a:close/>
                <a:moveTo>
                  <a:pt x="1432" y="271"/>
                </a:moveTo>
                <a:cubicBezTo>
                  <a:pt x="1428" y="271"/>
                  <a:pt x="1425" y="274"/>
                  <a:pt x="1425" y="278"/>
                </a:cubicBezTo>
                <a:cubicBezTo>
                  <a:pt x="1425" y="282"/>
                  <a:pt x="1428" y="285"/>
                  <a:pt x="1432" y="285"/>
                </a:cubicBezTo>
                <a:cubicBezTo>
                  <a:pt x="1437" y="285"/>
                  <a:pt x="1440" y="282"/>
                  <a:pt x="1440" y="278"/>
                </a:cubicBezTo>
                <a:cubicBezTo>
                  <a:pt x="1440" y="274"/>
                  <a:pt x="1437" y="271"/>
                  <a:pt x="1432" y="271"/>
                </a:cubicBezTo>
                <a:close/>
                <a:moveTo>
                  <a:pt x="1477" y="136"/>
                </a:moveTo>
                <a:cubicBezTo>
                  <a:pt x="1472" y="136"/>
                  <a:pt x="1469" y="139"/>
                  <a:pt x="1469" y="143"/>
                </a:cubicBezTo>
                <a:cubicBezTo>
                  <a:pt x="1469" y="146"/>
                  <a:pt x="1472" y="149"/>
                  <a:pt x="1477" y="149"/>
                </a:cubicBezTo>
                <a:cubicBezTo>
                  <a:pt x="1481" y="149"/>
                  <a:pt x="1484" y="146"/>
                  <a:pt x="1484" y="143"/>
                </a:cubicBezTo>
                <a:cubicBezTo>
                  <a:pt x="1484" y="139"/>
                  <a:pt x="1481" y="136"/>
                  <a:pt x="1477" y="136"/>
                </a:cubicBezTo>
                <a:close/>
                <a:moveTo>
                  <a:pt x="1477" y="175"/>
                </a:moveTo>
                <a:cubicBezTo>
                  <a:pt x="1472" y="175"/>
                  <a:pt x="1469" y="178"/>
                  <a:pt x="1469" y="182"/>
                </a:cubicBezTo>
                <a:cubicBezTo>
                  <a:pt x="1469" y="185"/>
                  <a:pt x="1472" y="188"/>
                  <a:pt x="1477" y="188"/>
                </a:cubicBezTo>
                <a:cubicBezTo>
                  <a:pt x="1481" y="188"/>
                  <a:pt x="1484" y="185"/>
                  <a:pt x="1484" y="182"/>
                </a:cubicBezTo>
                <a:cubicBezTo>
                  <a:pt x="1484" y="178"/>
                  <a:pt x="1481" y="175"/>
                  <a:pt x="1477" y="175"/>
                </a:cubicBezTo>
                <a:close/>
                <a:moveTo>
                  <a:pt x="1455" y="194"/>
                </a:moveTo>
                <a:cubicBezTo>
                  <a:pt x="1450" y="194"/>
                  <a:pt x="1447" y="197"/>
                  <a:pt x="1447" y="201"/>
                </a:cubicBezTo>
                <a:cubicBezTo>
                  <a:pt x="1447" y="205"/>
                  <a:pt x="1450" y="208"/>
                  <a:pt x="1455" y="208"/>
                </a:cubicBezTo>
                <a:cubicBezTo>
                  <a:pt x="1459" y="208"/>
                  <a:pt x="1462" y="205"/>
                  <a:pt x="1462" y="201"/>
                </a:cubicBezTo>
                <a:cubicBezTo>
                  <a:pt x="1462" y="197"/>
                  <a:pt x="1459" y="194"/>
                  <a:pt x="1455" y="194"/>
                </a:cubicBezTo>
                <a:close/>
                <a:moveTo>
                  <a:pt x="1477" y="194"/>
                </a:moveTo>
                <a:cubicBezTo>
                  <a:pt x="1472" y="194"/>
                  <a:pt x="1469" y="197"/>
                  <a:pt x="1469" y="201"/>
                </a:cubicBezTo>
                <a:cubicBezTo>
                  <a:pt x="1469" y="205"/>
                  <a:pt x="1472" y="208"/>
                  <a:pt x="1477" y="208"/>
                </a:cubicBezTo>
                <a:cubicBezTo>
                  <a:pt x="1481" y="208"/>
                  <a:pt x="1484" y="205"/>
                  <a:pt x="1484" y="201"/>
                </a:cubicBezTo>
                <a:cubicBezTo>
                  <a:pt x="1484" y="197"/>
                  <a:pt x="1481" y="194"/>
                  <a:pt x="1477" y="194"/>
                </a:cubicBezTo>
                <a:close/>
                <a:moveTo>
                  <a:pt x="1455" y="214"/>
                </a:moveTo>
                <a:cubicBezTo>
                  <a:pt x="1450" y="214"/>
                  <a:pt x="1447" y="217"/>
                  <a:pt x="1447" y="220"/>
                </a:cubicBezTo>
                <a:cubicBezTo>
                  <a:pt x="1447" y="224"/>
                  <a:pt x="1450" y="227"/>
                  <a:pt x="1455" y="227"/>
                </a:cubicBezTo>
                <a:cubicBezTo>
                  <a:pt x="1459" y="227"/>
                  <a:pt x="1462" y="224"/>
                  <a:pt x="1462" y="220"/>
                </a:cubicBezTo>
                <a:cubicBezTo>
                  <a:pt x="1462" y="217"/>
                  <a:pt x="1459" y="214"/>
                  <a:pt x="1455" y="214"/>
                </a:cubicBezTo>
                <a:close/>
                <a:moveTo>
                  <a:pt x="1477" y="214"/>
                </a:moveTo>
                <a:cubicBezTo>
                  <a:pt x="1472" y="214"/>
                  <a:pt x="1469" y="217"/>
                  <a:pt x="1469" y="220"/>
                </a:cubicBezTo>
                <a:cubicBezTo>
                  <a:pt x="1469" y="224"/>
                  <a:pt x="1472" y="227"/>
                  <a:pt x="1477" y="227"/>
                </a:cubicBezTo>
                <a:cubicBezTo>
                  <a:pt x="1481" y="227"/>
                  <a:pt x="1484" y="224"/>
                  <a:pt x="1484" y="220"/>
                </a:cubicBezTo>
                <a:cubicBezTo>
                  <a:pt x="1484" y="217"/>
                  <a:pt x="1481" y="214"/>
                  <a:pt x="1477" y="214"/>
                </a:cubicBezTo>
                <a:close/>
                <a:moveTo>
                  <a:pt x="1455" y="233"/>
                </a:moveTo>
                <a:cubicBezTo>
                  <a:pt x="1450" y="233"/>
                  <a:pt x="1447" y="236"/>
                  <a:pt x="1447" y="239"/>
                </a:cubicBezTo>
                <a:cubicBezTo>
                  <a:pt x="1447" y="243"/>
                  <a:pt x="1450" y="245"/>
                  <a:pt x="1455" y="245"/>
                </a:cubicBezTo>
                <a:cubicBezTo>
                  <a:pt x="1459" y="245"/>
                  <a:pt x="1462" y="243"/>
                  <a:pt x="1462" y="239"/>
                </a:cubicBezTo>
                <a:cubicBezTo>
                  <a:pt x="1462" y="236"/>
                  <a:pt x="1459" y="233"/>
                  <a:pt x="1455" y="233"/>
                </a:cubicBezTo>
                <a:close/>
                <a:moveTo>
                  <a:pt x="1477" y="233"/>
                </a:moveTo>
                <a:cubicBezTo>
                  <a:pt x="1472" y="233"/>
                  <a:pt x="1469" y="236"/>
                  <a:pt x="1469" y="239"/>
                </a:cubicBezTo>
                <a:cubicBezTo>
                  <a:pt x="1469" y="243"/>
                  <a:pt x="1472" y="245"/>
                  <a:pt x="1477" y="245"/>
                </a:cubicBezTo>
                <a:cubicBezTo>
                  <a:pt x="1481" y="245"/>
                  <a:pt x="1484" y="243"/>
                  <a:pt x="1484" y="239"/>
                </a:cubicBezTo>
                <a:cubicBezTo>
                  <a:pt x="1484" y="236"/>
                  <a:pt x="1481" y="233"/>
                  <a:pt x="1477" y="233"/>
                </a:cubicBezTo>
                <a:close/>
                <a:moveTo>
                  <a:pt x="1455" y="252"/>
                </a:moveTo>
                <a:cubicBezTo>
                  <a:pt x="1450" y="252"/>
                  <a:pt x="1447" y="255"/>
                  <a:pt x="1447" y="258"/>
                </a:cubicBezTo>
                <a:cubicBezTo>
                  <a:pt x="1447" y="262"/>
                  <a:pt x="1450" y="265"/>
                  <a:pt x="1455" y="265"/>
                </a:cubicBezTo>
                <a:cubicBezTo>
                  <a:pt x="1459" y="265"/>
                  <a:pt x="1462" y="262"/>
                  <a:pt x="1462" y="258"/>
                </a:cubicBezTo>
                <a:cubicBezTo>
                  <a:pt x="1462" y="255"/>
                  <a:pt x="1459" y="252"/>
                  <a:pt x="1455" y="252"/>
                </a:cubicBezTo>
                <a:close/>
                <a:moveTo>
                  <a:pt x="1477" y="252"/>
                </a:moveTo>
                <a:cubicBezTo>
                  <a:pt x="1472" y="252"/>
                  <a:pt x="1469" y="255"/>
                  <a:pt x="1469" y="258"/>
                </a:cubicBezTo>
                <a:cubicBezTo>
                  <a:pt x="1469" y="262"/>
                  <a:pt x="1472" y="265"/>
                  <a:pt x="1477" y="265"/>
                </a:cubicBezTo>
                <a:cubicBezTo>
                  <a:pt x="1481" y="265"/>
                  <a:pt x="1484" y="262"/>
                  <a:pt x="1484" y="258"/>
                </a:cubicBezTo>
                <a:cubicBezTo>
                  <a:pt x="1484" y="255"/>
                  <a:pt x="1481" y="252"/>
                  <a:pt x="1477" y="252"/>
                </a:cubicBezTo>
                <a:close/>
                <a:moveTo>
                  <a:pt x="1455" y="271"/>
                </a:moveTo>
                <a:cubicBezTo>
                  <a:pt x="1450" y="271"/>
                  <a:pt x="1447" y="274"/>
                  <a:pt x="1447" y="278"/>
                </a:cubicBezTo>
                <a:cubicBezTo>
                  <a:pt x="1447" y="282"/>
                  <a:pt x="1450" y="285"/>
                  <a:pt x="1455" y="285"/>
                </a:cubicBezTo>
                <a:cubicBezTo>
                  <a:pt x="1459" y="285"/>
                  <a:pt x="1462" y="282"/>
                  <a:pt x="1462" y="278"/>
                </a:cubicBezTo>
                <a:cubicBezTo>
                  <a:pt x="1462" y="274"/>
                  <a:pt x="1459" y="271"/>
                  <a:pt x="1455" y="271"/>
                </a:cubicBezTo>
                <a:close/>
                <a:moveTo>
                  <a:pt x="1477" y="271"/>
                </a:moveTo>
                <a:cubicBezTo>
                  <a:pt x="1472" y="271"/>
                  <a:pt x="1469" y="274"/>
                  <a:pt x="1469" y="278"/>
                </a:cubicBezTo>
                <a:cubicBezTo>
                  <a:pt x="1469" y="282"/>
                  <a:pt x="1472" y="285"/>
                  <a:pt x="1477" y="285"/>
                </a:cubicBezTo>
                <a:cubicBezTo>
                  <a:pt x="1481" y="285"/>
                  <a:pt x="1484" y="282"/>
                  <a:pt x="1484" y="278"/>
                </a:cubicBezTo>
                <a:cubicBezTo>
                  <a:pt x="1484" y="274"/>
                  <a:pt x="1481" y="271"/>
                  <a:pt x="1477" y="271"/>
                </a:cubicBezTo>
                <a:close/>
                <a:moveTo>
                  <a:pt x="1498" y="136"/>
                </a:moveTo>
                <a:cubicBezTo>
                  <a:pt x="1494" y="136"/>
                  <a:pt x="1491" y="139"/>
                  <a:pt x="1491" y="143"/>
                </a:cubicBezTo>
                <a:cubicBezTo>
                  <a:pt x="1491" y="146"/>
                  <a:pt x="1494" y="149"/>
                  <a:pt x="1498" y="149"/>
                </a:cubicBezTo>
                <a:cubicBezTo>
                  <a:pt x="1503" y="149"/>
                  <a:pt x="1506" y="146"/>
                  <a:pt x="1506" y="143"/>
                </a:cubicBezTo>
                <a:cubicBezTo>
                  <a:pt x="1506" y="139"/>
                  <a:pt x="1503" y="136"/>
                  <a:pt x="1498" y="136"/>
                </a:cubicBezTo>
                <a:close/>
                <a:moveTo>
                  <a:pt x="1498" y="155"/>
                </a:moveTo>
                <a:cubicBezTo>
                  <a:pt x="1494" y="155"/>
                  <a:pt x="1491" y="158"/>
                  <a:pt x="1491" y="162"/>
                </a:cubicBezTo>
                <a:cubicBezTo>
                  <a:pt x="1491" y="166"/>
                  <a:pt x="1494" y="169"/>
                  <a:pt x="1498" y="169"/>
                </a:cubicBezTo>
                <a:cubicBezTo>
                  <a:pt x="1503" y="169"/>
                  <a:pt x="1506" y="166"/>
                  <a:pt x="1506" y="162"/>
                </a:cubicBezTo>
                <a:cubicBezTo>
                  <a:pt x="1506" y="158"/>
                  <a:pt x="1503" y="155"/>
                  <a:pt x="1498" y="155"/>
                </a:cubicBezTo>
                <a:close/>
                <a:moveTo>
                  <a:pt x="1521" y="155"/>
                </a:moveTo>
                <a:cubicBezTo>
                  <a:pt x="1517" y="155"/>
                  <a:pt x="1514" y="158"/>
                  <a:pt x="1514" y="162"/>
                </a:cubicBezTo>
                <a:cubicBezTo>
                  <a:pt x="1514" y="166"/>
                  <a:pt x="1517" y="169"/>
                  <a:pt x="1521" y="169"/>
                </a:cubicBezTo>
                <a:cubicBezTo>
                  <a:pt x="1526" y="169"/>
                  <a:pt x="1529" y="166"/>
                  <a:pt x="1529" y="162"/>
                </a:cubicBezTo>
                <a:cubicBezTo>
                  <a:pt x="1529" y="158"/>
                  <a:pt x="1526" y="155"/>
                  <a:pt x="1521" y="155"/>
                </a:cubicBezTo>
                <a:close/>
                <a:moveTo>
                  <a:pt x="1498" y="175"/>
                </a:moveTo>
                <a:cubicBezTo>
                  <a:pt x="1494" y="175"/>
                  <a:pt x="1491" y="178"/>
                  <a:pt x="1491" y="182"/>
                </a:cubicBezTo>
                <a:cubicBezTo>
                  <a:pt x="1491" y="185"/>
                  <a:pt x="1494" y="188"/>
                  <a:pt x="1498" y="188"/>
                </a:cubicBezTo>
                <a:cubicBezTo>
                  <a:pt x="1503" y="188"/>
                  <a:pt x="1506" y="185"/>
                  <a:pt x="1506" y="182"/>
                </a:cubicBezTo>
                <a:cubicBezTo>
                  <a:pt x="1506" y="178"/>
                  <a:pt x="1503" y="175"/>
                  <a:pt x="1498" y="175"/>
                </a:cubicBezTo>
                <a:close/>
                <a:moveTo>
                  <a:pt x="1498" y="194"/>
                </a:moveTo>
                <a:cubicBezTo>
                  <a:pt x="1494" y="194"/>
                  <a:pt x="1491" y="197"/>
                  <a:pt x="1491" y="201"/>
                </a:cubicBezTo>
                <a:cubicBezTo>
                  <a:pt x="1491" y="205"/>
                  <a:pt x="1494" y="208"/>
                  <a:pt x="1498" y="208"/>
                </a:cubicBezTo>
                <a:cubicBezTo>
                  <a:pt x="1503" y="208"/>
                  <a:pt x="1506" y="205"/>
                  <a:pt x="1506" y="201"/>
                </a:cubicBezTo>
                <a:cubicBezTo>
                  <a:pt x="1506" y="197"/>
                  <a:pt x="1503" y="194"/>
                  <a:pt x="1498" y="194"/>
                </a:cubicBezTo>
                <a:close/>
                <a:moveTo>
                  <a:pt x="1521" y="194"/>
                </a:moveTo>
                <a:cubicBezTo>
                  <a:pt x="1517" y="194"/>
                  <a:pt x="1514" y="197"/>
                  <a:pt x="1514" y="201"/>
                </a:cubicBezTo>
                <a:cubicBezTo>
                  <a:pt x="1514" y="205"/>
                  <a:pt x="1517" y="208"/>
                  <a:pt x="1521" y="208"/>
                </a:cubicBezTo>
                <a:cubicBezTo>
                  <a:pt x="1526" y="208"/>
                  <a:pt x="1529" y="205"/>
                  <a:pt x="1529" y="201"/>
                </a:cubicBezTo>
                <a:cubicBezTo>
                  <a:pt x="1529" y="197"/>
                  <a:pt x="1526" y="194"/>
                  <a:pt x="1521" y="194"/>
                </a:cubicBezTo>
                <a:close/>
                <a:moveTo>
                  <a:pt x="1498" y="214"/>
                </a:moveTo>
                <a:cubicBezTo>
                  <a:pt x="1494" y="214"/>
                  <a:pt x="1491" y="217"/>
                  <a:pt x="1491" y="220"/>
                </a:cubicBezTo>
                <a:cubicBezTo>
                  <a:pt x="1491" y="224"/>
                  <a:pt x="1494" y="227"/>
                  <a:pt x="1498" y="227"/>
                </a:cubicBezTo>
                <a:cubicBezTo>
                  <a:pt x="1503" y="227"/>
                  <a:pt x="1506" y="224"/>
                  <a:pt x="1506" y="220"/>
                </a:cubicBezTo>
                <a:cubicBezTo>
                  <a:pt x="1506" y="217"/>
                  <a:pt x="1503" y="214"/>
                  <a:pt x="1498" y="214"/>
                </a:cubicBezTo>
                <a:close/>
                <a:moveTo>
                  <a:pt x="1521" y="214"/>
                </a:moveTo>
                <a:cubicBezTo>
                  <a:pt x="1517" y="214"/>
                  <a:pt x="1514" y="217"/>
                  <a:pt x="1514" y="220"/>
                </a:cubicBezTo>
                <a:cubicBezTo>
                  <a:pt x="1514" y="224"/>
                  <a:pt x="1517" y="227"/>
                  <a:pt x="1521" y="227"/>
                </a:cubicBezTo>
                <a:cubicBezTo>
                  <a:pt x="1526" y="227"/>
                  <a:pt x="1529" y="224"/>
                  <a:pt x="1529" y="220"/>
                </a:cubicBezTo>
                <a:cubicBezTo>
                  <a:pt x="1529" y="217"/>
                  <a:pt x="1526" y="214"/>
                  <a:pt x="1521" y="214"/>
                </a:cubicBezTo>
                <a:close/>
                <a:moveTo>
                  <a:pt x="1498" y="233"/>
                </a:moveTo>
                <a:cubicBezTo>
                  <a:pt x="1494" y="233"/>
                  <a:pt x="1491" y="236"/>
                  <a:pt x="1491" y="239"/>
                </a:cubicBezTo>
                <a:cubicBezTo>
                  <a:pt x="1491" y="243"/>
                  <a:pt x="1494" y="245"/>
                  <a:pt x="1498" y="245"/>
                </a:cubicBezTo>
                <a:cubicBezTo>
                  <a:pt x="1503" y="245"/>
                  <a:pt x="1506" y="243"/>
                  <a:pt x="1506" y="239"/>
                </a:cubicBezTo>
                <a:cubicBezTo>
                  <a:pt x="1506" y="236"/>
                  <a:pt x="1503" y="233"/>
                  <a:pt x="1498" y="233"/>
                </a:cubicBezTo>
                <a:close/>
                <a:moveTo>
                  <a:pt x="1521" y="233"/>
                </a:moveTo>
                <a:cubicBezTo>
                  <a:pt x="1517" y="233"/>
                  <a:pt x="1514" y="236"/>
                  <a:pt x="1514" y="239"/>
                </a:cubicBezTo>
                <a:cubicBezTo>
                  <a:pt x="1514" y="243"/>
                  <a:pt x="1517" y="245"/>
                  <a:pt x="1521" y="245"/>
                </a:cubicBezTo>
                <a:cubicBezTo>
                  <a:pt x="1526" y="245"/>
                  <a:pt x="1529" y="243"/>
                  <a:pt x="1529" y="239"/>
                </a:cubicBezTo>
                <a:cubicBezTo>
                  <a:pt x="1529" y="236"/>
                  <a:pt x="1526" y="233"/>
                  <a:pt x="1521" y="233"/>
                </a:cubicBezTo>
                <a:close/>
                <a:moveTo>
                  <a:pt x="1498" y="252"/>
                </a:moveTo>
                <a:cubicBezTo>
                  <a:pt x="1494" y="252"/>
                  <a:pt x="1491" y="255"/>
                  <a:pt x="1491" y="258"/>
                </a:cubicBezTo>
                <a:cubicBezTo>
                  <a:pt x="1491" y="262"/>
                  <a:pt x="1494" y="265"/>
                  <a:pt x="1498" y="265"/>
                </a:cubicBezTo>
                <a:cubicBezTo>
                  <a:pt x="1503" y="265"/>
                  <a:pt x="1506" y="262"/>
                  <a:pt x="1506" y="258"/>
                </a:cubicBezTo>
                <a:cubicBezTo>
                  <a:pt x="1506" y="255"/>
                  <a:pt x="1503" y="252"/>
                  <a:pt x="1498" y="252"/>
                </a:cubicBezTo>
                <a:close/>
                <a:moveTo>
                  <a:pt x="1521" y="252"/>
                </a:moveTo>
                <a:cubicBezTo>
                  <a:pt x="1517" y="252"/>
                  <a:pt x="1514" y="255"/>
                  <a:pt x="1514" y="258"/>
                </a:cubicBezTo>
                <a:cubicBezTo>
                  <a:pt x="1514" y="262"/>
                  <a:pt x="1517" y="265"/>
                  <a:pt x="1521" y="265"/>
                </a:cubicBezTo>
                <a:cubicBezTo>
                  <a:pt x="1526" y="265"/>
                  <a:pt x="1529" y="262"/>
                  <a:pt x="1529" y="258"/>
                </a:cubicBezTo>
                <a:cubicBezTo>
                  <a:pt x="1529" y="255"/>
                  <a:pt x="1526" y="252"/>
                  <a:pt x="1521" y="252"/>
                </a:cubicBezTo>
                <a:close/>
                <a:moveTo>
                  <a:pt x="1498" y="271"/>
                </a:moveTo>
                <a:cubicBezTo>
                  <a:pt x="1494" y="271"/>
                  <a:pt x="1491" y="274"/>
                  <a:pt x="1491" y="278"/>
                </a:cubicBezTo>
                <a:cubicBezTo>
                  <a:pt x="1491" y="282"/>
                  <a:pt x="1494" y="285"/>
                  <a:pt x="1498" y="285"/>
                </a:cubicBezTo>
                <a:cubicBezTo>
                  <a:pt x="1503" y="285"/>
                  <a:pt x="1506" y="282"/>
                  <a:pt x="1506" y="278"/>
                </a:cubicBezTo>
                <a:cubicBezTo>
                  <a:pt x="1506" y="274"/>
                  <a:pt x="1503" y="271"/>
                  <a:pt x="1498" y="271"/>
                </a:cubicBezTo>
                <a:close/>
                <a:moveTo>
                  <a:pt x="1521" y="271"/>
                </a:moveTo>
                <a:cubicBezTo>
                  <a:pt x="1517" y="271"/>
                  <a:pt x="1514" y="274"/>
                  <a:pt x="1514" y="278"/>
                </a:cubicBezTo>
                <a:cubicBezTo>
                  <a:pt x="1514" y="282"/>
                  <a:pt x="1517" y="285"/>
                  <a:pt x="1521" y="285"/>
                </a:cubicBezTo>
                <a:cubicBezTo>
                  <a:pt x="1526" y="285"/>
                  <a:pt x="1529" y="282"/>
                  <a:pt x="1529" y="278"/>
                </a:cubicBezTo>
                <a:cubicBezTo>
                  <a:pt x="1529" y="274"/>
                  <a:pt x="1526" y="271"/>
                  <a:pt x="1521" y="271"/>
                </a:cubicBezTo>
                <a:close/>
                <a:moveTo>
                  <a:pt x="1543" y="175"/>
                </a:moveTo>
                <a:cubicBezTo>
                  <a:pt x="1539" y="175"/>
                  <a:pt x="1536" y="178"/>
                  <a:pt x="1536" y="182"/>
                </a:cubicBezTo>
                <a:cubicBezTo>
                  <a:pt x="1536" y="185"/>
                  <a:pt x="1539" y="188"/>
                  <a:pt x="1543" y="188"/>
                </a:cubicBezTo>
                <a:cubicBezTo>
                  <a:pt x="1548" y="188"/>
                  <a:pt x="1551" y="185"/>
                  <a:pt x="1551" y="182"/>
                </a:cubicBezTo>
                <a:cubicBezTo>
                  <a:pt x="1551" y="178"/>
                  <a:pt x="1548" y="175"/>
                  <a:pt x="1543" y="175"/>
                </a:cubicBezTo>
                <a:close/>
                <a:moveTo>
                  <a:pt x="1543" y="194"/>
                </a:moveTo>
                <a:cubicBezTo>
                  <a:pt x="1539" y="194"/>
                  <a:pt x="1536" y="197"/>
                  <a:pt x="1536" y="201"/>
                </a:cubicBezTo>
                <a:cubicBezTo>
                  <a:pt x="1536" y="205"/>
                  <a:pt x="1539" y="208"/>
                  <a:pt x="1543" y="208"/>
                </a:cubicBezTo>
                <a:cubicBezTo>
                  <a:pt x="1548" y="208"/>
                  <a:pt x="1551" y="205"/>
                  <a:pt x="1551" y="201"/>
                </a:cubicBezTo>
                <a:cubicBezTo>
                  <a:pt x="1551" y="197"/>
                  <a:pt x="1548" y="194"/>
                  <a:pt x="1543" y="194"/>
                </a:cubicBezTo>
                <a:close/>
                <a:moveTo>
                  <a:pt x="1543" y="214"/>
                </a:moveTo>
                <a:cubicBezTo>
                  <a:pt x="1539" y="214"/>
                  <a:pt x="1536" y="217"/>
                  <a:pt x="1536" y="220"/>
                </a:cubicBezTo>
                <a:cubicBezTo>
                  <a:pt x="1536" y="224"/>
                  <a:pt x="1539" y="227"/>
                  <a:pt x="1543" y="227"/>
                </a:cubicBezTo>
                <a:cubicBezTo>
                  <a:pt x="1548" y="227"/>
                  <a:pt x="1551" y="224"/>
                  <a:pt x="1551" y="220"/>
                </a:cubicBezTo>
                <a:cubicBezTo>
                  <a:pt x="1551" y="217"/>
                  <a:pt x="1548" y="214"/>
                  <a:pt x="1543" y="214"/>
                </a:cubicBezTo>
                <a:close/>
                <a:moveTo>
                  <a:pt x="1543" y="233"/>
                </a:moveTo>
                <a:cubicBezTo>
                  <a:pt x="1539" y="233"/>
                  <a:pt x="1536" y="236"/>
                  <a:pt x="1536" y="239"/>
                </a:cubicBezTo>
                <a:cubicBezTo>
                  <a:pt x="1536" y="243"/>
                  <a:pt x="1539" y="245"/>
                  <a:pt x="1543" y="245"/>
                </a:cubicBezTo>
                <a:cubicBezTo>
                  <a:pt x="1548" y="245"/>
                  <a:pt x="1551" y="243"/>
                  <a:pt x="1551" y="239"/>
                </a:cubicBezTo>
                <a:cubicBezTo>
                  <a:pt x="1551" y="236"/>
                  <a:pt x="1548" y="233"/>
                  <a:pt x="1543" y="233"/>
                </a:cubicBezTo>
                <a:close/>
                <a:moveTo>
                  <a:pt x="1543" y="252"/>
                </a:moveTo>
                <a:cubicBezTo>
                  <a:pt x="1539" y="252"/>
                  <a:pt x="1536" y="255"/>
                  <a:pt x="1536" y="258"/>
                </a:cubicBezTo>
                <a:cubicBezTo>
                  <a:pt x="1536" y="262"/>
                  <a:pt x="1539" y="265"/>
                  <a:pt x="1543" y="265"/>
                </a:cubicBezTo>
                <a:cubicBezTo>
                  <a:pt x="1548" y="265"/>
                  <a:pt x="1551" y="262"/>
                  <a:pt x="1551" y="258"/>
                </a:cubicBezTo>
                <a:cubicBezTo>
                  <a:pt x="1551" y="255"/>
                  <a:pt x="1548" y="252"/>
                  <a:pt x="1543" y="252"/>
                </a:cubicBezTo>
                <a:close/>
                <a:moveTo>
                  <a:pt x="1543" y="271"/>
                </a:moveTo>
                <a:cubicBezTo>
                  <a:pt x="1539" y="271"/>
                  <a:pt x="1536" y="274"/>
                  <a:pt x="1536" y="278"/>
                </a:cubicBezTo>
                <a:cubicBezTo>
                  <a:pt x="1536" y="282"/>
                  <a:pt x="1539" y="285"/>
                  <a:pt x="1543" y="285"/>
                </a:cubicBezTo>
                <a:cubicBezTo>
                  <a:pt x="1548" y="285"/>
                  <a:pt x="1551" y="282"/>
                  <a:pt x="1551" y="278"/>
                </a:cubicBezTo>
                <a:cubicBezTo>
                  <a:pt x="1551" y="274"/>
                  <a:pt x="1548" y="271"/>
                  <a:pt x="1543" y="271"/>
                </a:cubicBezTo>
                <a:close/>
                <a:moveTo>
                  <a:pt x="1232" y="329"/>
                </a:moveTo>
                <a:cubicBezTo>
                  <a:pt x="1228" y="329"/>
                  <a:pt x="1224" y="332"/>
                  <a:pt x="1224" y="335"/>
                </a:cubicBezTo>
                <a:cubicBezTo>
                  <a:pt x="1224" y="339"/>
                  <a:pt x="1228" y="342"/>
                  <a:pt x="1232" y="342"/>
                </a:cubicBezTo>
                <a:cubicBezTo>
                  <a:pt x="1236" y="342"/>
                  <a:pt x="1240" y="339"/>
                  <a:pt x="1240" y="335"/>
                </a:cubicBezTo>
                <a:cubicBezTo>
                  <a:pt x="1240" y="332"/>
                  <a:pt x="1236" y="329"/>
                  <a:pt x="1232" y="329"/>
                </a:cubicBezTo>
                <a:close/>
                <a:moveTo>
                  <a:pt x="1255" y="329"/>
                </a:moveTo>
                <a:cubicBezTo>
                  <a:pt x="1251" y="329"/>
                  <a:pt x="1247" y="332"/>
                  <a:pt x="1247" y="335"/>
                </a:cubicBezTo>
                <a:cubicBezTo>
                  <a:pt x="1247" y="339"/>
                  <a:pt x="1251" y="342"/>
                  <a:pt x="1255" y="342"/>
                </a:cubicBezTo>
                <a:cubicBezTo>
                  <a:pt x="1259" y="342"/>
                  <a:pt x="1263" y="339"/>
                  <a:pt x="1263" y="335"/>
                </a:cubicBezTo>
                <a:cubicBezTo>
                  <a:pt x="1263" y="332"/>
                  <a:pt x="1259" y="329"/>
                  <a:pt x="1255" y="329"/>
                </a:cubicBezTo>
                <a:close/>
                <a:moveTo>
                  <a:pt x="1232" y="348"/>
                </a:moveTo>
                <a:cubicBezTo>
                  <a:pt x="1228" y="348"/>
                  <a:pt x="1224" y="351"/>
                  <a:pt x="1224" y="355"/>
                </a:cubicBezTo>
                <a:cubicBezTo>
                  <a:pt x="1224" y="359"/>
                  <a:pt x="1228" y="362"/>
                  <a:pt x="1232" y="362"/>
                </a:cubicBezTo>
                <a:cubicBezTo>
                  <a:pt x="1236" y="362"/>
                  <a:pt x="1240" y="359"/>
                  <a:pt x="1240" y="355"/>
                </a:cubicBezTo>
                <a:cubicBezTo>
                  <a:pt x="1240" y="351"/>
                  <a:pt x="1236" y="348"/>
                  <a:pt x="1232" y="348"/>
                </a:cubicBezTo>
                <a:close/>
                <a:moveTo>
                  <a:pt x="1255" y="348"/>
                </a:moveTo>
                <a:cubicBezTo>
                  <a:pt x="1251" y="348"/>
                  <a:pt x="1247" y="351"/>
                  <a:pt x="1247" y="355"/>
                </a:cubicBezTo>
                <a:cubicBezTo>
                  <a:pt x="1247" y="359"/>
                  <a:pt x="1251" y="362"/>
                  <a:pt x="1255" y="362"/>
                </a:cubicBezTo>
                <a:cubicBezTo>
                  <a:pt x="1259" y="362"/>
                  <a:pt x="1263" y="359"/>
                  <a:pt x="1263" y="355"/>
                </a:cubicBezTo>
                <a:cubicBezTo>
                  <a:pt x="1263" y="351"/>
                  <a:pt x="1259" y="348"/>
                  <a:pt x="1255" y="348"/>
                </a:cubicBezTo>
                <a:close/>
                <a:moveTo>
                  <a:pt x="1232" y="368"/>
                </a:moveTo>
                <a:cubicBezTo>
                  <a:pt x="1228" y="368"/>
                  <a:pt x="1224" y="371"/>
                  <a:pt x="1224" y="374"/>
                </a:cubicBezTo>
                <a:cubicBezTo>
                  <a:pt x="1224" y="378"/>
                  <a:pt x="1228" y="381"/>
                  <a:pt x="1232" y="381"/>
                </a:cubicBezTo>
                <a:cubicBezTo>
                  <a:pt x="1236" y="381"/>
                  <a:pt x="1240" y="378"/>
                  <a:pt x="1240" y="374"/>
                </a:cubicBezTo>
                <a:cubicBezTo>
                  <a:pt x="1240" y="371"/>
                  <a:pt x="1236" y="368"/>
                  <a:pt x="1232" y="368"/>
                </a:cubicBezTo>
                <a:close/>
                <a:moveTo>
                  <a:pt x="1255" y="368"/>
                </a:moveTo>
                <a:cubicBezTo>
                  <a:pt x="1251" y="368"/>
                  <a:pt x="1247" y="371"/>
                  <a:pt x="1247" y="374"/>
                </a:cubicBezTo>
                <a:cubicBezTo>
                  <a:pt x="1247" y="378"/>
                  <a:pt x="1251" y="381"/>
                  <a:pt x="1255" y="381"/>
                </a:cubicBezTo>
                <a:cubicBezTo>
                  <a:pt x="1259" y="381"/>
                  <a:pt x="1263" y="378"/>
                  <a:pt x="1263" y="374"/>
                </a:cubicBezTo>
                <a:cubicBezTo>
                  <a:pt x="1263" y="371"/>
                  <a:pt x="1259" y="368"/>
                  <a:pt x="1255" y="368"/>
                </a:cubicBezTo>
                <a:close/>
                <a:moveTo>
                  <a:pt x="1232" y="387"/>
                </a:moveTo>
                <a:cubicBezTo>
                  <a:pt x="1228" y="387"/>
                  <a:pt x="1224" y="390"/>
                  <a:pt x="1224" y="393"/>
                </a:cubicBezTo>
                <a:cubicBezTo>
                  <a:pt x="1224" y="397"/>
                  <a:pt x="1228" y="400"/>
                  <a:pt x="1232" y="400"/>
                </a:cubicBezTo>
                <a:cubicBezTo>
                  <a:pt x="1236" y="400"/>
                  <a:pt x="1240" y="397"/>
                  <a:pt x="1240" y="393"/>
                </a:cubicBezTo>
                <a:cubicBezTo>
                  <a:pt x="1240" y="390"/>
                  <a:pt x="1236" y="387"/>
                  <a:pt x="1232" y="387"/>
                </a:cubicBezTo>
                <a:close/>
                <a:moveTo>
                  <a:pt x="1255" y="387"/>
                </a:moveTo>
                <a:cubicBezTo>
                  <a:pt x="1251" y="387"/>
                  <a:pt x="1247" y="390"/>
                  <a:pt x="1247" y="393"/>
                </a:cubicBezTo>
                <a:cubicBezTo>
                  <a:pt x="1247" y="397"/>
                  <a:pt x="1251" y="400"/>
                  <a:pt x="1255" y="400"/>
                </a:cubicBezTo>
                <a:cubicBezTo>
                  <a:pt x="1259" y="400"/>
                  <a:pt x="1263" y="397"/>
                  <a:pt x="1263" y="393"/>
                </a:cubicBezTo>
                <a:cubicBezTo>
                  <a:pt x="1263" y="390"/>
                  <a:pt x="1259" y="387"/>
                  <a:pt x="1255" y="387"/>
                </a:cubicBezTo>
                <a:close/>
                <a:moveTo>
                  <a:pt x="1255" y="406"/>
                </a:moveTo>
                <a:cubicBezTo>
                  <a:pt x="1251" y="406"/>
                  <a:pt x="1247" y="409"/>
                  <a:pt x="1247" y="413"/>
                </a:cubicBezTo>
                <a:cubicBezTo>
                  <a:pt x="1247" y="416"/>
                  <a:pt x="1251" y="419"/>
                  <a:pt x="1255" y="419"/>
                </a:cubicBezTo>
                <a:cubicBezTo>
                  <a:pt x="1259" y="419"/>
                  <a:pt x="1263" y="416"/>
                  <a:pt x="1263" y="413"/>
                </a:cubicBezTo>
                <a:cubicBezTo>
                  <a:pt x="1263" y="409"/>
                  <a:pt x="1259" y="406"/>
                  <a:pt x="1255" y="406"/>
                </a:cubicBezTo>
                <a:close/>
                <a:moveTo>
                  <a:pt x="1232" y="425"/>
                </a:moveTo>
                <a:cubicBezTo>
                  <a:pt x="1228" y="425"/>
                  <a:pt x="1224" y="428"/>
                  <a:pt x="1224" y="432"/>
                </a:cubicBezTo>
                <a:cubicBezTo>
                  <a:pt x="1224" y="435"/>
                  <a:pt x="1228" y="438"/>
                  <a:pt x="1232" y="438"/>
                </a:cubicBezTo>
                <a:cubicBezTo>
                  <a:pt x="1236" y="438"/>
                  <a:pt x="1240" y="435"/>
                  <a:pt x="1240" y="432"/>
                </a:cubicBezTo>
                <a:cubicBezTo>
                  <a:pt x="1240" y="428"/>
                  <a:pt x="1236" y="425"/>
                  <a:pt x="1232" y="425"/>
                </a:cubicBezTo>
                <a:close/>
                <a:moveTo>
                  <a:pt x="1299" y="290"/>
                </a:moveTo>
                <a:cubicBezTo>
                  <a:pt x="1295" y="290"/>
                  <a:pt x="1291" y="293"/>
                  <a:pt x="1291" y="296"/>
                </a:cubicBezTo>
                <a:cubicBezTo>
                  <a:pt x="1291" y="300"/>
                  <a:pt x="1295" y="303"/>
                  <a:pt x="1299" y="303"/>
                </a:cubicBezTo>
                <a:cubicBezTo>
                  <a:pt x="1303" y="303"/>
                  <a:pt x="1307" y="300"/>
                  <a:pt x="1307" y="296"/>
                </a:cubicBezTo>
                <a:cubicBezTo>
                  <a:pt x="1307" y="293"/>
                  <a:pt x="1303" y="290"/>
                  <a:pt x="1299" y="290"/>
                </a:cubicBezTo>
                <a:close/>
                <a:moveTo>
                  <a:pt x="1277" y="309"/>
                </a:moveTo>
                <a:cubicBezTo>
                  <a:pt x="1273" y="309"/>
                  <a:pt x="1269" y="312"/>
                  <a:pt x="1269" y="316"/>
                </a:cubicBezTo>
                <a:cubicBezTo>
                  <a:pt x="1269" y="320"/>
                  <a:pt x="1273" y="323"/>
                  <a:pt x="1277" y="323"/>
                </a:cubicBezTo>
                <a:cubicBezTo>
                  <a:pt x="1281" y="323"/>
                  <a:pt x="1285" y="320"/>
                  <a:pt x="1285" y="316"/>
                </a:cubicBezTo>
                <a:cubicBezTo>
                  <a:pt x="1285" y="312"/>
                  <a:pt x="1281" y="309"/>
                  <a:pt x="1277" y="309"/>
                </a:cubicBezTo>
                <a:close/>
                <a:moveTo>
                  <a:pt x="1299" y="309"/>
                </a:moveTo>
                <a:cubicBezTo>
                  <a:pt x="1295" y="309"/>
                  <a:pt x="1291" y="312"/>
                  <a:pt x="1291" y="316"/>
                </a:cubicBezTo>
                <a:cubicBezTo>
                  <a:pt x="1291" y="320"/>
                  <a:pt x="1295" y="323"/>
                  <a:pt x="1299" y="323"/>
                </a:cubicBezTo>
                <a:cubicBezTo>
                  <a:pt x="1303" y="323"/>
                  <a:pt x="1307" y="320"/>
                  <a:pt x="1307" y="316"/>
                </a:cubicBezTo>
                <a:cubicBezTo>
                  <a:pt x="1307" y="312"/>
                  <a:pt x="1303" y="309"/>
                  <a:pt x="1299" y="309"/>
                </a:cubicBezTo>
                <a:close/>
                <a:moveTo>
                  <a:pt x="1277" y="329"/>
                </a:moveTo>
                <a:cubicBezTo>
                  <a:pt x="1273" y="329"/>
                  <a:pt x="1269" y="332"/>
                  <a:pt x="1269" y="335"/>
                </a:cubicBezTo>
                <a:cubicBezTo>
                  <a:pt x="1269" y="339"/>
                  <a:pt x="1273" y="342"/>
                  <a:pt x="1277" y="342"/>
                </a:cubicBezTo>
                <a:cubicBezTo>
                  <a:pt x="1281" y="342"/>
                  <a:pt x="1285" y="339"/>
                  <a:pt x="1285" y="335"/>
                </a:cubicBezTo>
                <a:cubicBezTo>
                  <a:pt x="1285" y="332"/>
                  <a:pt x="1281" y="329"/>
                  <a:pt x="1277" y="329"/>
                </a:cubicBezTo>
                <a:close/>
                <a:moveTo>
                  <a:pt x="1299" y="329"/>
                </a:moveTo>
                <a:cubicBezTo>
                  <a:pt x="1295" y="329"/>
                  <a:pt x="1291" y="332"/>
                  <a:pt x="1291" y="335"/>
                </a:cubicBezTo>
                <a:cubicBezTo>
                  <a:pt x="1291" y="339"/>
                  <a:pt x="1295" y="342"/>
                  <a:pt x="1299" y="342"/>
                </a:cubicBezTo>
                <a:cubicBezTo>
                  <a:pt x="1303" y="342"/>
                  <a:pt x="1307" y="339"/>
                  <a:pt x="1307" y="335"/>
                </a:cubicBezTo>
                <a:cubicBezTo>
                  <a:pt x="1307" y="332"/>
                  <a:pt x="1303" y="329"/>
                  <a:pt x="1299" y="329"/>
                </a:cubicBezTo>
                <a:close/>
                <a:moveTo>
                  <a:pt x="1277" y="348"/>
                </a:moveTo>
                <a:cubicBezTo>
                  <a:pt x="1273" y="348"/>
                  <a:pt x="1269" y="351"/>
                  <a:pt x="1269" y="355"/>
                </a:cubicBezTo>
                <a:cubicBezTo>
                  <a:pt x="1269" y="359"/>
                  <a:pt x="1273" y="362"/>
                  <a:pt x="1277" y="362"/>
                </a:cubicBezTo>
                <a:cubicBezTo>
                  <a:pt x="1281" y="362"/>
                  <a:pt x="1285" y="359"/>
                  <a:pt x="1285" y="355"/>
                </a:cubicBezTo>
                <a:cubicBezTo>
                  <a:pt x="1285" y="351"/>
                  <a:pt x="1281" y="348"/>
                  <a:pt x="1277" y="348"/>
                </a:cubicBezTo>
                <a:close/>
                <a:moveTo>
                  <a:pt x="1299" y="348"/>
                </a:moveTo>
                <a:cubicBezTo>
                  <a:pt x="1295" y="348"/>
                  <a:pt x="1291" y="351"/>
                  <a:pt x="1291" y="355"/>
                </a:cubicBezTo>
                <a:cubicBezTo>
                  <a:pt x="1291" y="359"/>
                  <a:pt x="1295" y="362"/>
                  <a:pt x="1299" y="362"/>
                </a:cubicBezTo>
                <a:cubicBezTo>
                  <a:pt x="1303" y="362"/>
                  <a:pt x="1307" y="359"/>
                  <a:pt x="1307" y="355"/>
                </a:cubicBezTo>
                <a:cubicBezTo>
                  <a:pt x="1307" y="351"/>
                  <a:pt x="1303" y="348"/>
                  <a:pt x="1299" y="348"/>
                </a:cubicBezTo>
                <a:close/>
                <a:moveTo>
                  <a:pt x="1277" y="368"/>
                </a:moveTo>
                <a:cubicBezTo>
                  <a:pt x="1273" y="368"/>
                  <a:pt x="1269" y="371"/>
                  <a:pt x="1269" y="374"/>
                </a:cubicBezTo>
                <a:cubicBezTo>
                  <a:pt x="1269" y="378"/>
                  <a:pt x="1273" y="381"/>
                  <a:pt x="1277" y="381"/>
                </a:cubicBezTo>
                <a:cubicBezTo>
                  <a:pt x="1281" y="381"/>
                  <a:pt x="1285" y="378"/>
                  <a:pt x="1285" y="374"/>
                </a:cubicBezTo>
                <a:cubicBezTo>
                  <a:pt x="1285" y="371"/>
                  <a:pt x="1281" y="368"/>
                  <a:pt x="1277" y="368"/>
                </a:cubicBezTo>
                <a:close/>
                <a:moveTo>
                  <a:pt x="1299" y="368"/>
                </a:moveTo>
                <a:cubicBezTo>
                  <a:pt x="1295" y="368"/>
                  <a:pt x="1291" y="371"/>
                  <a:pt x="1291" y="374"/>
                </a:cubicBezTo>
                <a:cubicBezTo>
                  <a:pt x="1291" y="378"/>
                  <a:pt x="1295" y="381"/>
                  <a:pt x="1299" y="381"/>
                </a:cubicBezTo>
                <a:cubicBezTo>
                  <a:pt x="1303" y="381"/>
                  <a:pt x="1307" y="378"/>
                  <a:pt x="1307" y="374"/>
                </a:cubicBezTo>
                <a:cubicBezTo>
                  <a:pt x="1307" y="371"/>
                  <a:pt x="1303" y="368"/>
                  <a:pt x="1299" y="368"/>
                </a:cubicBezTo>
                <a:close/>
                <a:moveTo>
                  <a:pt x="1277" y="387"/>
                </a:moveTo>
                <a:cubicBezTo>
                  <a:pt x="1273" y="387"/>
                  <a:pt x="1269" y="390"/>
                  <a:pt x="1269" y="393"/>
                </a:cubicBezTo>
                <a:cubicBezTo>
                  <a:pt x="1269" y="397"/>
                  <a:pt x="1273" y="400"/>
                  <a:pt x="1277" y="400"/>
                </a:cubicBezTo>
                <a:cubicBezTo>
                  <a:pt x="1281" y="400"/>
                  <a:pt x="1285" y="397"/>
                  <a:pt x="1285" y="393"/>
                </a:cubicBezTo>
                <a:cubicBezTo>
                  <a:pt x="1285" y="390"/>
                  <a:pt x="1281" y="387"/>
                  <a:pt x="1277" y="387"/>
                </a:cubicBezTo>
                <a:close/>
                <a:moveTo>
                  <a:pt x="1299" y="387"/>
                </a:moveTo>
                <a:cubicBezTo>
                  <a:pt x="1295" y="387"/>
                  <a:pt x="1291" y="390"/>
                  <a:pt x="1291" y="393"/>
                </a:cubicBezTo>
                <a:cubicBezTo>
                  <a:pt x="1291" y="397"/>
                  <a:pt x="1295" y="400"/>
                  <a:pt x="1299" y="400"/>
                </a:cubicBezTo>
                <a:cubicBezTo>
                  <a:pt x="1303" y="400"/>
                  <a:pt x="1307" y="397"/>
                  <a:pt x="1307" y="393"/>
                </a:cubicBezTo>
                <a:cubicBezTo>
                  <a:pt x="1307" y="390"/>
                  <a:pt x="1303" y="387"/>
                  <a:pt x="1299" y="387"/>
                </a:cubicBezTo>
                <a:close/>
                <a:moveTo>
                  <a:pt x="1277" y="406"/>
                </a:moveTo>
                <a:cubicBezTo>
                  <a:pt x="1273" y="406"/>
                  <a:pt x="1269" y="409"/>
                  <a:pt x="1269" y="413"/>
                </a:cubicBezTo>
                <a:cubicBezTo>
                  <a:pt x="1269" y="416"/>
                  <a:pt x="1273" y="419"/>
                  <a:pt x="1277" y="419"/>
                </a:cubicBezTo>
                <a:cubicBezTo>
                  <a:pt x="1281" y="419"/>
                  <a:pt x="1285" y="416"/>
                  <a:pt x="1285" y="413"/>
                </a:cubicBezTo>
                <a:cubicBezTo>
                  <a:pt x="1285" y="409"/>
                  <a:pt x="1281" y="406"/>
                  <a:pt x="1277" y="406"/>
                </a:cubicBezTo>
                <a:close/>
                <a:moveTo>
                  <a:pt x="1299" y="406"/>
                </a:moveTo>
                <a:cubicBezTo>
                  <a:pt x="1295" y="406"/>
                  <a:pt x="1291" y="409"/>
                  <a:pt x="1291" y="413"/>
                </a:cubicBezTo>
                <a:cubicBezTo>
                  <a:pt x="1291" y="416"/>
                  <a:pt x="1295" y="419"/>
                  <a:pt x="1299" y="419"/>
                </a:cubicBezTo>
                <a:cubicBezTo>
                  <a:pt x="1303" y="419"/>
                  <a:pt x="1307" y="416"/>
                  <a:pt x="1307" y="413"/>
                </a:cubicBezTo>
                <a:cubicBezTo>
                  <a:pt x="1307" y="409"/>
                  <a:pt x="1303" y="406"/>
                  <a:pt x="1299" y="406"/>
                </a:cubicBezTo>
                <a:close/>
                <a:moveTo>
                  <a:pt x="1277" y="425"/>
                </a:moveTo>
                <a:cubicBezTo>
                  <a:pt x="1273" y="425"/>
                  <a:pt x="1269" y="428"/>
                  <a:pt x="1269" y="432"/>
                </a:cubicBezTo>
                <a:cubicBezTo>
                  <a:pt x="1269" y="435"/>
                  <a:pt x="1273" y="438"/>
                  <a:pt x="1277" y="438"/>
                </a:cubicBezTo>
                <a:cubicBezTo>
                  <a:pt x="1281" y="438"/>
                  <a:pt x="1285" y="435"/>
                  <a:pt x="1285" y="432"/>
                </a:cubicBezTo>
                <a:cubicBezTo>
                  <a:pt x="1285" y="428"/>
                  <a:pt x="1281" y="425"/>
                  <a:pt x="1277" y="425"/>
                </a:cubicBezTo>
                <a:close/>
                <a:moveTo>
                  <a:pt x="1299" y="425"/>
                </a:moveTo>
                <a:cubicBezTo>
                  <a:pt x="1295" y="425"/>
                  <a:pt x="1291" y="428"/>
                  <a:pt x="1291" y="432"/>
                </a:cubicBezTo>
                <a:cubicBezTo>
                  <a:pt x="1291" y="435"/>
                  <a:pt x="1295" y="438"/>
                  <a:pt x="1299" y="438"/>
                </a:cubicBezTo>
                <a:cubicBezTo>
                  <a:pt x="1303" y="438"/>
                  <a:pt x="1307" y="435"/>
                  <a:pt x="1307" y="432"/>
                </a:cubicBezTo>
                <a:cubicBezTo>
                  <a:pt x="1307" y="428"/>
                  <a:pt x="1303" y="425"/>
                  <a:pt x="1299" y="425"/>
                </a:cubicBezTo>
                <a:close/>
                <a:moveTo>
                  <a:pt x="1321" y="290"/>
                </a:moveTo>
                <a:cubicBezTo>
                  <a:pt x="1317" y="290"/>
                  <a:pt x="1313" y="293"/>
                  <a:pt x="1313" y="296"/>
                </a:cubicBezTo>
                <a:cubicBezTo>
                  <a:pt x="1313" y="300"/>
                  <a:pt x="1317" y="303"/>
                  <a:pt x="1321" y="303"/>
                </a:cubicBezTo>
                <a:cubicBezTo>
                  <a:pt x="1325" y="303"/>
                  <a:pt x="1328" y="300"/>
                  <a:pt x="1328" y="296"/>
                </a:cubicBezTo>
                <a:cubicBezTo>
                  <a:pt x="1328" y="293"/>
                  <a:pt x="1325" y="290"/>
                  <a:pt x="1321" y="290"/>
                </a:cubicBezTo>
                <a:close/>
                <a:moveTo>
                  <a:pt x="1344" y="290"/>
                </a:moveTo>
                <a:cubicBezTo>
                  <a:pt x="1339" y="290"/>
                  <a:pt x="1336" y="293"/>
                  <a:pt x="1336" y="296"/>
                </a:cubicBezTo>
                <a:cubicBezTo>
                  <a:pt x="1336" y="300"/>
                  <a:pt x="1339" y="303"/>
                  <a:pt x="1344" y="303"/>
                </a:cubicBezTo>
                <a:cubicBezTo>
                  <a:pt x="1348" y="303"/>
                  <a:pt x="1351" y="300"/>
                  <a:pt x="1351" y="296"/>
                </a:cubicBezTo>
                <a:cubicBezTo>
                  <a:pt x="1351" y="293"/>
                  <a:pt x="1348" y="290"/>
                  <a:pt x="1344" y="290"/>
                </a:cubicBezTo>
                <a:close/>
                <a:moveTo>
                  <a:pt x="1321" y="309"/>
                </a:moveTo>
                <a:cubicBezTo>
                  <a:pt x="1317" y="309"/>
                  <a:pt x="1313" y="312"/>
                  <a:pt x="1313" y="316"/>
                </a:cubicBezTo>
                <a:cubicBezTo>
                  <a:pt x="1313" y="320"/>
                  <a:pt x="1317" y="323"/>
                  <a:pt x="1321" y="323"/>
                </a:cubicBezTo>
                <a:cubicBezTo>
                  <a:pt x="1325" y="323"/>
                  <a:pt x="1328" y="320"/>
                  <a:pt x="1328" y="316"/>
                </a:cubicBezTo>
                <a:cubicBezTo>
                  <a:pt x="1328" y="312"/>
                  <a:pt x="1325" y="309"/>
                  <a:pt x="1321" y="309"/>
                </a:cubicBezTo>
                <a:close/>
                <a:moveTo>
                  <a:pt x="1344" y="309"/>
                </a:moveTo>
                <a:cubicBezTo>
                  <a:pt x="1339" y="309"/>
                  <a:pt x="1336" y="312"/>
                  <a:pt x="1336" y="316"/>
                </a:cubicBezTo>
                <a:cubicBezTo>
                  <a:pt x="1336" y="320"/>
                  <a:pt x="1339" y="323"/>
                  <a:pt x="1344" y="323"/>
                </a:cubicBezTo>
                <a:cubicBezTo>
                  <a:pt x="1348" y="323"/>
                  <a:pt x="1351" y="320"/>
                  <a:pt x="1351" y="316"/>
                </a:cubicBezTo>
                <a:cubicBezTo>
                  <a:pt x="1351" y="312"/>
                  <a:pt x="1348" y="309"/>
                  <a:pt x="1344" y="309"/>
                </a:cubicBezTo>
                <a:close/>
                <a:moveTo>
                  <a:pt x="1321" y="329"/>
                </a:moveTo>
                <a:cubicBezTo>
                  <a:pt x="1317" y="329"/>
                  <a:pt x="1313" y="332"/>
                  <a:pt x="1313" y="335"/>
                </a:cubicBezTo>
                <a:cubicBezTo>
                  <a:pt x="1313" y="339"/>
                  <a:pt x="1317" y="342"/>
                  <a:pt x="1321" y="342"/>
                </a:cubicBezTo>
                <a:cubicBezTo>
                  <a:pt x="1325" y="342"/>
                  <a:pt x="1328" y="339"/>
                  <a:pt x="1328" y="335"/>
                </a:cubicBezTo>
                <a:cubicBezTo>
                  <a:pt x="1328" y="332"/>
                  <a:pt x="1325" y="329"/>
                  <a:pt x="1321" y="329"/>
                </a:cubicBezTo>
                <a:close/>
                <a:moveTo>
                  <a:pt x="1344" y="329"/>
                </a:moveTo>
                <a:cubicBezTo>
                  <a:pt x="1339" y="329"/>
                  <a:pt x="1336" y="332"/>
                  <a:pt x="1336" y="335"/>
                </a:cubicBezTo>
                <a:cubicBezTo>
                  <a:pt x="1336" y="339"/>
                  <a:pt x="1339" y="342"/>
                  <a:pt x="1344" y="342"/>
                </a:cubicBezTo>
                <a:cubicBezTo>
                  <a:pt x="1348" y="342"/>
                  <a:pt x="1351" y="339"/>
                  <a:pt x="1351" y="335"/>
                </a:cubicBezTo>
                <a:cubicBezTo>
                  <a:pt x="1351" y="332"/>
                  <a:pt x="1348" y="329"/>
                  <a:pt x="1344" y="329"/>
                </a:cubicBezTo>
                <a:close/>
                <a:moveTo>
                  <a:pt x="1321" y="348"/>
                </a:moveTo>
                <a:cubicBezTo>
                  <a:pt x="1317" y="348"/>
                  <a:pt x="1313" y="351"/>
                  <a:pt x="1313" y="355"/>
                </a:cubicBezTo>
                <a:cubicBezTo>
                  <a:pt x="1313" y="359"/>
                  <a:pt x="1317" y="362"/>
                  <a:pt x="1321" y="362"/>
                </a:cubicBezTo>
                <a:cubicBezTo>
                  <a:pt x="1325" y="362"/>
                  <a:pt x="1328" y="359"/>
                  <a:pt x="1328" y="355"/>
                </a:cubicBezTo>
                <a:cubicBezTo>
                  <a:pt x="1328" y="351"/>
                  <a:pt x="1325" y="348"/>
                  <a:pt x="1321" y="348"/>
                </a:cubicBezTo>
                <a:close/>
                <a:moveTo>
                  <a:pt x="1344" y="348"/>
                </a:moveTo>
                <a:cubicBezTo>
                  <a:pt x="1339" y="348"/>
                  <a:pt x="1336" y="351"/>
                  <a:pt x="1336" y="355"/>
                </a:cubicBezTo>
                <a:cubicBezTo>
                  <a:pt x="1336" y="359"/>
                  <a:pt x="1339" y="362"/>
                  <a:pt x="1344" y="362"/>
                </a:cubicBezTo>
                <a:cubicBezTo>
                  <a:pt x="1348" y="362"/>
                  <a:pt x="1351" y="359"/>
                  <a:pt x="1351" y="355"/>
                </a:cubicBezTo>
                <a:cubicBezTo>
                  <a:pt x="1351" y="351"/>
                  <a:pt x="1348" y="348"/>
                  <a:pt x="1344" y="348"/>
                </a:cubicBezTo>
                <a:close/>
                <a:moveTo>
                  <a:pt x="1321" y="368"/>
                </a:moveTo>
                <a:cubicBezTo>
                  <a:pt x="1317" y="368"/>
                  <a:pt x="1313" y="371"/>
                  <a:pt x="1313" y="374"/>
                </a:cubicBezTo>
                <a:cubicBezTo>
                  <a:pt x="1313" y="378"/>
                  <a:pt x="1317" y="381"/>
                  <a:pt x="1321" y="381"/>
                </a:cubicBezTo>
                <a:cubicBezTo>
                  <a:pt x="1325" y="381"/>
                  <a:pt x="1328" y="378"/>
                  <a:pt x="1328" y="374"/>
                </a:cubicBezTo>
                <a:cubicBezTo>
                  <a:pt x="1328" y="371"/>
                  <a:pt x="1325" y="368"/>
                  <a:pt x="1321" y="368"/>
                </a:cubicBezTo>
                <a:close/>
                <a:moveTo>
                  <a:pt x="1344" y="368"/>
                </a:moveTo>
                <a:cubicBezTo>
                  <a:pt x="1339" y="368"/>
                  <a:pt x="1336" y="371"/>
                  <a:pt x="1336" y="374"/>
                </a:cubicBezTo>
                <a:cubicBezTo>
                  <a:pt x="1336" y="378"/>
                  <a:pt x="1339" y="381"/>
                  <a:pt x="1344" y="381"/>
                </a:cubicBezTo>
                <a:cubicBezTo>
                  <a:pt x="1348" y="381"/>
                  <a:pt x="1351" y="378"/>
                  <a:pt x="1351" y="374"/>
                </a:cubicBezTo>
                <a:cubicBezTo>
                  <a:pt x="1351" y="371"/>
                  <a:pt x="1348" y="368"/>
                  <a:pt x="1344" y="368"/>
                </a:cubicBezTo>
                <a:close/>
                <a:moveTo>
                  <a:pt x="1321" y="387"/>
                </a:moveTo>
                <a:cubicBezTo>
                  <a:pt x="1317" y="387"/>
                  <a:pt x="1313" y="390"/>
                  <a:pt x="1313" y="393"/>
                </a:cubicBezTo>
                <a:cubicBezTo>
                  <a:pt x="1313" y="397"/>
                  <a:pt x="1317" y="400"/>
                  <a:pt x="1321" y="400"/>
                </a:cubicBezTo>
                <a:cubicBezTo>
                  <a:pt x="1325" y="400"/>
                  <a:pt x="1328" y="397"/>
                  <a:pt x="1328" y="393"/>
                </a:cubicBezTo>
                <a:cubicBezTo>
                  <a:pt x="1328" y="390"/>
                  <a:pt x="1325" y="387"/>
                  <a:pt x="1321" y="387"/>
                </a:cubicBezTo>
                <a:close/>
                <a:moveTo>
                  <a:pt x="1344" y="387"/>
                </a:moveTo>
                <a:cubicBezTo>
                  <a:pt x="1339" y="387"/>
                  <a:pt x="1336" y="390"/>
                  <a:pt x="1336" y="393"/>
                </a:cubicBezTo>
                <a:cubicBezTo>
                  <a:pt x="1336" y="397"/>
                  <a:pt x="1339" y="400"/>
                  <a:pt x="1344" y="400"/>
                </a:cubicBezTo>
                <a:cubicBezTo>
                  <a:pt x="1348" y="400"/>
                  <a:pt x="1351" y="397"/>
                  <a:pt x="1351" y="393"/>
                </a:cubicBezTo>
                <a:cubicBezTo>
                  <a:pt x="1351" y="390"/>
                  <a:pt x="1348" y="387"/>
                  <a:pt x="1344" y="387"/>
                </a:cubicBezTo>
                <a:close/>
                <a:moveTo>
                  <a:pt x="1321" y="406"/>
                </a:moveTo>
                <a:cubicBezTo>
                  <a:pt x="1317" y="406"/>
                  <a:pt x="1313" y="409"/>
                  <a:pt x="1313" y="413"/>
                </a:cubicBezTo>
                <a:cubicBezTo>
                  <a:pt x="1313" y="416"/>
                  <a:pt x="1317" y="419"/>
                  <a:pt x="1321" y="419"/>
                </a:cubicBezTo>
                <a:cubicBezTo>
                  <a:pt x="1325" y="419"/>
                  <a:pt x="1328" y="416"/>
                  <a:pt x="1328" y="413"/>
                </a:cubicBezTo>
                <a:cubicBezTo>
                  <a:pt x="1328" y="409"/>
                  <a:pt x="1325" y="406"/>
                  <a:pt x="1321" y="406"/>
                </a:cubicBezTo>
                <a:close/>
                <a:moveTo>
                  <a:pt x="1366" y="290"/>
                </a:moveTo>
                <a:cubicBezTo>
                  <a:pt x="1362" y="290"/>
                  <a:pt x="1358" y="293"/>
                  <a:pt x="1358" y="296"/>
                </a:cubicBezTo>
                <a:cubicBezTo>
                  <a:pt x="1358" y="300"/>
                  <a:pt x="1362" y="303"/>
                  <a:pt x="1366" y="303"/>
                </a:cubicBezTo>
                <a:cubicBezTo>
                  <a:pt x="1370" y="303"/>
                  <a:pt x="1373" y="300"/>
                  <a:pt x="1373" y="296"/>
                </a:cubicBezTo>
                <a:cubicBezTo>
                  <a:pt x="1373" y="293"/>
                  <a:pt x="1370" y="290"/>
                  <a:pt x="1366" y="290"/>
                </a:cubicBezTo>
                <a:close/>
                <a:moveTo>
                  <a:pt x="1388" y="290"/>
                </a:moveTo>
                <a:cubicBezTo>
                  <a:pt x="1384" y="290"/>
                  <a:pt x="1380" y="293"/>
                  <a:pt x="1380" y="296"/>
                </a:cubicBezTo>
                <a:cubicBezTo>
                  <a:pt x="1380" y="300"/>
                  <a:pt x="1384" y="303"/>
                  <a:pt x="1388" y="303"/>
                </a:cubicBezTo>
                <a:cubicBezTo>
                  <a:pt x="1392" y="303"/>
                  <a:pt x="1396" y="300"/>
                  <a:pt x="1396" y="296"/>
                </a:cubicBezTo>
                <a:cubicBezTo>
                  <a:pt x="1396" y="293"/>
                  <a:pt x="1392" y="290"/>
                  <a:pt x="1388" y="290"/>
                </a:cubicBezTo>
                <a:close/>
                <a:moveTo>
                  <a:pt x="1366" y="309"/>
                </a:moveTo>
                <a:cubicBezTo>
                  <a:pt x="1362" y="309"/>
                  <a:pt x="1358" y="312"/>
                  <a:pt x="1358" y="316"/>
                </a:cubicBezTo>
                <a:cubicBezTo>
                  <a:pt x="1358" y="320"/>
                  <a:pt x="1362" y="323"/>
                  <a:pt x="1366" y="323"/>
                </a:cubicBezTo>
                <a:cubicBezTo>
                  <a:pt x="1370" y="323"/>
                  <a:pt x="1373" y="320"/>
                  <a:pt x="1373" y="316"/>
                </a:cubicBezTo>
                <a:cubicBezTo>
                  <a:pt x="1373" y="312"/>
                  <a:pt x="1370" y="309"/>
                  <a:pt x="1366" y="309"/>
                </a:cubicBezTo>
                <a:close/>
                <a:moveTo>
                  <a:pt x="1388" y="309"/>
                </a:moveTo>
                <a:cubicBezTo>
                  <a:pt x="1384" y="309"/>
                  <a:pt x="1380" y="312"/>
                  <a:pt x="1380" y="316"/>
                </a:cubicBezTo>
                <a:cubicBezTo>
                  <a:pt x="1380" y="320"/>
                  <a:pt x="1384" y="323"/>
                  <a:pt x="1388" y="323"/>
                </a:cubicBezTo>
                <a:cubicBezTo>
                  <a:pt x="1392" y="323"/>
                  <a:pt x="1396" y="320"/>
                  <a:pt x="1396" y="316"/>
                </a:cubicBezTo>
                <a:cubicBezTo>
                  <a:pt x="1396" y="312"/>
                  <a:pt x="1392" y="309"/>
                  <a:pt x="1388" y="309"/>
                </a:cubicBezTo>
                <a:close/>
                <a:moveTo>
                  <a:pt x="1366" y="329"/>
                </a:moveTo>
                <a:cubicBezTo>
                  <a:pt x="1362" y="329"/>
                  <a:pt x="1358" y="332"/>
                  <a:pt x="1358" y="335"/>
                </a:cubicBezTo>
                <a:cubicBezTo>
                  <a:pt x="1358" y="339"/>
                  <a:pt x="1362" y="342"/>
                  <a:pt x="1366" y="342"/>
                </a:cubicBezTo>
                <a:cubicBezTo>
                  <a:pt x="1370" y="342"/>
                  <a:pt x="1373" y="339"/>
                  <a:pt x="1373" y="335"/>
                </a:cubicBezTo>
                <a:cubicBezTo>
                  <a:pt x="1373" y="332"/>
                  <a:pt x="1370" y="329"/>
                  <a:pt x="1366" y="329"/>
                </a:cubicBezTo>
                <a:close/>
                <a:moveTo>
                  <a:pt x="1388" y="329"/>
                </a:moveTo>
                <a:cubicBezTo>
                  <a:pt x="1384" y="329"/>
                  <a:pt x="1380" y="332"/>
                  <a:pt x="1380" y="335"/>
                </a:cubicBezTo>
                <a:cubicBezTo>
                  <a:pt x="1380" y="339"/>
                  <a:pt x="1384" y="342"/>
                  <a:pt x="1388" y="342"/>
                </a:cubicBezTo>
                <a:cubicBezTo>
                  <a:pt x="1392" y="342"/>
                  <a:pt x="1396" y="339"/>
                  <a:pt x="1396" y="335"/>
                </a:cubicBezTo>
                <a:cubicBezTo>
                  <a:pt x="1396" y="332"/>
                  <a:pt x="1392" y="329"/>
                  <a:pt x="1388" y="329"/>
                </a:cubicBezTo>
                <a:close/>
                <a:moveTo>
                  <a:pt x="1366" y="348"/>
                </a:moveTo>
                <a:cubicBezTo>
                  <a:pt x="1362" y="348"/>
                  <a:pt x="1358" y="351"/>
                  <a:pt x="1358" y="355"/>
                </a:cubicBezTo>
                <a:cubicBezTo>
                  <a:pt x="1358" y="359"/>
                  <a:pt x="1362" y="362"/>
                  <a:pt x="1366" y="362"/>
                </a:cubicBezTo>
                <a:cubicBezTo>
                  <a:pt x="1370" y="362"/>
                  <a:pt x="1373" y="359"/>
                  <a:pt x="1373" y="355"/>
                </a:cubicBezTo>
                <a:cubicBezTo>
                  <a:pt x="1373" y="351"/>
                  <a:pt x="1370" y="348"/>
                  <a:pt x="1366" y="348"/>
                </a:cubicBezTo>
                <a:close/>
                <a:moveTo>
                  <a:pt x="1388" y="348"/>
                </a:moveTo>
                <a:cubicBezTo>
                  <a:pt x="1384" y="348"/>
                  <a:pt x="1380" y="351"/>
                  <a:pt x="1380" y="355"/>
                </a:cubicBezTo>
                <a:cubicBezTo>
                  <a:pt x="1380" y="359"/>
                  <a:pt x="1384" y="362"/>
                  <a:pt x="1388" y="362"/>
                </a:cubicBezTo>
                <a:cubicBezTo>
                  <a:pt x="1392" y="362"/>
                  <a:pt x="1396" y="359"/>
                  <a:pt x="1396" y="355"/>
                </a:cubicBezTo>
                <a:cubicBezTo>
                  <a:pt x="1396" y="351"/>
                  <a:pt x="1392" y="348"/>
                  <a:pt x="1388" y="348"/>
                </a:cubicBezTo>
                <a:close/>
                <a:moveTo>
                  <a:pt x="1366" y="368"/>
                </a:moveTo>
                <a:cubicBezTo>
                  <a:pt x="1362" y="368"/>
                  <a:pt x="1358" y="371"/>
                  <a:pt x="1358" y="374"/>
                </a:cubicBezTo>
                <a:cubicBezTo>
                  <a:pt x="1358" y="378"/>
                  <a:pt x="1362" y="381"/>
                  <a:pt x="1366" y="381"/>
                </a:cubicBezTo>
                <a:cubicBezTo>
                  <a:pt x="1370" y="381"/>
                  <a:pt x="1373" y="378"/>
                  <a:pt x="1373" y="374"/>
                </a:cubicBezTo>
                <a:cubicBezTo>
                  <a:pt x="1373" y="371"/>
                  <a:pt x="1370" y="368"/>
                  <a:pt x="1366" y="368"/>
                </a:cubicBezTo>
                <a:close/>
                <a:moveTo>
                  <a:pt x="1388" y="368"/>
                </a:moveTo>
                <a:cubicBezTo>
                  <a:pt x="1384" y="368"/>
                  <a:pt x="1380" y="371"/>
                  <a:pt x="1380" y="374"/>
                </a:cubicBezTo>
                <a:cubicBezTo>
                  <a:pt x="1380" y="378"/>
                  <a:pt x="1384" y="381"/>
                  <a:pt x="1388" y="381"/>
                </a:cubicBezTo>
                <a:cubicBezTo>
                  <a:pt x="1392" y="381"/>
                  <a:pt x="1396" y="378"/>
                  <a:pt x="1396" y="374"/>
                </a:cubicBezTo>
                <a:cubicBezTo>
                  <a:pt x="1396" y="371"/>
                  <a:pt x="1392" y="368"/>
                  <a:pt x="1388" y="368"/>
                </a:cubicBezTo>
                <a:close/>
                <a:moveTo>
                  <a:pt x="1366" y="387"/>
                </a:moveTo>
                <a:cubicBezTo>
                  <a:pt x="1362" y="387"/>
                  <a:pt x="1358" y="390"/>
                  <a:pt x="1358" y="393"/>
                </a:cubicBezTo>
                <a:cubicBezTo>
                  <a:pt x="1358" y="397"/>
                  <a:pt x="1362" y="400"/>
                  <a:pt x="1366" y="400"/>
                </a:cubicBezTo>
                <a:cubicBezTo>
                  <a:pt x="1370" y="400"/>
                  <a:pt x="1373" y="397"/>
                  <a:pt x="1373" y="393"/>
                </a:cubicBezTo>
                <a:cubicBezTo>
                  <a:pt x="1373" y="390"/>
                  <a:pt x="1370" y="387"/>
                  <a:pt x="1366" y="387"/>
                </a:cubicBezTo>
                <a:close/>
                <a:moveTo>
                  <a:pt x="1388" y="387"/>
                </a:moveTo>
                <a:cubicBezTo>
                  <a:pt x="1384" y="387"/>
                  <a:pt x="1380" y="390"/>
                  <a:pt x="1380" y="393"/>
                </a:cubicBezTo>
                <a:cubicBezTo>
                  <a:pt x="1380" y="397"/>
                  <a:pt x="1384" y="400"/>
                  <a:pt x="1388" y="400"/>
                </a:cubicBezTo>
                <a:cubicBezTo>
                  <a:pt x="1392" y="400"/>
                  <a:pt x="1396" y="397"/>
                  <a:pt x="1396" y="393"/>
                </a:cubicBezTo>
                <a:cubicBezTo>
                  <a:pt x="1396" y="390"/>
                  <a:pt x="1392" y="387"/>
                  <a:pt x="1388" y="387"/>
                </a:cubicBezTo>
                <a:close/>
                <a:moveTo>
                  <a:pt x="1388" y="406"/>
                </a:moveTo>
                <a:cubicBezTo>
                  <a:pt x="1384" y="406"/>
                  <a:pt x="1380" y="409"/>
                  <a:pt x="1380" y="413"/>
                </a:cubicBezTo>
                <a:cubicBezTo>
                  <a:pt x="1380" y="416"/>
                  <a:pt x="1384" y="419"/>
                  <a:pt x="1388" y="419"/>
                </a:cubicBezTo>
                <a:cubicBezTo>
                  <a:pt x="1392" y="419"/>
                  <a:pt x="1396" y="416"/>
                  <a:pt x="1396" y="413"/>
                </a:cubicBezTo>
                <a:cubicBezTo>
                  <a:pt x="1396" y="409"/>
                  <a:pt x="1392" y="406"/>
                  <a:pt x="1388" y="406"/>
                </a:cubicBezTo>
                <a:close/>
                <a:moveTo>
                  <a:pt x="1232" y="446"/>
                </a:moveTo>
                <a:cubicBezTo>
                  <a:pt x="1228" y="446"/>
                  <a:pt x="1224" y="448"/>
                  <a:pt x="1224" y="452"/>
                </a:cubicBezTo>
                <a:cubicBezTo>
                  <a:pt x="1224" y="455"/>
                  <a:pt x="1228" y="458"/>
                  <a:pt x="1232" y="458"/>
                </a:cubicBezTo>
                <a:cubicBezTo>
                  <a:pt x="1236" y="458"/>
                  <a:pt x="1240" y="455"/>
                  <a:pt x="1240" y="452"/>
                </a:cubicBezTo>
                <a:cubicBezTo>
                  <a:pt x="1240" y="448"/>
                  <a:pt x="1236" y="446"/>
                  <a:pt x="1232" y="446"/>
                </a:cubicBezTo>
                <a:close/>
                <a:moveTo>
                  <a:pt x="1255" y="446"/>
                </a:moveTo>
                <a:cubicBezTo>
                  <a:pt x="1251" y="446"/>
                  <a:pt x="1247" y="448"/>
                  <a:pt x="1247" y="452"/>
                </a:cubicBezTo>
                <a:cubicBezTo>
                  <a:pt x="1247" y="455"/>
                  <a:pt x="1251" y="458"/>
                  <a:pt x="1255" y="458"/>
                </a:cubicBezTo>
                <a:cubicBezTo>
                  <a:pt x="1259" y="458"/>
                  <a:pt x="1263" y="455"/>
                  <a:pt x="1263" y="452"/>
                </a:cubicBezTo>
                <a:cubicBezTo>
                  <a:pt x="1263" y="448"/>
                  <a:pt x="1259" y="446"/>
                  <a:pt x="1255" y="446"/>
                </a:cubicBezTo>
                <a:close/>
                <a:moveTo>
                  <a:pt x="1232" y="464"/>
                </a:moveTo>
                <a:cubicBezTo>
                  <a:pt x="1228" y="464"/>
                  <a:pt x="1224" y="467"/>
                  <a:pt x="1224" y="471"/>
                </a:cubicBezTo>
                <a:cubicBezTo>
                  <a:pt x="1224" y="475"/>
                  <a:pt x="1228" y="478"/>
                  <a:pt x="1232" y="478"/>
                </a:cubicBezTo>
                <a:cubicBezTo>
                  <a:pt x="1236" y="478"/>
                  <a:pt x="1240" y="475"/>
                  <a:pt x="1240" y="471"/>
                </a:cubicBezTo>
                <a:cubicBezTo>
                  <a:pt x="1240" y="467"/>
                  <a:pt x="1236" y="464"/>
                  <a:pt x="1232" y="464"/>
                </a:cubicBezTo>
                <a:close/>
                <a:moveTo>
                  <a:pt x="1232" y="522"/>
                </a:moveTo>
                <a:cubicBezTo>
                  <a:pt x="1228" y="522"/>
                  <a:pt x="1224" y="525"/>
                  <a:pt x="1224" y="529"/>
                </a:cubicBezTo>
                <a:cubicBezTo>
                  <a:pt x="1224" y="533"/>
                  <a:pt x="1228" y="536"/>
                  <a:pt x="1232" y="536"/>
                </a:cubicBezTo>
                <a:cubicBezTo>
                  <a:pt x="1236" y="536"/>
                  <a:pt x="1240" y="533"/>
                  <a:pt x="1240" y="529"/>
                </a:cubicBezTo>
                <a:cubicBezTo>
                  <a:pt x="1240" y="525"/>
                  <a:pt x="1236" y="522"/>
                  <a:pt x="1232" y="522"/>
                </a:cubicBezTo>
                <a:close/>
                <a:moveTo>
                  <a:pt x="1232" y="542"/>
                </a:moveTo>
                <a:cubicBezTo>
                  <a:pt x="1228" y="542"/>
                  <a:pt x="1224" y="545"/>
                  <a:pt x="1224" y="549"/>
                </a:cubicBezTo>
                <a:cubicBezTo>
                  <a:pt x="1224" y="552"/>
                  <a:pt x="1228" y="556"/>
                  <a:pt x="1232" y="556"/>
                </a:cubicBezTo>
                <a:cubicBezTo>
                  <a:pt x="1236" y="556"/>
                  <a:pt x="1240" y="552"/>
                  <a:pt x="1240" y="549"/>
                </a:cubicBezTo>
                <a:cubicBezTo>
                  <a:pt x="1240" y="545"/>
                  <a:pt x="1236" y="542"/>
                  <a:pt x="1232" y="542"/>
                </a:cubicBezTo>
                <a:close/>
                <a:moveTo>
                  <a:pt x="1255" y="542"/>
                </a:moveTo>
                <a:cubicBezTo>
                  <a:pt x="1251" y="542"/>
                  <a:pt x="1247" y="545"/>
                  <a:pt x="1247" y="549"/>
                </a:cubicBezTo>
                <a:cubicBezTo>
                  <a:pt x="1247" y="552"/>
                  <a:pt x="1251" y="556"/>
                  <a:pt x="1255" y="556"/>
                </a:cubicBezTo>
                <a:cubicBezTo>
                  <a:pt x="1259" y="556"/>
                  <a:pt x="1263" y="552"/>
                  <a:pt x="1263" y="549"/>
                </a:cubicBezTo>
                <a:cubicBezTo>
                  <a:pt x="1263" y="545"/>
                  <a:pt x="1259" y="542"/>
                  <a:pt x="1255" y="542"/>
                </a:cubicBezTo>
                <a:close/>
                <a:moveTo>
                  <a:pt x="1232" y="561"/>
                </a:moveTo>
                <a:cubicBezTo>
                  <a:pt x="1228" y="561"/>
                  <a:pt x="1224" y="564"/>
                  <a:pt x="1224" y="567"/>
                </a:cubicBezTo>
                <a:cubicBezTo>
                  <a:pt x="1224" y="571"/>
                  <a:pt x="1228" y="574"/>
                  <a:pt x="1232" y="574"/>
                </a:cubicBezTo>
                <a:cubicBezTo>
                  <a:pt x="1236" y="574"/>
                  <a:pt x="1240" y="571"/>
                  <a:pt x="1240" y="567"/>
                </a:cubicBezTo>
                <a:cubicBezTo>
                  <a:pt x="1240" y="564"/>
                  <a:pt x="1236" y="561"/>
                  <a:pt x="1232" y="561"/>
                </a:cubicBezTo>
                <a:close/>
                <a:moveTo>
                  <a:pt x="1255" y="561"/>
                </a:moveTo>
                <a:cubicBezTo>
                  <a:pt x="1251" y="561"/>
                  <a:pt x="1247" y="564"/>
                  <a:pt x="1247" y="567"/>
                </a:cubicBezTo>
                <a:cubicBezTo>
                  <a:pt x="1247" y="571"/>
                  <a:pt x="1251" y="574"/>
                  <a:pt x="1255" y="574"/>
                </a:cubicBezTo>
                <a:cubicBezTo>
                  <a:pt x="1259" y="574"/>
                  <a:pt x="1263" y="571"/>
                  <a:pt x="1263" y="567"/>
                </a:cubicBezTo>
                <a:cubicBezTo>
                  <a:pt x="1263" y="564"/>
                  <a:pt x="1259" y="561"/>
                  <a:pt x="1255" y="561"/>
                </a:cubicBezTo>
                <a:close/>
                <a:moveTo>
                  <a:pt x="1232" y="580"/>
                </a:moveTo>
                <a:cubicBezTo>
                  <a:pt x="1228" y="580"/>
                  <a:pt x="1224" y="583"/>
                  <a:pt x="1224" y="587"/>
                </a:cubicBezTo>
                <a:cubicBezTo>
                  <a:pt x="1224" y="590"/>
                  <a:pt x="1228" y="593"/>
                  <a:pt x="1232" y="593"/>
                </a:cubicBezTo>
                <a:cubicBezTo>
                  <a:pt x="1236" y="593"/>
                  <a:pt x="1240" y="590"/>
                  <a:pt x="1240" y="587"/>
                </a:cubicBezTo>
                <a:cubicBezTo>
                  <a:pt x="1240" y="583"/>
                  <a:pt x="1236" y="580"/>
                  <a:pt x="1232" y="580"/>
                </a:cubicBezTo>
                <a:close/>
                <a:moveTo>
                  <a:pt x="1255" y="580"/>
                </a:moveTo>
                <a:cubicBezTo>
                  <a:pt x="1251" y="580"/>
                  <a:pt x="1247" y="583"/>
                  <a:pt x="1247" y="587"/>
                </a:cubicBezTo>
                <a:cubicBezTo>
                  <a:pt x="1247" y="590"/>
                  <a:pt x="1251" y="593"/>
                  <a:pt x="1255" y="593"/>
                </a:cubicBezTo>
                <a:cubicBezTo>
                  <a:pt x="1259" y="593"/>
                  <a:pt x="1263" y="590"/>
                  <a:pt x="1263" y="587"/>
                </a:cubicBezTo>
                <a:cubicBezTo>
                  <a:pt x="1263" y="583"/>
                  <a:pt x="1259" y="580"/>
                  <a:pt x="1255" y="580"/>
                </a:cubicBezTo>
                <a:close/>
                <a:moveTo>
                  <a:pt x="1299" y="446"/>
                </a:moveTo>
                <a:cubicBezTo>
                  <a:pt x="1295" y="446"/>
                  <a:pt x="1291" y="448"/>
                  <a:pt x="1291" y="452"/>
                </a:cubicBezTo>
                <a:cubicBezTo>
                  <a:pt x="1291" y="455"/>
                  <a:pt x="1295" y="458"/>
                  <a:pt x="1299" y="458"/>
                </a:cubicBezTo>
                <a:cubicBezTo>
                  <a:pt x="1303" y="458"/>
                  <a:pt x="1307" y="455"/>
                  <a:pt x="1307" y="452"/>
                </a:cubicBezTo>
                <a:cubicBezTo>
                  <a:pt x="1307" y="448"/>
                  <a:pt x="1303" y="446"/>
                  <a:pt x="1299" y="446"/>
                </a:cubicBezTo>
                <a:close/>
                <a:moveTo>
                  <a:pt x="1299" y="464"/>
                </a:moveTo>
                <a:cubicBezTo>
                  <a:pt x="1295" y="464"/>
                  <a:pt x="1291" y="467"/>
                  <a:pt x="1291" y="471"/>
                </a:cubicBezTo>
                <a:cubicBezTo>
                  <a:pt x="1291" y="475"/>
                  <a:pt x="1295" y="478"/>
                  <a:pt x="1299" y="478"/>
                </a:cubicBezTo>
                <a:cubicBezTo>
                  <a:pt x="1303" y="478"/>
                  <a:pt x="1307" y="475"/>
                  <a:pt x="1307" y="471"/>
                </a:cubicBezTo>
                <a:cubicBezTo>
                  <a:pt x="1307" y="467"/>
                  <a:pt x="1303" y="464"/>
                  <a:pt x="1299" y="464"/>
                </a:cubicBezTo>
                <a:close/>
                <a:moveTo>
                  <a:pt x="1299" y="484"/>
                </a:moveTo>
                <a:cubicBezTo>
                  <a:pt x="1295" y="484"/>
                  <a:pt x="1291" y="487"/>
                  <a:pt x="1291" y="490"/>
                </a:cubicBezTo>
                <a:cubicBezTo>
                  <a:pt x="1291" y="494"/>
                  <a:pt x="1295" y="497"/>
                  <a:pt x="1299" y="497"/>
                </a:cubicBezTo>
                <a:cubicBezTo>
                  <a:pt x="1303" y="497"/>
                  <a:pt x="1307" y="494"/>
                  <a:pt x="1307" y="490"/>
                </a:cubicBezTo>
                <a:cubicBezTo>
                  <a:pt x="1307" y="487"/>
                  <a:pt x="1303" y="484"/>
                  <a:pt x="1299" y="484"/>
                </a:cubicBezTo>
                <a:close/>
                <a:moveTo>
                  <a:pt x="1277" y="542"/>
                </a:moveTo>
                <a:cubicBezTo>
                  <a:pt x="1273" y="542"/>
                  <a:pt x="1269" y="545"/>
                  <a:pt x="1269" y="549"/>
                </a:cubicBezTo>
                <a:cubicBezTo>
                  <a:pt x="1269" y="552"/>
                  <a:pt x="1273" y="556"/>
                  <a:pt x="1277" y="556"/>
                </a:cubicBezTo>
                <a:cubicBezTo>
                  <a:pt x="1281" y="556"/>
                  <a:pt x="1285" y="552"/>
                  <a:pt x="1285" y="549"/>
                </a:cubicBezTo>
                <a:cubicBezTo>
                  <a:pt x="1285" y="545"/>
                  <a:pt x="1281" y="542"/>
                  <a:pt x="1277" y="542"/>
                </a:cubicBezTo>
                <a:close/>
                <a:moveTo>
                  <a:pt x="1299" y="542"/>
                </a:moveTo>
                <a:cubicBezTo>
                  <a:pt x="1295" y="542"/>
                  <a:pt x="1291" y="545"/>
                  <a:pt x="1291" y="549"/>
                </a:cubicBezTo>
                <a:cubicBezTo>
                  <a:pt x="1291" y="552"/>
                  <a:pt x="1295" y="556"/>
                  <a:pt x="1299" y="556"/>
                </a:cubicBezTo>
                <a:cubicBezTo>
                  <a:pt x="1303" y="556"/>
                  <a:pt x="1307" y="552"/>
                  <a:pt x="1307" y="549"/>
                </a:cubicBezTo>
                <a:cubicBezTo>
                  <a:pt x="1307" y="545"/>
                  <a:pt x="1303" y="542"/>
                  <a:pt x="1299" y="542"/>
                </a:cubicBezTo>
                <a:close/>
                <a:moveTo>
                  <a:pt x="1277" y="561"/>
                </a:moveTo>
                <a:cubicBezTo>
                  <a:pt x="1273" y="561"/>
                  <a:pt x="1269" y="564"/>
                  <a:pt x="1269" y="567"/>
                </a:cubicBezTo>
                <a:cubicBezTo>
                  <a:pt x="1269" y="571"/>
                  <a:pt x="1273" y="574"/>
                  <a:pt x="1277" y="574"/>
                </a:cubicBezTo>
                <a:cubicBezTo>
                  <a:pt x="1281" y="574"/>
                  <a:pt x="1285" y="571"/>
                  <a:pt x="1285" y="567"/>
                </a:cubicBezTo>
                <a:cubicBezTo>
                  <a:pt x="1285" y="564"/>
                  <a:pt x="1281" y="561"/>
                  <a:pt x="1277" y="561"/>
                </a:cubicBezTo>
                <a:close/>
                <a:moveTo>
                  <a:pt x="1299" y="561"/>
                </a:moveTo>
                <a:cubicBezTo>
                  <a:pt x="1295" y="561"/>
                  <a:pt x="1291" y="564"/>
                  <a:pt x="1291" y="567"/>
                </a:cubicBezTo>
                <a:cubicBezTo>
                  <a:pt x="1291" y="571"/>
                  <a:pt x="1295" y="574"/>
                  <a:pt x="1299" y="574"/>
                </a:cubicBezTo>
                <a:cubicBezTo>
                  <a:pt x="1303" y="574"/>
                  <a:pt x="1307" y="571"/>
                  <a:pt x="1307" y="567"/>
                </a:cubicBezTo>
                <a:cubicBezTo>
                  <a:pt x="1307" y="564"/>
                  <a:pt x="1303" y="561"/>
                  <a:pt x="1299" y="561"/>
                </a:cubicBezTo>
                <a:close/>
                <a:moveTo>
                  <a:pt x="1277" y="580"/>
                </a:moveTo>
                <a:cubicBezTo>
                  <a:pt x="1273" y="580"/>
                  <a:pt x="1269" y="583"/>
                  <a:pt x="1269" y="587"/>
                </a:cubicBezTo>
                <a:cubicBezTo>
                  <a:pt x="1269" y="590"/>
                  <a:pt x="1273" y="593"/>
                  <a:pt x="1277" y="593"/>
                </a:cubicBezTo>
                <a:cubicBezTo>
                  <a:pt x="1281" y="593"/>
                  <a:pt x="1285" y="590"/>
                  <a:pt x="1285" y="587"/>
                </a:cubicBezTo>
                <a:cubicBezTo>
                  <a:pt x="1285" y="583"/>
                  <a:pt x="1281" y="580"/>
                  <a:pt x="1277" y="580"/>
                </a:cubicBezTo>
                <a:close/>
                <a:moveTo>
                  <a:pt x="1299" y="580"/>
                </a:moveTo>
                <a:cubicBezTo>
                  <a:pt x="1295" y="580"/>
                  <a:pt x="1291" y="583"/>
                  <a:pt x="1291" y="587"/>
                </a:cubicBezTo>
                <a:cubicBezTo>
                  <a:pt x="1291" y="590"/>
                  <a:pt x="1295" y="593"/>
                  <a:pt x="1299" y="593"/>
                </a:cubicBezTo>
                <a:cubicBezTo>
                  <a:pt x="1303" y="593"/>
                  <a:pt x="1307" y="590"/>
                  <a:pt x="1307" y="587"/>
                </a:cubicBezTo>
                <a:cubicBezTo>
                  <a:pt x="1307" y="583"/>
                  <a:pt x="1303" y="580"/>
                  <a:pt x="1299" y="580"/>
                </a:cubicBezTo>
                <a:close/>
                <a:moveTo>
                  <a:pt x="1321" y="446"/>
                </a:moveTo>
                <a:cubicBezTo>
                  <a:pt x="1317" y="446"/>
                  <a:pt x="1313" y="448"/>
                  <a:pt x="1313" y="452"/>
                </a:cubicBezTo>
                <a:cubicBezTo>
                  <a:pt x="1313" y="455"/>
                  <a:pt x="1317" y="458"/>
                  <a:pt x="1321" y="458"/>
                </a:cubicBezTo>
                <a:cubicBezTo>
                  <a:pt x="1325" y="458"/>
                  <a:pt x="1328" y="455"/>
                  <a:pt x="1328" y="452"/>
                </a:cubicBezTo>
                <a:cubicBezTo>
                  <a:pt x="1328" y="448"/>
                  <a:pt x="1325" y="446"/>
                  <a:pt x="1321" y="446"/>
                </a:cubicBezTo>
                <a:close/>
                <a:moveTo>
                  <a:pt x="1344" y="446"/>
                </a:moveTo>
                <a:cubicBezTo>
                  <a:pt x="1339" y="446"/>
                  <a:pt x="1336" y="448"/>
                  <a:pt x="1336" y="452"/>
                </a:cubicBezTo>
                <a:cubicBezTo>
                  <a:pt x="1336" y="455"/>
                  <a:pt x="1339" y="458"/>
                  <a:pt x="1344" y="458"/>
                </a:cubicBezTo>
                <a:cubicBezTo>
                  <a:pt x="1348" y="458"/>
                  <a:pt x="1351" y="455"/>
                  <a:pt x="1351" y="452"/>
                </a:cubicBezTo>
                <a:cubicBezTo>
                  <a:pt x="1351" y="448"/>
                  <a:pt x="1348" y="446"/>
                  <a:pt x="1344" y="446"/>
                </a:cubicBezTo>
                <a:close/>
                <a:moveTo>
                  <a:pt x="1321" y="464"/>
                </a:moveTo>
                <a:cubicBezTo>
                  <a:pt x="1317" y="464"/>
                  <a:pt x="1313" y="467"/>
                  <a:pt x="1313" y="471"/>
                </a:cubicBezTo>
                <a:cubicBezTo>
                  <a:pt x="1313" y="475"/>
                  <a:pt x="1317" y="478"/>
                  <a:pt x="1321" y="478"/>
                </a:cubicBezTo>
                <a:cubicBezTo>
                  <a:pt x="1325" y="478"/>
                  <a:pt x="1328" y="475"/>
                  <a:pt x="1328" y="471"/>
                </a:cubicBezTo>
                <a:cubicBezTo>
                  <a:pt x="1328" y="467"/>
                  <a:pt x="1325" y="464"/>
                  <a:pt x="1321" y="464"/>
                </a:cubicBezTo>
                <a:close/>
                <a:moveTo>
                  <a:pt x="1344" y="464"/>
                </a:moveTo>
                <a:cubicBezTo>
                  <a:pt x="1339" y="464"/>
                  <a:pt x="1336" y="467"/>
                  <a:pt x="1336" y="471"/>
                </a:cubicBezTo>
                <a:cubicBezTo>
                  <a:pt x="1336" y="475"/>
                  <a:pt x="1339" y="478"/>
                  <a:pt x="1344" y="478"/>
                </a:cubicBezTo>
                <a:cubicBezTo>
                  <a:pt x="1348" y="478"/>
                  <a:pt x="1351" y="475"/>
                  <a:pt x="1351" y="471"/>
                </a:cubicBezTo>
                <a:cubicBezTo>
                  <a:pt x="1351" y="467"/>
                  <a:pt x="1348" y="464"/>
                  <a:pt x="1344" y="464"/>
                </a:cubicBezTo>
                <a:close/>
                <a:moveTo>
                  <a:pt x="1321" y="484"/>
                </a:moveTo>
                <a:cubicBezTo>
                  <a:pt x="1317" y="484"/>
                  <a:pt x="1313" y="487"/>
                  <a:pt x="1313" y="490"/>
                </a:cubicBezTo>
                <a:cubicBezTo>
                  <a:pt x="1313" y="494"/>
                  <a:pt x="1317" y="497"/>
                  <a:pt x="1321" y="497"/>
                </a:cubicBezTo>
                <a:cubicBezTo>
                  <a:pt x="1325" y="497"/>
                  <a:pt x="1328" y="494"/>
                  <a:pt x="1328" y="490"/>
                </a:cubicBezTo>
                <a:cubicBezTo>
                  <a:pt x="1328" y="487"/>
                  <a:pt x="1325" y="484"/>
                  <a:pt x="1321" y="484"/>
                </a:cubicBezTo>
                <a:close/>
                <a:moveTo>
                  <a:pt x="1321" y="522"/>
                </a:moveTo>
                <a:cubicBezTo>
                  <a:pt x="1317" y="522"/>
                  <a:pt x="1313" y="525"/>
                  <a:pt x="1313" y="529"/>
                </a:cubicBezTo>
                <a:cubicBezTo>
                  <a:pt x="1313" y="533"/>
                  <a:pt x="1317" y="536"/>
                  <a:pt x="1321" y="536"/>
                </a:cubicBezTo>
                <a:cubicBezTo>
                  <a:pt x="1325" y="536"/>
                  <a:pt x="1328" y="533"/>
                  <a:pt x="1328" y="529"/>
                </a:cubicBezTo>
                <a:cubicBezTo>
                  <a:pt x="1328" y="525"/>
                  <a:pt x="1325" y="522"/>
                  <a:pt x="1321" y="522"/>
                </a:cubicBezTo>
                <a:close/>
                <a:moveTo>
                  <a:pt x="1344" y="522"/>
                </a:moveTo>
                <a:cubicBezTo>
                  <a:pt x="1339" y="522"/>
                  <a:pt x="1336" y="525"/>
                  <a:pt x="1336" y="529"/>
                </a:cubicBezTo>
                <a:cubicBezTo>
                  <a:pt x="1336" y="533"/>
                  <a:pt x="1339" y="536"/>
                  <a:pt x="1344" y="536"/>
                </a:cubicBezTo>
                <a:cubicBezTo>
                  <a:pt x="1348" y="536"/>
                  <a:pt x="1351" y="533"/>
                  <a:pt x="1351" y="529"/>
                </a:cubicBezTo>
                <a:cubicBezTo>
                  <a:pt x="1351" y="525"/>
                  <a:pt x="1348" y="522"/>
                  <a:pt x="1344" y="522"/>
                </a:cubicBezTo>
                <a:close/>
                <a:moveTo>
                  <a:pt x="1321" y="542"/>
                </a:moveTo>
                <a:cubicBezTo>
                  <a:pt x="1317" y="542"/>
                  <a:pt x="1313" y="545"/>
                  <a:pt x="1313" y="549"/>
                </a:cubicBezTo>
                <a:cubicBezTo>
                  <a:pt x="1313" y="552"/>
                  <a:pt x="1317" y="556"/>
                  <a:pt x="1321" y="556"/>
                </a:cubicBezTo>
                <a:cubicBezTo>
                  <a:pt x="1325" y="556"/>
                  <a:pt x="1328" y="552"/>
                  <a:pt x="1328" y="549"/>
                </a:cubicBezTo>
                <a:cubicBezTo>
                  <a:pt x="1328" y="545"/>
                  <a:pt x="1325" y="542"/>
                  <a:pt x="1321" y="542"/>
                </a:cubicBezTo>
                <a:close/>
                <a:moveTo>
                  <a:pt x="1344" y="542"/>
                </a:moveTo>
                <a:cubicBezTo>
                  <a:pt x="1339" y="542"/>
                  <a:pt x="1336" y="545"/>
                  <a:pt x="1336" y="549"/>
                </a:cubicBezTo>
                <a:cubicBezTo>
                  <a:pt x="1336" y="552"/>
                  <a:pt x="1339" y="556"/>
                  <a:pt x="1344" y="556"/>
                </a:cubicBezTo>
                <a:cubicBezTo>
                  <a:pt x="1348" y="556"/>
                  <a:pt x="1351" y="552"/>
                  <a:pt x="1351" y="549"/>
                </a:cubicBezTo>
                <a:cubicBezTo>
                  <a:pt x="1351" y="545"/>
                  <a:pt x="1348" y="542"/>
                  <a:pt x="1344" y="542"/>
                </a:cubicBezTo>
                <a:close/>
                <a:moveTo>
                  <a:pt x="1321" y="561"/>
                </a:moveTo>
                <a:cubicBezTo>
                  <a:pt x="1317" y="561"/>
                  <a:pt x="1313" y="564"/>
                  <a:pt x="1313" y="567"/>
                </a:cubicBezTo>
                <a:cubicBezTo>
                  <a:pt x="1313" y="571"/>
                  <a:pt x="1317" y="574"/>
                  <a:pt x="1321" y="574"/>
                </a:cubicBezTo>
                <a:cubicBezTo>
                  <a:pt x="1325" y="574"/>
                  <a:pt x="1328" y="571"/>
                  <a:pt x="1328" y="567"/>
                </a:cubicBezTo>
                <a:cubicBezTo>
                  <a:pt x="1328" y="564"/>
                  <a:pt x="1325" y="561"/>
                  <a:pt x="1321" y="561"/>
                </a:cubicBezTo>
                <a:close/>
                <a:moveTo>
                  <a:pt x="1344" y="561"/>
                </a:moveTo>
                <a:cubicBezTo>
                  <a:pt x="1339" y="561"/>
                  <a:pt x="1336" y="564"/>
                  <a:pt x="1336" y="567"/>
                </a:cubicBezTo>
                <a:cubicBezTo>
                  <a:pt x="1336" y="571"/>
                  <a:pt x="1339" y="574"/>
                  <a:pt x="1344" y="574"/>
                </a:cubicBezTo>
                <a:cubicBezTo>
                  <a:pt x="1348" y="574"/>
                  <a:pt x="1351" y="571"/>
                  <a:pt x="1351" y="567"/>
                </a:cubicBezTo>
                <a:cubicBezTo>
                  <a:pt x="1351" y="564"/>
                  <a:pt x="1348" y="561"/>
                  <a:pt x="1344" y="561"/>
                </a:cubicBezTo>
                <a:close/>
                <a:moveTo>
                  <a:pt x="1321" y="580"/>
                </a:moveTo>
                <a:cubicBezTo>
                  <a:pt x="1317" y="580"/>
                  <a:pt x="1313" y="583"/>
                  <a:pt x="1313" y="587"/>
                </a:cubicBezTo>
                <a:cubicBezTo>
                  <a:pt x="1313" y="590"/>
                  <a:pt x="1317" y="593"/>
                  <a:pt x="1321" y="593"/>
                </a:cubicBezTo>
                <a:cubicBezTo>
                  <a:pt x="1325" y="593"/>
                  <a:pt x="1328" y="590"/>
                  <a:pt x="1328" y="587"/>
                </a:cubicBezTo>
                <a:cubicBezTo>
                  <a:pt x="1328" y="583"/>
                  <a:pt x="1325" y="580"/>
                  <a:pt x="1321" y="580"/>
                </a:cubicBezTo>
                <a:close/>
                <a:moveTo>
                  <a:pt x="1344" y="580"/>
                </a:moveTo>
                <a:cubicBezTo>
                  <a:pt x="1339" y="580"/>
                  <a:pt x="1336" y="583"/>
                  <a:pt x="1336" y="587"/>
                </a:cubicBezTo>
                <a:cubicBezTo>
                  <a:pt x="1336" y="590"/>
                  <a:pt x="1339" y="593"/>
                  <a:pt x="1344" y="593"/>
                </a:cubicBezTo>
                <a:cubicBezTo>
                  <a:pt x="1348" y="593"/>
                  <a:pt x="1351" y="590"/>
                  <a:pt x="1351" y="587"/>
                </a:cubicBezTo>
                <a:cubicBezTo>
                  <a:pt x="1351" y="583"/>
                  <a:pt x="1348" y="580"/>
                  <a:pt x="1344" y="580"/>
                </a:cubicBezTo>
                <a:close/>
                <a:moveTo>
                  <a:pt x="1366" y="446"/>
                </a:moveTo>
                <a:cubicBezTo>
                  <a:pt x="1362" y="446"/>
                  <a:pt x="1358" y="448"/>
                  <a:pt x="1358" y="452"/>
                </a:cubicBezTo>
                <a:cubicBezTo>
                  <a:pt x="1358" y="455"/>
                  <a:pt x="1362" y="458"/>
                  <a:pt x="1366" y="458"/>
                </a:cubicBezTo>
                <a:cubicBezTo>
                  <a:pt x="1370" y="458"/>
                  <a:pt x="1373" y="455"/>
                  <a:pt x="1373" y="452"/>
                </a:cubicBezTo>
                <a:cubicBezTo>
                  <a:pt x="1373" y="448"/>
                  <a:pt x="1370" y="446"/>
                  <a:pt x="1366" y="446"/>
                </a:cubicBezTo>
                <a:close/>
                <a:moveTo>
                  <a:pt x="1388" y="446"/>
                </a:moveTo>
                <a:cubicBezTo>
                  <a:pt x="1384" y="446"/>
                  <a:pt x="1380" y="448"/>
                  <a:pt x="1380" y="452"/>
                </a:cubicBezTo>
                <a:cubicBezTo>
                  <a:pt x="1380" y="455"/>
                  <a:pt x="1384" y="458"/>
                  <a:pt x="1388" y="458"/>
                </a:cubicBezTo>
                <a:cubicBezTo>
                  <a:pt x="1392" y="458"/>
                  <a:pt x="1396" y="455"/>
                  <a:pt x="1396" y="452"/>
                </a:cubicBezTo>
                <a:cubicBezTo>
                  <a:pt x="1396" y="448"/>
                  <a:pt x="1392" y="446"/>
                  <a:pt x="1388" y="446"/>
                </a:cubicBezTo>
                <a:close/>
                <a:moveTo>
                  <a:pt x="1366" y="464"/>
                </a:moveTo>
                <a:cubicBezTo>
                  <a:pt x="1362" y="464"/>
                  <a:pt x="1358" y="467"/>
                  <a:pt x="1358" y="471"/>
                </a:cubicBezTo>
                <a:cubicBezTo>
                  <a:pt x="1358" y="475"/>
                  <a:pt x="1362" y="478"/>
                  <a:pt x="1366" y="478"/>
                </a:cubicBezTo>
                <a:cubicBezTo>
                  <a:pt x="1370" y="478"/>
                  <a:pt x="1373" y="475"/>
                  <a:pt x="1373" y="471"/>
                </a:cubicBezTo>
                <a:cubicBezTo>
                  <a:pt x="1373" y="467"/>
                  <a:pt x="1370" y="464"/>
                  <a:pt x="1366" y="464"/>
                </a:cubicBezTo>
                <a:close/>
                <a:moveTo>
                  <a:pt x="1388" y="464"/>
                </a:moveTo>
                <a:cubicBezTo>
                  <a:pt x="1384" y="464"/>
                  <a:pt x="1380" y="467"/>
                  <a:pt x="1380" y="471"/>
                </a:cubicBezTo>
                <a:cubicBezTo>
                  <a:pt x="1380" y="475"/>
                  <a:pt x="1384" y="478"/>
                  <a:pt x="1388" y="478"/>
                </a:cubicBezTo>
                <a:cubicBezTo>
                  <a:pt x="1392" y="478"/>
                  <a:pt x="1396" y="475"/>
                  <a:pt x="1396" y="471"/>
                </a:cubicBezTo>
                <a:cubicBezTo>
                  <a:pt x="1396" y="467"/>
                  <a:pt x="1392" y="464"/>
                  <a:pt x="1388" y="464"/>
                </a:cubicBezTo>
                <a:close/>
                <a:moveTo>
                  <a:pt x="1366" y="484"/>
                </a:moveTo>
                <a:cubicBezTo>
                  <a:pt x="1362" y="484"/>
                  <a:pt x="1358" y="487"/>
                  <a:pt x="1358" y="490"/>
                </a:cubicBezTo>
                <a:cubicBezTo>
                  <a:pt x="1358" y="494"/>
                  <a:pt x="1362" y="497"/>
                  <a:pt x="1366" y="497"/>
                </a:cubicBezTo>
                <a:cubicBezTo>
                  <a:pt x="1370" y="497"/>
                  <a:pt x="1373" y="494"/>
                  <a:pt x="1373" y="490"/>
                </a:cubicBezTo>
                <a:cubicBezTo>
                  <a:pt x="1373" y="487"/>
                  <a:pt x="1370" y="484"/>
                  <a:pt x="1366" y="484"/>
                </a:cubicBezTo>
                <a:close/>
                <a:moveTo>
                  <a:pt x="1388" y="484"/>
                </a:moveTo>
                <a:cubicBezTo>
                  <a:pt x="1384" y="484"/>
                  <a:pt x="1380" y="487"/>
                  <a:pt x="1380" y="490"/>
                </a:cubicBezTo>
                <a:cubicBezTo>
                  <a:pt x="1380" y="494"/>
                  <a:pt x="1384" y="497"/>
                  <a:pt x="1388" y="497"/>
                </a:cubicBezTo>
                <a:cubicBezTo>
                  <a:pt x="1392" y="497"/>
                  <a:pt x="1396" y="494"/>
                  <a:pt x="1396" y="490"/>
                </a:cubicBezTo>
                <a:cubicBezTo>
                  <a:pt x="1396" y="487"/>
                  <a:pt x="1392" y="484"/>
                  <a:pt x="1388" y="484"/>
                </a:cubicBezTo>
                <a:close/>
                <a:moveTo>
                  <a:pt x="1366" y="503"/>
                </a:moveTo>
                <a:cubicBezTo>
                  <a:pt x="1362" y="503"/>
                  <a:pt x="1358" y="506"/>
                  <a:pt x="1358" y="509"/>
                </a:cubicBezTo>
                <a:cubicBezTo>
                  <a:pt x="1358" y="513"/>
                  <a:pt x="1362" y="516"/>
                  <a:pt x="1366" y="516"/>
                </a:cubicBezTo>
                <a:cubicBezTo>
                  <a:pt x="1370" y="516"/>
                  <a:pt x="1373" y="513"/>
                  <a:pt x="1373" y="509"/>
                </a:cubicBezTo>
                <a:cubicBezTo>
                  <a:pt x="1373" y="506"/>
                  <a:pt x="1370" y="503"/>
                  <a:pt x="1366" y="503"/>
                </a:cubicBezTo>
                <a:close/>
                <a:moveTo>
                  <a:pt x="1388" y="503"/>
                </a:moveTo>
                <a:cubicBezTo>
                  <a:pt x="1384" y="503"/>
                  <a:pt x="1380" y="506"/>
                  <a:pt x="1380" y="509"/>
                </a:cubicBezTo>
                <a:cubicBezTo>
                  <a:pt x="1380" y="513"/>
                  <a:pt x="1384" y="516"/>
                  <a:pt x="1388" y="516"/>
                </a:cubicBezTo>
                <a:cubicBezTo>
                  <a:pt x="1392" y="516"/>
                  <a:pt x="1396" y="513"/>
                  <a:pt x="1396" y="509"/>
                </a:cubicBezTo>
                <a:cubicBezTo>
                  <a:pt x="1396" y="506"/>
                  <a:pt x="1392" y="503"/>
                  <a:pt x="1388" y="503"/>
                </a:cubicBezTo>
                <a:close/>
                <a:moveTo>
                  <a:pt x="1366" y="522"/>
                </a:moveTo>
                <a:cubicBezTo>
                  <a:pt x="1362" y="522"/>
                  <a:pt x="1358" y="525"/>
                  <a:pt x="1358" y="529"/>
                </a:cubicBezTo>
                <a:cubicBezTo>
                  <a:pt x="1358" y="533"/>
                  <a:pt x="1362" y="536"/>
                  <a:pt x="1366" y="536"/>
                </a:cubicBezTo>
                <a:cubicBezTo>
                  <a:pt x="1370" y="536"/>
                  <a:pt x="1373" y="533"/>
                  <a:pt x="1373" y="529"/>
                </a:cubicBezTo>
                <a:cubicBezTo>
                  <a:pt x="1373" y="525"/>
                  <a:pt x="1370" y="522"/>
                  <a:pt x="1366" y="522"/>
                </a:cubicBezTo>
                <a:close/>
                <a:moveTo>
                  <a:pt x="1388" y="522"/>
                </a:moveTo>
                <a:cubicBezTo>
                  <a:pt x="1384" y="522"/>
                  <a:pt x="1380" y="525"/>
                  <a:pt x="1380" y="529"/>
                </a:cubicBezTo>
                <a:cubicBezTo>
                  <a:pt x="1380" y="533"/>
                  <a:pt x="1384" y="536"/>
                  <a:pt x="1388" y="536"/>
                </a:cubicBezTo>
                <a:cubicBezTo>
                  <a:pt x="1392" y="536"/>
                  <a:pt x="1396" y="533"/>
                  <a:pt x="1396" y="529"/>
                </a:cubicBezTo>
                <a:cubicBezTo>
                  <a:pt x="1396" y="525"/>
                  <a:pt x="1392" y="522"/>
                  <a:pt x="1388" y="522"/>
                </a:cubicBezTo>
                <a:close/>
                <a:moveTo>
                  <a:pt x="1388" y="542"/>
                </a:moveTo>
                <a:cubicBezTo>
                  <a:pt x="1384" y="542"/>
                  <a:pt x="1380" y="545"/>
                  <a:pt x="1380" y="549"/>
                </a:cubicBezTo>
                <a:cubicBezTo>
                  <a:pt x="1380" y="552"/>
                  <a:pt x="1384" y="556"/>
                  <a:pt x="1388" y="556"/>
                </a:cubicBezTo>
                <a:cubicBezTo>
                  <a:pt x="1392" y="556"/>
                  <a:pt x="1396" y="552"/>
                  <a:pt x="1396" y="549"/>
                </a:cubicBezTo>
                <a:cubicBezTo>
                  <a:pt x="1396" y="545"/>
                  <a:pt x="1392" y="542"/>
                  <a:pt x="1388" y="542"/>
                </a:cubicBezTo>
                <a:close/>
                <a:moveTo>
                  <a:pt x="1388" y="561"/>
                </a:moveTo>
                <a:cubicBezTo>
                  <a:pt x="1384" y="561"/>
                  <a:pt x="1380" y="564"/>
                  <a:pt x="1380" y="567"/>
                </a:cubicBezTo>
                <a:cubicBezTo>
                  <a:pt x="1380" y="571"/>
                  <a:pt x="1384" y="574"/>
                  <a:pt x="1388" y="574"/>
                </a:cubicBezTo>
                <a:cubicBezTo>
                  <a:pt x="1392" y="574"/>
                  <a:pt x="1396" y="571"/>
                  <a:pt x="1396" y="567"/>
                </a:cubicBezTo>
                <a:cubicBezTo>
                  <a:pt x="1396" y="564"/>
                  <a:pt x="1392" y="561"/>
                  <a:pt x="1388" y="561"/>
                </a:cubicBezTo>
                <a:close/>
                <a:moveTo>
                  <a:pt x="1366" y="580"/>
                </a:moveTo>
                <a:cubicBezTo>
                  <a:pt x="1362" y="580"/>
                  <a:pt x="1358" y="583"/>
                  <a:pt x="1358" y="587"/>
                </a:cubicBezTo>
                <a:cubicBezTo>
                  <a:pt x="1358" y="590"/>
                  <a:pt x="1362" y="593"/>
                  <a:pt x="1366" y="593"/>
                </a:cubicBezTo>
                <a:cubicBezTo>
                  <a:pt x="1370" y="593"/>
                  <a:pt x="1373" y="590"/>
                  <a:pt x="1373" y="587"/>
                </a:cubicBezTo>
                <a:cubicBezTo>
                  <a:pt x="1373" y="583"/>
                  <a:pt x="1370" y="580"/>
                  <a:pt x="1366" y="580"/>
                </a:cubicBezTo>
                <a:close/>
                <a:moveTo>
                  <a:pt x="1410" y="290"/>
                </a:moveTo>
                <a:cubicBezTo>
                  <a:pt x="1406" y="290"/>
                  <a:pt x="1402" y="293"/>
                  <a:pt x="1402" y="296"/>
                </a:cubicBezTo>
                <a:cubicBezTo>
                  <a:pt x="1402" y="300"/>
                  <a:pt x="1406" y="303"/>
                  <a:pt x="1410" y="303"/>
                </a:cubicBezTo>
                <a:cubicBezTo>
                  <a:pt x="1414" y="303"/>
                  <a:pt x="1417" y="300"/>
                  <a:pt x="1417" y="296"/>
                </a:cubicBezTo>
                <a:cubicBezTo>
                  <a:pt x="1417" y="293"/>
                  <a:pt x="1414" y="290"/>
                  <a:pt x="1410" y="290"/>
                </a:cubicBezTo>
                <a:close/>
                <a:moveTo>
                  <a:pt x="1432" y="290"/>
                </a:moveTo>
                <a:cubicBezTo>
                  <a:pt x="1428" y="290"/>
                  <a:pt x="1425" y="293"/>
                  <a:pt x="1425" y="296"/>
                </a:cubicBezTo>
                <a:cubicBezTo>
                  <a:pt x="1425" y="300"/>
                  <a:pt x="1428" y="303"/>
                  <a:pt x="1432" y="303"/>
                </a:cubicBezTo>
                <a:cubicBezTo>
                  <a:pt x="1437" y="303"/>
                  <a:pt x="1440" y="300"/>
                  <a:pt x="1440" y="296"/>
                </a:cubicBezTo>
                <a:cubicBezTo>
                  <a:pt x="1440" y="293"/>
                  <a:pt x="1437" y="290"/>
                  <a:pt x="1432" y="290"/>
                </a:cubicBezTo>
                <a:close/>
                <a:moveTo>
                  <a:pt x="1410" y="309"/>
                </a:moveTo>
                <a:cubicBezTo>
                  <a:pt x="1406" y="309"/>
                  <a:pt x="1402" y="312"/>
                  <a:pt x="1402" y="316"/>
                </a:cubicBezTo>
                <a:cubicBezTo>
                  <a:pt x="1402" y="320"/>
                  <a:pt x="1406" y="323"/>
                  <a:pt x="1410" y="323"/>
                </a:cubicBezTo>
                <a:cubicBezTo>
                  <a:pt x="1414" y="323"/>
                  <a:pt x="1417" y="320"/>
                  <a:pt x="1417" y="316"/>
                </a:cubicBezTo>
                <a:cubicBezTo>
                  <a:pt x="1417" y="312"/>
                  <a:pt x="1414" y="309"/>
                  <a:pt x="1410" y="309"/>
                </a:cubicBezTo>
                <a:close/>
                <a:moveTo>
                  <a:pt x="1432" y="309"/>
                </a:moveTo>
                <a:cubicBezTo>
                  <a:pt x="1428" y="309"/>
                  <a:pt x="1425" y="312"/>
                  <a:pt x="1425" y="316"/>
                </a:cubicBezTo>
                <a:cubicBezTo>
                  <a:pt x="1425" y="320"/>
                  <a:pt x="1428" y="323"/>
                  <a:pt x="1432" y="323"/>
                </a:cubicBezTo>
                <a:cubicBezTo>
                  <a:pt x="1437" y="323"/>
                  <a:pt x="1440" y="320"/>
                  <a:pt x="1440" y="316"/>
                </a:cubicBezTo>
                <a:cubicBezTo>
                  <a:pt x="1440" y="312"/>
                  <a:pt x="1437" y="309"/>
                  <a:pt x="1432" y="309"/>
                </a:cubicBezTo>
                <a:close/>
                <a:moveTo>
                  <a:pt x="1410" y="329"/>
                </a:moveTo>
                <a:cubicBezTo>
                  <a:pt x="1406" y="329"/>
                  <a:pt x="1402" y="332"/>
                  <a:pt x="1402" y="335"/>
                </a:cubicBezTo>
                <a:cubicBezTo>
                  <a:pt x="1402" y="339"/>
                  <a:pt x="1406" y="342"/>
                  <a:pt x="1410" y="342"/>
                </a:cubicBezTo>
                <a:cubicBezTo>
                  <a:pt x="1414" y="342"/>
                  <a:pt x="1417" y="339"/>
                  <a:pt x="1417" y="335"/>
                </a:cubicBezTo>
                <a:cubicBezTo>
                  <a:pt x="1417" y="332"/>
                  <a:pt x="1414" y="329"/>
                  <a:pt x="1410" y="329"/>
                </a:cubicBezTo>
                <a:close/>
                <a:moveTo>
                  <a:pt x="1432" y="329"/>
                </a:moveTo>
                <a:cubicBezTo>
                  <a:pt x="1428" y="329"/>
                  <a:pt x="1425" y="332"/>
                  <a:pt x="1425" y="335"/>
                </a:cubicBezTo>
                <a:cubicBezTo>
                  <a:pt x="1425" y="339"/>
                  <a:pt x="1428" y="342"/>
                  <a:pt x="1432" y="342"/>
                </a:cubicBezTo>
                <a:cubicBezTo>
                  <a:pt x="1437" y="342"/>
                  <a:pt x="1440" y="339"/>
                  <a:pt x="1440" y="335"/>
                </a:cubicBezTo>
                <a:cubicBezTo>
                  <a:pt x="1440" y="332"/>
                  <a:pt x="1437" y="329"/>
                  <a:pt x="1432" y="329"/>
                </a:cubicBezTo>
                <a:close/>
                <a:moveTo>
                  <a:pt x="1410" y="348"/>
                </a:moveTo>
                <a:cubicBezTo>
                  <a:pt x="1406" y="348"/>
                  <a:pt x="1402" y="351"/>
                  <a:pt x="1402" y="355"/>
                </a:cubicBezTo>
                <a:cubicBezTo>
                  <a:pt x="1402" y="359"/>
                  <a:pt x="1406" y="362"/>
                  <a:pt x="1410" y="362"/>
                </a:cubicBezTo>
                <a:cubicBezTo>
                  <a:pt x="1414" y="362"/>
                  <a:pt x="1417" y="359"/>
                  <a:pt x="1417" y="355"/>
                </a:cubicBezTo>
                <a:cubicBezTo>
                  <a:pt x="1417" y="351"/>
                  <a:pt x="1414" y="348"/>
                  <a:pt x="1410" y="348"/>
                </a:cubicBezTo>
                <a:close/>
                <a:moveTo>
                  <a:pt x="1432" y="348"/>
                </a:moveTo>
                <a:cubicBezTo>
                  <a:pt x="1428" y="348"/>
                  <a:pt x="1425" y="351"/>
                  <a:pt x="1425" y="355"/>
                </a:cubicBezTo>
                <a:cubicBezTo>
                  <a:pt x="1425" y="359"/>
                  <a:pt x="1428" y="362"/>
                  <a:pt x="1432" y="362"/>
                </a:cubicBezTo>
                <a:cubicBezTo>
                  <a:pt x="1437" y="362"/>
                  <a:pt x="1440" y="359"/>
                  <a:pt x="1440" y="355"/>
                </a:cubicBezTo>
                <a:cubicBezTo>
                  <a:pt x="1440" y="351"/>
                  <a:pt x="1437" y="348"/>
                  <a:pt x="1432" y="348"/>
                </a:cubicBezTo>
                <a:close/>
                <a:moveTo>
                  <a:pt x="1410" y="368"/>
                </a:moveTo>
                <a:cubicBezTo>
                  <a:pt x="1406" y="368"/>
                  <a:pt x="1402" y="371"/>
                  <a:pt x="1402" y="374"/>
                </a:cubicBezTo>
                <a:cubicBezTo>
                  <a:pt x="1402" y="378"/>
                  <a:pt x="1406" y="381"/>
                  <a:pt x="1410" y="381"/>
                </a:cubicBezTo>
                <a:cubicBezTo>
                  <a:pt x="1414" y="381"/>
                  <a:pt x="1417" y="378"/>
                  <a:pt x="1417" y="374"/>
                </a:cubicBezTo>
                <a:cubicBezTo>
                  <a:pt x="1417" y="371"/>
                  <a:pt x="1414" y="368"/>
                  <a:pt x="1410" y="368"/>
                </a:cubicBezTo>
                <a:close/>
                <a:moveTo>
                  <a:pt x="1432" y="368"/>
                </a:moveTo>
                <a:cubicBezTo>
                  <a:pt x="1428" y="368"/>
                  <a:pt x="1425" y="371"/>
                  <a:pt x="1425" y="374"/>
                </a:cubicBezTo>
                <a:cubicBezTo>
                  <a:pt x="1425" y="378"/>
                  <a:pt x="1428" y="381"/>
                  <a:pt x="1432" y="381"/>
                </a:cubicBezTo>
                <a:cubicBezTo>
                  <a:pt x="1437" y="381"/>
                  <a:pt x="1440" y="378"/>
                  <a:pt x="1440" y="374"/>
                </a:cubicBezTo>
                <a:cubicBezTo>
                  <a:pt x="1440" y="371"/>
                  <a:pt x="1437" y="368"/>
                  <a:pt x="1432" y="368"/>
                </a:cubicBezTo>
                <a:close/>
                <a:moveTo>
                  <a:pt x="1410" y="387"/>
                </a:moveTo>
                <a:cubicBezTo>
                  <a:pt x="1406" y="387"/>
                  <a:pt x="1402" y="390"/>
                  <a:pt x="1402" y="393"/>
                </a:cubicBezTo>
                <a:cubicBezTo>
                  <a:pt x="1402" y="397"/>
                  <a:pt x="1406" y="400"/>
                  <a:pt x="1410" y="400"/>
                </a:cubicBezTo>
                <a:cubicBezTo>
                  <a:pt x="1414" y="400"/>
                  <a:pt x="1417" y="397"/>
                  <a:pt x="1417" y="393"/>
                </a:cubicBezTo>
                <a:cubicBezTo>
                  <a:pt x="1417" y="390"/>
                  <a:pt x="1414" y="387"/>
                  <a:pt x="1410" y="387"/>
                </a:cubicBezTo>
                <a:close/>
                <a:moveTo>
                  <a:pt x="1432" y="387"/>
                </a:moveTo>
                <a:cubicBezTo>
                  <a:pt x="1428" y="387"/>
                  <a:pt x="1425" y="390"/>
                  <a:pt x="1425" y="393"/>
                </a:cubicBezTo>
                <a:cubicBezTo>
                  <a:pt x="1425" y="397"/>
                  <a:pt x="1428" y="400"/>
                  <a:pt x="1432" y="400"/>
                </a:cubicBezTo>
                <a:cubicBezTo>
                  <a:pt x="1437" y="400"/>
                  <a:pt x="1440" y="397"/>
                  <a:pt x="1440" y="393"/>
                </a:cubicBezTo>
                <a:cubicBezTo>
                  <a:pt x="1440" y="390"/>
                  <a:pt x="1437" y="387"/>
                  <a:pt x="1432" y="387"/>
                </a:cubicBezTo>
                <a:close/>
                <a:moveTo>
                  <a:pt x="1410" y="406"/>
                </a:moveTo>
                <a:cubicBezTo>
                  <a:pt x="1406" y="406"/>
                  <a:pt x="1402" y="409"/>
                  <a:pt x="1402" y="413"/>
                </a:cubicBezTo>
                <a:cubicBezTo>
                  <a:pt x="1402" y="416"/>
                  <a:pt x="1406" y="419"/>
                  <a:pt x="1410" y="419"/>
                </a:cubicBezTo>
                <a:cubicBezTo>
                  <a:pt x="1414" y="419"/>
                  <a:pt x="1417" y="416"/>
                  <a:pt x="1417" y="413"/>
                </a:cubicBezTo>
                <a:cubicBezTo>
                  <a:pt x="1417" y="409"/>
                  <a:pt x="1414" y="406"/>
                  <a:pt x="1410" y="406"/>
                </a:cubicBezTo>
                <a:close/>
                <a:moveTo>
                  <a:pt x="1432" y="406"/>
                </a:moveTo>
                <a:cubicBezTo>
                  <a:pt x="1428" y="406"/>
                  <a:pt x="1425" y="409"/>
                  <a:pt x="1425" y="413"/>
                </a:cubicBezTo>
                <a:cubicBezTo>
                  <a:pt x="1425" y="416"/>
                  <a:pt x="1428" y="419"/>
                  <a:pt x="1432" y="419"/>
                </a:cubicBezTo>
                <a:cubicBezTo>
                  <a:pt x="1437" y="419"/>
                  <a:pt x="1440" y="416"/>
                  <a:pt x="1440" y="413"/>
                </a:cubicBezTo>
                <a:cubicBezTo>
                  <a:pt x="1440" y="409"/>
                  <a:pt x="1437" y="406"/>
                  <a:pt x="1432" y="406"/>
                </a:cubicBezTo>
                <a:close/>
                <a:moveTo>
                  <a:pt x="1410" y="425"/>
                </a:moveTo>
                <a:cubicBezTo>
                  <a:pt x="1406" y="425"/>
                  <a:pt x="1402" y="428"/>
                  <a:pt x="1402" y="432"/>
                </a:cubicBezTo>
                <a:cubicBezTo>
                  <a:pt x="1402" y="435"/>
                  <a:pt x="1406" y="438"/>
                  <a:pt x="1410" y="438"/>
                </a:cubicBezTo>
                <a:cubicBezTo>
                  <a:pt x="1414" y="438"/>
                  <a:pt x="1417" y="435"/>
                  <a:pt x="1417" y="432"/>
                </a:cubicBezTo>
                <a:cubicBezTo>
                  <a:pt x="1417" y="428"/>
                  <a:pt x="1414" y="425"/>
                  <a:pt x="1410" y="425"/>
                </a:cubicBezTo>
                <a:close/>
                <a:moveTo>
                  <a:pt x="1432" y="425"/>
                </a:moveTo>
                <a:cubicBezTo>
                  <a:pt x="1428" y="425"/>
                  <a:pt x="1425" y="428"/>
                  <a:pt x="1425" y="432"/>
                </a:cubicBezTo>
                <a:cubicBezTo>
                  <a:pt x="1425" y="435"/>
                  <a:pt x="1428" y="438"/>
                  <a:pt x="1432" y="438"/>
                </a:cubicBezTo>
                <a:cubicBezTo>
                  <a:pt x="1437" y="438"/>
                  <a:pt x="1440" y="435"/>
                  <a:pt x="1440" y="432"/>
                </a:cubicBezTo>
                <a:cubicBezTo>
                  <a:pt x="1440" y="428"/>
                  <a:pt x="1437" y="425"/>
                  <a:pt x="1432" y="425"/>
                </a:cubicBezTo>
                <a:close/>
                <a:moveTo>
                  <a:pt x="1455" y="290"/>
                </a:moveTo>
                <a:cubicBezTo>
                  <a:pt x="1450" y="290"/>
                  <a:pt x="1447" y="293"/>
                  <a:pt x="1447" y="296"/>
                </a:cubicBezTo>
                <a:cubicBezTo>
                  <a:pt x="1447" y="300"/>
                  <a:pt x="1450" y="303"/>
                  <a:pt x="1455" y="303"/>
                </a:cubicBezTo>
                <a:cubicBezTo>
                  <a:pt x="1459" y="303"/>
                  <a:pt x="1462" y="300"/>
                  <a:pt x="1462" y="296"/>
                </a:cubicBezTo>
                <a:cubicBezTo>
                  <a:pt x="1462" y="293"/>
                  <a:pt x="1459" y="290"/>
                  <a:pt x="1455" y="290"/>
                </a:cubicBezTo>
                <a:close/>
                <a:moveTo>
                  <a:pt x="1477" y="290"/>
                </a:moveTo>
                <a:cubicBezTo>
                  <a:pt x="1472" y="290"/>
                  <a:pt x="1469" y="293"/>
                  <a:pt x="1469" y="296"/>
                </a:cubicBezTo>
                <a:cubicBezTo>
                  <a:pt x="1469" y="300"/>
                  <a:pt x="1472" y="303"/>
                  <a:pt x="1477" y="303"/>
                </a:cubicBezTo>
                <a:cubicBezTo>
                  <a:pt x="1481" y="303"/>
                  <a:pt x="1484" y="300"/>
                  <a:pt x="1484" y="296"/>
                </a:cubicBezTo>
                <a:cubicBezTo>
                  <a:pt x="1484" y="293"/>
                  <a:pt x="1481" y="290"/>
                  <a:pt x="1477" y="290"/>
                </a:cubicBezTo>
                <a:close/>
                <a:moveTo>
                  <a:pt x="1455" y="309"/>
                </a:moveTo>
                <a:cubicBezTo>
                  <a:pt x="1450" y="309"/>
                  <a:pt x="1447" y="312"/>
                  <a:pt x="1447" y="316"/>
                </a:cubicBezTo>
                <a:cubicBezTo>
                  <a:pt x="1447" y="320"/>
                  <a:pt x="1450" y="323"/>
                  <a:pt x="1455" y="323"/>
                </a:cubicBezTo>
                <a:cubicBezTo>
                  <a:pt x="1459" y="323"/>
                  <a:pt x="1462" y="320"/>
                  <a:pt x="1462" y="316"/>
                </a:cubicBezTo>
                <a:cubicBezTo>
                  <a:pt x="1462" y="312"/>
                  <a:pt x="1459" y="309"/>
                  <a:pt x="1455" y="309"/>
                </a:cubicBezTo>
                <a:close/>
                <a:moveTo>
                  <a:pt x="1477" y="309"/>
                </a:moveTo>
                <a:cubicBezTo>
                  <a:pt x="1472" y="309"/>
                  <a:pt x="1469" y="312"/>
                  <a:pt x="1469" y="316"/>
                </a:cubicBezTo>
                <a:cubicBezTo>
                  <a:pt x="1469" y="320"/>
                  <a:pt x="1472" y="323"/>
                  <a:pt x="1477" y="323"/>
                </a:cubicBezTo>
                <a:cubicBezTo>
                  <a:pt x="1481" y="323"/>
                  <a:pt x="1484" y="320"/>
                  <a:pt x="1484" y="316"/>
                </a:cubicBezTo>
                <a:cubicBezTo>
                  <a:pt x="1484" y="312"/>
                  <a:pt x="1481" y="309"/>
                  <a:pt x="1477" y="309"/>
                </a:cubicBezTo>
                <a:close/>
                <a:moveTo>
                  <a:pt x="1455" y="329"/>
                </a:moveTo>
                <a:cubicBezTo>
                  <a:pt x="1450" y="329"/>
                  <a:pt x="1447" y="332"/>
                  <a:pt x="1447" y="335"/>
                </a:cubicBezTo>
                <a:cubicBezTo>
                  <a:pt x="1447" y="339"/>
                  <a:pt x="1450" y="342"/>
                  <a:pt x="1455" y="342"/>
                </a:cubicBezTo>
                <a:cubicBezTo>
                  <a:pt x="1459" y="342"/>
                  <a:pt x="1462" y="339"/>
                  <a:pt x="1462" y="335"/>
                </a:cubicBezTo>
                <a:cubicBezTo>
                  <a:pt x="1462" y="332"/>
                  <a:pt x="1459" y="329"/>
                  <a:pt x="1455" y="329"/>
                </a:cubicBezTo>
                <a:close/>
                <a:moveTo>
                  <a:pt x="1477" y="329"/>
                </a:moveTo>
                <a:cubicBezTo>
                  <a:pt x="1472" y="329"/>
                  <a:pt x="1469" y="332"/>
                  <a:pt x="1469" y="335"/>
                </a:cubicBezTo>
                <a:cubicBezTo>
                  <a:pt x="1469" y="339"/>
                  <a:pt x="1472" y="342"/>
                  <a:pt x="1477" y="342"/>
                </a:cubicBezTo>
                <a:cubicBezTo>
                  <a:pt x="1481" y="342"/>
                  <a:pt x="1484" y="339"/>
                  <a:pt x="1484" y="335"/>
                </a:cubicBezTo>
                <a:cubicBezTo>
                  <a:pt x="1484" y="332"/>
                  <a:pt x="1481" y="329"/>
                  <a:pt x="1477" y="329"/>
                </a:cubicBezTo>
                <a:close/>
                <a:moveTo>
                  <a:pt x="1455" y="348"/>
                </a:moveTo>
                <a:cubicBezTo>
                  <a:pt x="1450" y="348"/>
                  <a:pt x="1447" y="351"/>
                  <a:pt x="1447" y="355"/>
                </a:cubicBezTo>
                <a:cubicBezTo>
                  <a:pt x="1447" y="359"/>
                  <a:pt x="1450" y="362"/>
                  <a:pt x="1455" y="362"/>
                </a:cubicBezTo>
                <a:cubicBezTo>
                  <a:pt x="1459" y="362"/>
                  <a:pt x="1462" y="359"/>
                  <a:pt x="1462" y="355"/>
                </a:cubicBezTo>
                <a:cubicBezTo>
                  <a:pt x="1462" y="351"/>
                  <a:pt x="1459" y="348"/>
                  <a:pt x="1455" y="348"/>
                </a:cubicBezTo>
                <a:close/>
                <a:moveTo>
                  <a:pt x="1477" y="348"/>
                </a:moveTo>
                <a:cubicBezTo>
                  <a:pt x="1472" y="348"/>
                  <a:pt x="1469" y="351"/>
                  <a:pt x="1469" y="355"/>
                </a:cubicBezTo>
                <a:cubicBezTo>
                  <a:pt x="1469" y="359"/>
                  <a:pt x="1472" y="362"/>
                  <a:pt x="1477" y="362"/>
                </a:cubicBezTo>
                <a:cubicBezTo>
                  <a:pt x="1481" y="362"/>
                  <a:pt x="1484" y="359"/>
                  <a:pt x="1484" y="355"/>
                </a:cubicBezTo>
                <a:cubicBezTo>
                  <a:pt x="1484" y="351"/>
                  <a:pt x="1481" y="348"/>
                  <a:pt x="1477" y="348"/>
                </a:cubicBezTo>
                <a:close/>
                <a:moveTo>
                  <a:pt x="1455" y="368"/>
                </a:moveTo>
                <a:cubicBezTo>
                  <a:pt x="1450" y="368"/>
                  <a:pt x="1447" y="371"/>
                  <a:pt x="1447" y="374"/>
                </a:cubicBezTo>
                <a:cubicBezTo>
                  <a:pt x="1447" y="378"/>
                  <a:pt x="1450" y="381"/>
                  <a:pt x="1455" y="381"/>
                </a:cubicBezTo>
                <a:cubicBezTo>
                  <a:pt x="1459" y="381"/>
                  <a:pt x="1462" y="378"/>
                  <a:pt x="1462" y="374"/>
                </a:cubicBezTo>
                <a:cubicBezTo>
                  <a:pt x="1462" y="371"/>
                  <a:pt x="1459" y="368"/>
                  <a:pt x="1455" y="368"/>
                </a:cubicBezTo>
                <a:close/>
                <a:moveTo>
                  <a:pt x="1477" y="368"/>
                </a:moveTo>
                <a:cubicBezTo>
                  <a:pt x="1472" y="368"/>
                  <a:pt x="1469" y="371"/>
                  <a:pt x="1469" y="374"/>
                </a:cubicBezTo>
                <a:cubicBezTo>
                  <a:pt x="1469" y="378"/>
                  <a:pt x="1472" y="381"/>
                  <a:pt x="1477" y="381"/>
                </a:cubicBezTo>
                <a:cubicBezTo>
                  <a:pt x="1481" y="381"/>
                  <a:pt x="1484" y="378"/>
                  <a:pt x="1484" y="374"/>
                </a:cubicBezTo>
                <a:cubicBezTo>
                  <a:pt x="1484" y="371"/>
                  <a:pt x="1481" y="368"/>
                  <a:pt x="1477" y="368"/>
                </a:cubicBezTo>
                <a:close/>
                <a:moveTo>
                  <a:pt x="1455" y="387"/>
                </a:moveTo>
                <a:cubicBezTo>
                  <a:pt x="1450" y="387"/>
                  <a:pt x="1447" y="390"/>
                  <a:pt x="1447" y="393"/>
                </a:cubicBezTo>
                <a:cubicBezTo>
                  <a:pt x="1447" y="397"/>
                  <a:pt x="1450" y="400"/>
                  <a:pt x="1455" y="400"/>
                </a:cubicBezTo>
                <a:cubicBezTo>
                  <a:pt x="1459" y="400"/>
                  <a:pt x="1462" y="397"/>
                  <a:pt x="1462" y="393"/>
                </a:cubicBezTo>
                <a:cubicBezTo>
                  <a:pt x="1462" y="390"/>
                  <a:pt x="1459" y="387"/>
                  <a:pt x="1455" y="387"/>
                </a:cubicBezTo>
                <a:close/>
                <a:moveTo>
                  <a:pt x="1477" y="387"/>
                </a:moveTo>
                <a:cubicBezTo>
                  <a:pt x="1472" y="387"/>
                  <a:pt x="1469" y="390"/>
                  <a:pt x="1469" y="393"/>
                </a:cubicBezTo>
                <a:cubicBezTo>
                  <a:pt x="1469" y="397"/>
                  <a:pt x="1472" y="400"/>
                  <a:pt x="1477" y="400"/>
                </a:cubicBezTo>
                <a:cubicBezTo>
                  <a:pt x="1481" y="400"/>
                  <a:pt x="1484" y="397"/>
                  <a:pt x="1484" y="393"/>
                </a:cubicBezTo>
                <a:cubicBezTo>
                  <a:pt x="1484" y="390"/>
                  <a:pt x="1481" y="387"/>
                  <a:pt x="1477" y="387"/>
                </a:cubicBezTo>
                <a:close/>
                <a:moveTo>
                  <a:pt x="1477" y="406"/>
                </a:moveTo>
                <a:cubicBezTo>
                  <a:pt x="1472" y="406"/>
                  <a:pt x="1469" y="409"/>
                  <a:pt x="1469" y="413"/>
                </a:cubicBezTo>
                <a:cubicBezTo>
                  <a:pt x="1469" y="416"/>
                  <a:pt x="1472" y="419"/>
                  <a:pt x="1477" y="419"/>
                </a:cubicBezTo>
                <a:cubicBezTo>
                  <a:pt x="1481" y="419"/>
                  <a:pt x="1484" y="416"/>
                  <a:pt x="1484" y="413"/>
                </a:cubicBezTo>
                <a:cubicBezTo>
                  <a:pt x="1484" y="409"/>
                  <a:pt x="1481" y="406"/>
                  <a:pt x="1477" y="406"/>
                </a:cubicBezTo>
                <a:close/>
                <a:moveTo>
                  <a:pt x="1455" y="425"/>
                </a:moveTo>
                <a:cubicBezTo>
                  <a:pt x="1450" y="425"/>
                  <a:pt x="1447" y="428"/>
                  <a:pt x="1447" y="432"/>
                </a:cubicBezTo>
                <a:cubicBezTo>
                  <a:pt x="1447" y="435"/>
                  <a:pt x="1450" y="438"/>
                  <a:pt x="1455" y="438"/>
                </a:cubicBezTo>
                <a:cubicBezTo>
                  <a:pt x="1459" y="438"/>
                  <a:pt x="1462" y="435"/>
                  <a:pt x="1462" y="432"/>
                </a:cubicBezTo>
                <a:cubicBezTo>
                  <a:pt x="1462" y="428"/>
                  <a:pt x="1459" y="425"/>
                  <a:pt x="1455" y="425"/>
                </a:cubicBezTo>
                <a:close/>
                <a:moveTo>
                  <a:pt x="1498" y="290"/>
                </a:moveTo>
                <a:cubicBezTo>
                  <a:pt x="1494" y="290"/>
                  <a:pt x="1491" y="293"/>
                  <a:pt x="1491" y="296"/>
                </a:cubicBezTo>
                <a:cubicBezTo>
                  <a:pt x="1491" y="300"/>
                  <a:pt x="1494" y="303"/>
                  <a:pt x="1498" y="303"/>
                </a:cubicBezTo>
                <a:cubicBezTo>
                  <a:pt x="1503" y="303"/>
                  <a:pt x="1506" y="300"/>
                  <a:pt x="1506" y="296"/>
                </a:cubicBezTo>
                <a:cubicBezTo>
                  <a:pt x="1506" y="293"/>
                  <a:pt x="1503" y="290"/>
                  <a:pt x="1498" y="290"/>
                </a:cubicBezTo>
                <a:close/>
                <a:moveTo>
                  <a:pt x="1521" y="290"/>
                </a:moveTo>
                <a:cubicBezTo>
                  <a:pt x="1517" y="290"/>
                  <a:pt x="1514" y="293"/>
                  <a:pt x="1514" y="296"/>
                </a:cubicBezTo>
                <a:cubicBezTo>
                  <a:pt x="1514" y="300"/>
                  <a:pt x="1517" y="303"/>
                  <a:pt x="1521" y="303"/>
                </a:cubicBezTo>
                <a:cubicBezTo>
                  <a:pt x="1526" y="303"/>
                  <a:pt x="1529" y="300"/>
                  <a:pt x="1529" y="296"/>
                </a:cubicBezTo>
                <a:cubicBezTo>
                  <a:pt x="1529" y="293"/>
                  <a:pt x="1526" y="290"/>
                  <a:pt x="1521" y="290"/>
                </a:cubicBezTo>
                <a:close/>
                <a:moveTo>
                  <a:pt x="1498" y="309"/>
                </a:moveTo>
                <a:cubicBezTo>
                  <a:pt x="1494" y="309"/>
                  <a:pt x="1491" y="312"/>
                  <a:pt x="1491" y="316"/>
                </a:cubicBezTo>
                <a:cubicBezTo>
                  <a:pt x="1491" y="320"/>
                  <a:pt x="1494" y="323"/>
                  <a:pt x="1498" y="323"/>
                </a:cubicBezTo>
                <a:cubicBezTo>
                  <a:pt x="1503" y="323"/>
                  <a:pt x="1506" y="320"/>
                  <a:pt x="1506" y="316"/>
                </a:cubicBezTo>
                <a:cubicBezTo>
                  <a:pt x="1506" y="312"/>
                  <a:pt x="1503" y="309"/>
                  <a:pt x="1498" y="309"/>
                </a:cubicBezTo>
                <a:close/>
                <a:moveTo>
                  <a:pt x="1521" y="309"/>
                </a:moveTo>
                <a:cubicBezTo>
                  <a:pt x="1517" y="309"/>
                  <a:pt x="1514" y="312"/>
                  <a:pt x="1514" y="316"/>
                </a:cubicBezTo>
                <a:cubicBezTo>
                  <a:pt x="1514" y="320"/>
                  <a:pt x="1517" y="323"/>
                  <a:pt x="1521" y="323"/>
                </a:cubicBezTo>
                <a:cubicBezTo>
                  <a:pt x="1526" y="323"/>
                  <a:pt x="1529" y="320"/>
                  <a:pt x="1529" y="316"/>
                </a:cubicBezTo>
                <a:cubicBezTo>
                  <a:pt x="1529" y="312"/>
                  <a:pt x="1526" y="309"/>
                  <a:pt x="1521" y="309"/>
                </a:cubicBezTo>
                <a:close/>
                <a:moveTo>
                  <a:pt x="1498" y="329"/>
                </a:moveTo>
                <a:cubicBezTo>
                  <a:pt x="1494" y="329"/>
                  <a:pt x="1491" y="332"/>
                  <a:pt x="1491" y="335"/>
                </a:cubicBezTo>
                <a:cubicBezTo>
                  <a:pt x="1491" y="339"/>
                  <a:pt x="1494" y="342"/>
                  <a:pt x="1498" y="342"/>
                </a:cubicBezTo>
                <a:cubicBezTo>
                  <a:pt x="1503" y="342"/>
                  <a:pt x="1506" y="339"/>
                  <a:pt x="1506" y="335"/>
                </a:cubicBezTo>
                <a:cubicBezTo>
                  <a:pt x="1506" y="332"/>
                  <a:pt x="1503" y="329"/>
                  <a:pt x="1498" y="329"/>
                </a:cubicBezTo>
                <a:close/>
                <a:moveTo>
                  <a:pt x="1521" y="329"/>
                </a:moveTo>
                <a:cubicBezTo>
                  <a:pt x="1517" y="329"/>
                  <a:pt x="1514" y="332"/>
                  <a:pt x="1514" y="335"/>
                </a:cubicBezTo>
                <a:cubicBezTo>
                  <a:pt x="1514" y="339"/>
                  <a:pt x="1517" y="342"/>
                  <a:pt x="1521" y="342"/>
                </a:cubicBezTo>
                <a:cubicBezTo>
                  <a:pt x="1526" y="342"/>
                  <a:pt x="1529" y="339"/>
                  <a:pt x="1529" y="335"/>
                </a:cubicBezTo>
                <a:cubicBezTo>
                  <a:pt x="1529" y="332"/>
                  <a:pt x="1526" y="329"/>
                  <a:pt x="1521" y="329"/>
                </a:cubicBezTo>
                <a:close/>
                <a:moveTo>
                  <a:pt x="1498" y="348"/>
                </a:moveTo>
                <a:cubicBezTo>
                  <a:pt x="1494" y="348"/>
                  <a:pt x="1491" y="351"/>
                  <a:pt x="1491" y="355"/>
                </a:cubicBezTo>
                <a:cubicBezTo>
                  <a:pt x="1491" y="359"/>
                  <a:pt x="1494" y="362"/>
                  <a:pt x="1498" y="362"/>
                </a:cubicBezTo>
                <a:cubicBezTo>
                  <a:pt x="1503" y="362"/>
                  <a:pt x="1506" y="359"/>
                  <a:pt x="1506" y="355"/>
                </a:cubicBezTo>
                <a:cubicBezTo>
                  <a:pt x="1506" y="351"/>
                  <a:pt x="1503" y="348"/>
                  <a:pt x="1498" y="348"/>
                </a:cubicBezTo>
                <a:close/>
                <a:moveTo>
                  <a:pt x="1521" y="348"/>
                </a:moveTo>
                <a:cubicBezTo>
                  <a:pt x="1517" y="348"/>
                  <a:pt x="1514" y="351"/>
                  <a:pt x="1514" y="355"/>
                </a:cubicBezTo>
                <a:cubicBezTo>
                  <a:pt x="1514" y="359"/>
                  <a:pt x="1517" y="362"/>
                  <a:pt x="1521" y="362"/>
                </a:cubicBezTo>
                <a:cubicBezTo>
                  <a:pt x="1526" y="362"/>
                  <a:pt x="1529" y="359"/>
                  <a:pt x="1529" y="355"/>
                </a:cubicBezTo>
                <a:cubicBezTo>
                  <a:pt x="1529" y="351"/>
                  <a:pt x="1526" y="348"/>
                  <a:pt x="1521" y="348"/>
                </a:cubicBezTo>
                <a:close/>
                <a:moveTo>
                  <a:pt x="1498" y="368"/>
                </a:moveTo>
                <a:cubicBezTo>
                  <a:pt x="1494" y="368"/>
                  <a:pt x="1491" y="371"/>
                  <a:pt x="1491" y="374"/>
                </a:cubicBezTo>
                <a:cubicBezTo>
                  <a:pt x="1491" y="378"/>
                  <a:pt x="1494" y="381"/>
                  <a:pt x="1498" y="381"/>
                </a:cubicBezTo>
                <a:cubicBezTo>
                  <a:pt x="1503" y="381"/>
                  <a:pt x="1506" y="378"/>
                  <a:pt x="1506" y="374"/>
                </a:cubicBezTo>
                <a:cubicBezTo>
                  <a:pt x="1506" y="371"/>
                  <a:pt x="1503" y="368"/>
                  <a:pt x="1498" y="368"/>
                </a:cubicBezTo>
                <a:close/>
                <a:moveTo>
                  <a:pt x="1521" y="368"/>
                </a:moveTo>
                <a:cubicBezTo>
                  <a:pt x="1517" y="368"/>
                  <a:pt x="1514" y="371"/>
                  <a:pt x="1514" y="374"/>
                </a:cubicBezTo>
                <a:cubicBezTo>
                  <a:pt x="1514" y="378"/>
                  <a:pt x="1517" y="381"/>
                  <a:pt x="1521" y="381"/>
                </a:cubicBezTo>
                <a:cubicBezTo>
                  <a:pt x="1526" y="381"/>
                  <a:pt x="1529" y="378"/>
                  <a:pt x="1529" y="374"/>
                </a:cubicBezTo>
                <a:cubicBezTo>
                  <a:pt x="1529" y="371"/>
                  <a:pt x="1526" y="368"/>
                  <a:pt x="1521" y="368"/>
                </a:cubicBezTo>
                <a:close/>
                <a:moveTo>
                  <a:pt x="1498" y="387"/>
                </a:moveTo>
                <a:cubicBezTo>
                  <a:pt x="1494" y="387"/>
                  <a:pt x="1491" y="390"/>
                  <a:pt x="1491" y="393"/>
                </a:cubicBezTo>
                <a:cubicBezTo>
                  <a:pt x="1491" y="397"/>
                  <a:pt x="1494" y="400"/>
                  <a:pt x="1498" y="400"/>
                </a:cubicBezTo>
                <a:cubicBezTo>
                  <a:pt x="1503" y="400"/>
                  <a:pt x="1506" y="397"/>
                  <a:pt x="1506" y="393"/>
                </a:cubicBezTo>
                <a:cubicBezTo>
                  <a:pt x="1506" y="390"/>
                  <a:pt x="1503" y="387"/>
                  <a:pt x="1498" y="387"/>
                </a:cubicBezTo>
                <a:close/>
                <a:moveTo>
                  <a:pt x="1521" y="387"/>
                </a:moveTo>
                <a:cubicBezTo>
                  <a:pt x="1517" y="387"/>
                  <a:pt x="1514" y="390"/>
                  <a:pt x="1514" y="393"/>
                </a:cubicBezTo>
                <a:cubicBezTo>
                  <a:pt x="1514" y="397"/>
                  <a:pt x="1517" y="400"/>
                  <a:pt x="1521" y="400"/>
                </a:cubicBezTo>
                <a:cubicBezTo>
                  <a:pt x="1526" y="400"/>
                  <a:pt x="1529" y="397"/>
                  <a:pt x="1529" y="393"/>
                </a:cubicBezTo>
                <a:cubicBezTo>
                  <a:pt x="1529" y="390"/>
                  <a:pt x="1526" y="387"/>
                  <a:pt x="1521" y="387"/>
                </a:cubicBezTo>
                <a:close/>
                <a:moveTo>
                  <a:pt x="1498" y="406"/>
                </a:moveTo>
                <a:cubicBezTo>
                  <a:pt x="1494" y="406"/>
                  <a:pt x="1491" y="409"/>
                  <a:pt x="1491" y="413"/>
                </a:cubicBezTo>
                <a:cubicBezTo>
                  <a:pt x="1491" y="416"/>
                  <a:pt x="1494" y="419"/>
                  <a:pt x="1498" y="419"/>
                </a:cubicBezTo>
                <a:cubicBezTo>
                  <a:pt x="1503" y="419"/>
                  <a:pt x="1506" y="416"/>
                  <a:pt x="1506" y="413"/>
                </a:cubicBezTo>
                <a:cubicBezTo>
                  <a:pt x="1506" y="409"/>
                  <a:pt x="1503" y="406"/>
                  <a:pt x="1498" y="406"/>
                </a:cubicBezTo>
                <a:close/>
                <a:moveTo>
                  <a:pt x="1521" y="406"/>
                </a:moveTo>
                <a:cubicBezTo>
                  <a:pt x="1517" y="406"/>
                  <a:pt x="1514" y="409"/>
                  <a:pt x="1514" y="413"/>
                </a:cubicBezTo>
                <a:cubicBezTo>
                  <a:pt x="1514" y="416"/>
                  <a:pt x="1517" y="419"/>
                  <a:pt x="1521" y="419"/>
                </a:cubicBezTo>
                <a:cubicBezTo>
                  <a:pt x="1526" y="419"/>
                  <a:pt x="1529" y="416"/>
                  <a:pt x="1529" y="413"/>
                </a:cubicBezTo>
                <a:cubicBezTo>
                  <a:pt x="1529" y="409"/>
                  <a:pt x="1526" y="406"/>
                  <a:pt x="1521" y="406"/>
                </a:cubicBezTo>
                <a:close/>
                <a:moveTo>
                  <a:pt x="1498" y="425"/>
                </a:moveTo>
                <a:cubicBezTo>
                  <a:pt x="1494" y="425"/>
                  <a:pt x="1491" y="428"/>
                  <a:pt x="1491" y="432"/>
                </a:cubicBezTo>
                <a:cubicBezTo>
                  <a:pt x="1491" y="435"/>
                  <a:pt x="1494" y="438"/>
                  <a:pt x="1498" y="438"/>
                </a:cubicBezTo>
                <a:cubicBezTo>
                  <a:pt x="1503" y="438"/>
                  <a:pt x="1506" y="435"/>
                  <a:pt x="1506" y="432"/>
                </a:cubicBezTo>
                <a:cubicBezTo>
                  <a:pt x="1506" y="428"/>
                  <a:pt x="1503" y="425"/>
                  <a:pt x="1498" y="425"/>
                </a:cubicBezTo>
                <a:close/>
                <a:moveTo>
                  <a:pt x="1521" y="425"/>
                </a:moveTo>
                <a:cubicBezTo>
                  <a:pt x="1517" y="425"/>
                  <a:pt x="1514" y="428"/>
                  <a:pt x="1514" y="432"/>
                </a:cubicBezTo>
                <a:cubicBezTo>
                  <a:pt x="1514" y="435"/>
                  <a:pt x="1517" y="438"/>
                  <a:pt x="1521" y="438"/>
                </a:cubicBezTo>
                <a:cubicBezTo>
                  <a:pt x="1526" y="438"/>
                  <a:pt x="1529" y="435"/>
                  <a:pt x="1529" y="432"/>
                </a:cubicBezTo>
                <a:cubicBezTo>
                  <a:pt x="1529" y="428"/>
                  <a:pt x="1526" y="425"/>
                  <a:pt x="1521" y="425"/>
                </a:cubicBezTo>
                <a:close/>
                <a:moveTo>
                  <a:pt x="1543" y="290"/>
                </a:moveTo>
                <a:cubicBezTo>
                  <a:pt x="1539" y="290"/>
                  <a:pt x="1536" y="293"/>
                  <a:pt x="1536" y="296"/>
                </a:cubicBezTo>
                <a:cubicBezTo>
                  <a:pt x="1536" y="300"/>
                  <a:pt x="1539" y="303"/>
                  <a:pt x="1543" y="303"/>
                </a:cubicBezTo>
                <a:cubicBezTo>
                  <a:pt x="1548" y="303"/>
                  <a:pt x="1551" y="300"/>
                  <a:pt x="1551" y="296"/>
                </a:cubicBezTo>
                <a:cubicBezTo>
                  <a:pt x="1551" y="293"/>
                  <a:pt x="1548" y="290"/>
                  <a:pt x="1543" y="290"/>
                </a:cubicBezTo>
                <a:close/>
                <a:moveTo>
                  <a:pt x="1543" y="309"/>
                </a:moveTo>
                <a:cubicBezTo>
                  <a:pt x="1539" y="309"/>
                  <a:pt x="1536" y="312"/>
                  <a:pt x="1536" y="316"/>
                </a:cubicBezTo>
                <a:cubicBezTo>
                  <a:pt x="1536" y="320"/>
                  <a:pt x="1539" y="323"/>
                  <a:pt x="1543" y="323"/>
                </a:cubicBezTo>
                <a:cubicBezTo>
                  <a:pt x="1548" y="323"/>
                  <a:pt x="1551" y="320"/>
                  <a:pt x="1551" y="316"/>
                </a:cubicBezTo>
                <a:cubicBezTo>
                  <a:pt x="1551" y="312"/>
                  <a:pt x="1548" y="309"/>
                  <a:pt x="1543" y="309"/>
                </a:cubicBezTo>
                <a:close/>
                <a:moveTo>
                  <a:pt x="1543" y="329"/>
                </a:moveTo>
                <a:cubicBezTo>
                  <a:pt x="1539" y="329"/>
                  <a:pt x="1536" y="332"/>
                  <a:pt x="1536" y="335"/>
                </a:cubicBezTo>
                <a:cubicBezTo>
                  <a:pt x="1536" y="339"/>
                  <a:pt x="1539" y="342"/>
                  <a:pt x="1543" y="342"/>
                </a:cubicBezTo>
                <a:cubicBezTo>
                  <a:pt x="1548" y="342"/>
                  <a:pt x="1551" y="339"/>
                  <a:pt x="1551" y="335"/>
                </a:cubicBezTo>
                <a:cubicBezTo>
                  <a:pt x="1551" y="332"/>
                  <a:pt x="1548" y="329"/>
                  <a:pt x="1543" y="329"/>
                </a:cubicBezTo>
                <a:close/>
                <a:moveTo>
                  <a:pt x="1543" y="348"/>
                </a:moveTo>
                <a:cubicBezTo>
                  <a:pt x="1539" y="348"/>
                  <a:pt x="1536" y="351"/>
                  <a:pt x="1536" y="355"/>
                </a:cubicBezTo>
                <a:cubicBezTo>
                  <a:pt x="1536" y="359"/>
                  <a:pt x="1539" y="362"/>
                  <a:pt x="1543" y="362"/>
                </a:cubicBezTo>
                <a:cubicBezTo>
                  <a:pt x="1548" y="362"/>
                  <a:pt x="1551" y="359"/>
                  <a:pt x="1551" y="355"/>
                </a:cubicBezTo>
                <a:cubicBezTo>
                  <a:pt x="1551" y="351"/>
                  <a:pt x="1548" y="348"/>
                  <a:pt x="1543" y="348"/>
                </a:cubicBezTo>
                <a:close/>
                <a:moveTo>
                  <a:pt x="1543" y="368"/>
                </a:moveTo>
                <a:cubicBezTo>
                  <a:pt x="1539" y="368"/>
                  <a:pt x="1536" y="371"/>
                  <a:pt x="1536" y="374"/>
                </a:cubicBezTo>
                <a:cubicBezTo>
                  <a:pt x="1536" y="378"/>
                  <a:pt x="1539" y="381"/>
                  <a:pt x="1543" y="381"/>
                </a:cubicBezTo>
                <a:cubicBezTo>
                  <a:pt x="1548" y="381"/>
                  <a:pt x="1551" y="378"/>
                  <a:pt x="1551" y="374"/>
                </a:cubicBezTo>
                <a:cubicBezTo>
                  <a:pt x="1551" y="371"/>
                  <a:pt x="1548" y="368"/>
                  <a:pt x="1543" y="368"/>
                </a:cubicBezTo>
                <a:close/>
                <a:moveTo>
                  <a:pt x="1410" y="446"/>
                </a:moveTo>
                <a:cubicBezTo>
                  <a:pt x="1406" y="446"/>
                  <a:pt x="1402" y="448"/>
                  <a:pt x="1402" y="452"/>
                </a:cubicBezTo>
                <a:cubicBezTo>
                  <a:pt x="1402" y="455"/>
                  <a:pt x="1406" y="458"/>
                  <a:pt x="1410" y="458"/>
                </a:cubicBezTo>
                <a:cubicBezTo>
                  <a:pt x="1414" y="458"/>
                  <a:pt x="1417" y="455"/>
                  <a:pt x="1417" y="452"/>
                </a:cubicBezTo>
                <a:cubicBezTo>
                  <a:pt x="1417" y="448"/>
                  <a:pt x="1414" y="446"/>
                  <a:pt x="1410" y="446"/>
                </a:cubicBezTo>
                <a:close/>
                <a:moveTo>
                  <a:pt x="1432" y="446"/>
                </a:moveTo>
                <a:cubicBezTo>
                  <a:pt x="1428" y="446"/>
                  <a:pt x="1425" y="448"/>
                  <a:pt x="1425" y="452"/>
                </a:cubicBezTo>
                <a:cubicBezTo>
                  <a:pt x="1425" y="455"/>
                  <a:pt x="1428" y="458"/>
                  <a:pt x="1432" y="458"/>
                </a:cubicBezTo>
                <a:cubicBezTo>
                  <a:pt x="1437" y="458"/>
                  <a:pt x="1440" y="455"/>
                  <a:pt x="1440" y="452"/>
                </a:cubicBezTo>
                <a:cubicBezTo>
                  <a:pt x="1440" y="448"/>
                  <a:pt x="1437" y="446"/>
                  <a:pt x="1432" y="446"/>
                </a:cubicBezTo>
                <a:close/>
                <a:moveTo>
                  <a:pt x="1410" y="464"/>
                </a:moveTo>
                <a:cubicBezTo>
                  <a:pt x="1406" y="464"/>
                  <a:pt x="1402" y="467"/>
                  <a:pt x="1402" y="471"/>
                </a:cubicBezTo>
                <a:cubicBezTo>
                  <a:pt x="1402" y="475"/>
                  <a:pt x="1406" y="478"/>
                  <a:pt x="1410" y="478"/>
                </a:cubicBezTo>
                <a:cubicBezTo>
                  <a:pt x="1414" y="478"/>
                  <a:pt x="1417" y="475"/>
                  <a:pt x="1417" y="471"/>
                </a:cubicBezTo>
                <a:cubicBezTo>
                  <a:pt x="1417" y="467"/>
                  <a:pt x="1414" y="464"/>
                  <a:pt x="1410" y="464"/>
                </a:cubicBezTo>
                <a:close/>
                <a:moveTo>
                  <a:pt x="1432" y="464"/>
                </a:moveTo>
                <a:cubicBezTo>
                  <a:pt x="1428" y="464"/>
                  <a:pt x="1425" y="467"/>
                  <a:pt x="1425" y="471"/>
                </a:cubicBezTo>
                <a:cubicBezTo>
                  <a:pt x="1425" y="475"/>
                  <a:pt x="1428" y="478"/>
                  <a:pt x="1432" y="478"/>
                </a:cubicBezTo>
                <a:cubicBezTo>
                  <a:pt x="1437" y="478"/>
                  <a:pt x="1440" y="475"/>
                  <a:pt x="1440" y="471"/>
                </a:cubicBezTo>
                <a:cubicBezTo>
                  <a:pt x="1440" y="467"/>
                  <a:pt x="1437" y="464"/>
                  <a:pt x="1432" y="464"/>
                </a:cubicBezTo>
                <a:close/>
                <a:moveTo>
                  <a:pt x="1410" y="484"/>
                </a:moveTo>
                <a:cubicBezTo>
                  <a:pt x="1406" y="484"/>
                  <a:pt x="1402" y="487"/>
                  <a:pt x="1402" y="490"/>
                </a:cubicBezTo>
                <a:cubicBezTo>
                  <a:pt x="1402" y="494"/>
                  <a:pt x="1406" y="497"/>
                  <a:pt x="1410" y="497"/>
                </a:cubicBezTo>
                <a:cubicBezTo>
                  <a:pt x="1414" y="497"/>
                  <a:pt x="1417" y="494"/>
                  <a:pt x="1417" y="490"/>
                </a:cubicBezTo>
                <a:cubicBezTo>
                  <a:pt x="1417" y="487"/>
                  <a:pt x="1414" y="484"/>
                  <a:pt x="1410" y="484"/>
                </a:cubicBezTo>
                <a:close/>
                <a:moveTo>
                  <a:pt x="1432" y="484"/>
                </a:moveTo>
                <a:cubicBezTo>
                  <a:pt x="1428" y="484"/>
                  <a:pt x="1425" y="487"/>
                  <a:pt x="1425" y="490"/>
                </a:cubicBezTo>
                <a:cubicBezTo>
                  <a:pt x="1425" y="494"/>
                  <a:pt x="1428" y="497"/>
                  <a:pt x="1432" y="497"/>
                </a:cubicBezTo>
                <a:cubicBezTo>
                  <a:pt x="1437" y="497"/>
                  <a:pt x="1440" y="494"/>
                  <a:pt x="1440" y="490"/>
                </a:cubicBezTo>
                <a:cubicBezTo>
                  <a:pt x="1440" y="487"/>
                  <a:pt x="1437" y="484"/>
                  <a:pt x="1432" y="484"/>
                </a:cubicBezTo>
                <a:close/>
                <a:moveTo>
                  <a:pt x="1410" y="503"/>
                </a:moveTo>
                <a:cubicBezTo>
                  <a:pt x="1406" y="503"/>
                  <a:pt x="1402" y="506"/>
                  <a:pt x="1402" y="509"/>
                </a:cubicBezTo>
                <a:cubicBezTo>
                  <a:pt x="1402" y="513"/>
                  <a:pt x="1406" y="516"/>
                  <a:pt x="1410" y="516"/>
                </a:cubicBezTo>
                <a:cubicBezTo>
                  <a:pt x="1414" y="516"/>
                  <a:pt x="1417" y="513"/>
                  <a:pt x="1417" y="509"/>
                </a:cubicBezTo>
                <a:cubicBezTo>
                  <a:pt x="1417" y="506"/>
                  <a:pt x="1414" y="503"/>
                  <a:pt x="1410" y="503"/>
                </a:cubicBezTo>
                <a:close/>
                <a:moveTo>
                  <a:pt x="1432" y="503"/>
                </a:moveTo>
                <a:cubicBezTo>
                  <a:pt x="1428" y="503"/>
                  <a:pt x="1425" y="506"/>
                  <a:pt x="1425" y="509"/>
                </a:cubicBezTo>
                <a:cubicBezTo>
                  <a:pt x="1425" y="513"/>
                  <a:pt x="1428" y="516"/>
                  <a:pt x="1432" y="516"/>
                </a:cubicBezTo>
                <a:cubicBezTo>
                  <a:pt x="1437" y="516"/>
                  <a:pt x="1440" y="513"/>
                  <a:pt x="1440" y="509"/>
                </a:cubicBezTo>
                <a:cubicBezTo>
                  <a:pt x="1440" y="506"/>
                  <a:pt x="1437" y="503"/>
                  <a:pt x="1432" y="503"/>
                </a:cubicBezTo>
                <a:close/>
                <a:moveTo>
                  <a:pt x="1410" y="522"/>
                </a:moveTo>
                <a:cubicBezTo>
                  <a:pt x="1406" y="522"/>
                  <a:pt x="1402" y="525"/>
                  <a:pt x="1402" y="529"/>
                </a:cubicBezTo>
                <a:cubicBezTo>
                  <a:pt x="1402" y="533"/>
                  <a:pt x="1406" y="536"/>
                  <a:pt x="1410" y="536"/>
                </a:cubicBezTo>
                <a:cubicBezTo>
                  <a:pt x="1414" y="536"/>
                  <a:pt x="1417" y="533"/>
                  <a:pt x="1417" y="529"/>
                </a:cubicBezTo>
                <a:cubicBezTo>
                  <a:pt x="1417" y="525"/>
                  <a:pt x="1414" y="522"/>
                  <a:pt x="1410" y="522"/>
                </a:cubicBezTo>
                <a:close/>
                <a:moveTo>
                  <a:pt x="1432" y="522"/>
                </a:moveTo>
                <a:cubicBezTo>
                  <a:pt x="1428" y="522"/>
                  <a:pt x="1425" y="525"/>
                  <a:pt x="1425" y="529"/>
                </a:cubicBezTo>
                <a:cubicBezTo>
                  <a:pt x="1425" y="533"/>
                  <a:pt x="1428" y="536"/>
                  <a:pt x="1432" y="536"/>
                </a:cubicBezTo>
                <a:cubicBezTo>
                  <a:pt x="1437" y="536"/>
                  <a:pt x="1440" y="533"/>
                  <a:pt x="1440" y="529"/>
                </a:cubicBezTo>
                <a:cubicBezTo>
                  <a:pt x="1440" y="525"/>
                  <a:pt x="1437" y="522"/>
                  <a:pt x="1432" y="522"/>
                </a:cubicBezTo>
                <a:close/>
                <a:moveTo>
                  <a:pt x="1410" y="542"/>
                </a:moveTo>
                <a:cubicBezTo>
                  <a:pt x="1406" y="542"/>
                  <a:pt x="1402" y="545"/>
                  <a:pt x="1402" y="549"/>
                </a:cubicBezTo>
                <a:cubicBezTo>
                  <a:pt x="1402" y="552"/>
                  <a:pt x="1406" y="556"/>
                  <a:pt x="1410" y="556"/>
                </a:cubicBezTo>
                <a:cubicBezTo>
                  <a:pt x="1414" y="556"/>
                  <a:pt x="1417" y="552"/>
                  <a:pt x="1417" y="549"/>
                </a:cubicBezTo>
                <a:cubicBezTo>
                  <a:pt x="1417" y="545"/>
                  <a:pt x="1414" y="542"/>
                  <a:pt x="1410" y="542"/>
                </a:cubicBezTo>
                <a:close/>
                <a:moveTo>
                  <a:pt x="1432" y="542"/>
                </a:moveTo>
                <a:cubicBezTo>
                  <a:pt x="1428" y="542"/>
                  <a:pt x="1425" y="545"/>
                  <a:pt x="1425" y="549"/>
                </a:cubicBezTo>
                <a:cubicBezTo>
                  <a:pt x="1425" y="552"/>
                  <a:pt x="1428" y="556"/>
                  <a:pt x="1432" y="556"/>
                </a:cubicBezTo>
                <a:cubicBezTo>
                  <a:pt x="1437" y="556"/>
                  <a:pt x="1440" y="552"/>
                  <a:pt x="1440" y="549"/>
                </a:cubicBezTo>
                <a:cubicBezTo>
                  <a:pt x="1440" y="545"/>
                  <a:pt x="1437" y="542"/>
                  <a:pt x="1432" y="542"/>
                </a:cubicBezTo>
                <a:close/>
                <a:moveTo>
                  <a:pt x="1410" y="561"/>
                </a:moveTo>
                <a:cubicBezTo>
                  <a:pt x="1406" y="561"/>
                  <a:pt x="1402" y="564"/>
                  <a:pt x="1402" y="567"/>
                </a:cubicBezTo>
                <a:cubicBezTo>
                  <a:pt x="1402" y="571"/>
                  <a:pt x="1406" y="574"/>
                  <a:pt x="1410" y="574"/>
                </a:cubicBezTo>
                <a:cubicBezTo>
                  <a:pt x="1414" y="574"/>
                  <a:pt x="1417" y="571"/>
                  <a:pt x="1417" y="567"/>
                </a:cubicBezTo>
                <a:cubicBezTo>
                  <a:pt x="1417" y="564"/>
                  <a:pt x="1414" y="561"/>
                  <a:pt x="1410" y="561"/>
                </a:cubicBezTo>
                <a:close/>
                <a:moveTo>
                  <a:pt x="1432" y="561"/>
                </a:moveTo>
                <a:cubicBezTo>
                  <a:pt x="1428" y="561"/>
                  <a:pt x="1425" y="564"/>
                  <a:pt x="1425" y="567"/>
                </a:cubicBezTo>
                <a:cubicBezTo>
                  <a:pt x="1425" y="571"/>
                  <a:pt x="1428" y="574"/>
                  <a:pt x="1432" y="574"/>
                </a:cubicBezTo>
                <a:cubicBezTo>
                  <a:pt x="1437" y="574"/>
                  <a:pt x="1440" y="571"/>
                  <a:pt x="1440" y="567"/>
                </a:cubicBezTo>
                <a:cubicBezTo>
                  <a:pt x="1440" y="564"/>
                  <a:pt x="1437" y="561"/>
                  <a:pt x="1432" y="561"/>
                </a:cubicBezTo>
                <a:close/>
                <a:moveTo>
                  <a:pt x="1410" y="580"/>
                </a:moveTo>
                <a:cubicBezTo>
                  <a:pt x="1406" y="580"/>
                  <a:pt x="1402" y="583"/>
                  <a:pt x="1402" y="587"/>
                </a:cubicBezTo>
                <a:cubicBezTo>
                  <a:pt x="1402" y="590"/>
                  <a:pt x="1406" y="593"/>
                  <a:pt x="1410" y="593"/>
                </a:cubicBezTo>
                <a:cubicBezTo>
                  <a:pt x="1414" y="593"/>
                  <a:pt x="1417" y="590"/>
                  <a:pt x="1417" y="587"/>
                </a:cubicBezTo>
                <a:cubicBezTo>
                  <a:pt x="1417" y="583"/>
                  <a:pt x="1414" y="580"/>
                  <a:pt x="1410" y="580"/>
                </a:cubicBezTo>
                <a:close/>
                <a:moveTo>
                  <a:pt x="1432" y="580"/>
                </a:moveTo>
                <a:cubicBezTo>
                  <a:pt x="1428" y="580"/>
                  <a:pt x="1425" y="583"/>
                  <a:pt x="1425" y="587"/>
                </a:cubicBezTo>
                <a:cubicBezTo>
                  <a:pt x="1425" y="590"/>
                  <a:pt x="1428" y="593"/>
                  <a:pt x="1432" y="593"/>
                </a:cubicBezTo>
                <a:cubicBezTo>
                  <a:pt x="1437" y="593"/>
                  <a:pt x="1440" y="590"/>
                  <a:pt x="1440" y="587"/>
                </a:cubicBezTo>
                <a:cubicBezTo>
                  <a:pt x="1440" y="583"/>
                  <a:pt x="1437" y="580"/>
                  <a:pt x="1432" y="580"/>
                </a:cubicBezTo>
                <a:close/>
                <a:moveTo>
                  <a:pt x="1455" y="446"/>
                </a:moveTo>
                <a:cubicBezTo>
                  <a:pt x="1450" y="446"/>
                  <a:pt x="1447" y="448"/>
                  <a:pt x="1447" y="452"/>
                </a:cubicBezTo>
                <a:cubicBezTo>
                  <a:pt x="1447" y="455"/>
                  <a:pt x="1450" y="458"/>
                  <a:pt x="1455" y="458"/>
                </a:cubicBezTo>
                <a:cubicBezTo>
                  <a:pt x="1459" y="458"/>
                  <a:pt x="1462" y="455"/>
                  <a:pt x="1462" y="452"/>
                </a:cubicBezTo>
                <a:cubicBezTo>
                  <a:pt x="1462" y="448"/>
                  <a:pt x="1459" y="446"/>
                  <a:pt x="1455" y="446"/>
                </a:cubicBezTo>
                <a:close/>
                <a:moveTo>
                  <a:pt x="1455" y="464"/>
                </a:moveTo>
                <a:cubicBezTo>
                  <a:pt x="1450" y="464"/>
                  <a:pt x="1447" y="467"/>
                  <a:pt x="1447" y="471"/>
                </a:cubicBezTo>
                <a:cubicBezTo>
                  <a:pt x="1447" y="475"/>
                  <a:pt x="1450" y="478"/>
                  <a:pt x="1455" y="478"/>
                </a:cubicBezTo>
                <a:cubicBezTo>
                  <a:pt x="1459" y="478"/>
                  <a:pt x="1462" y="475"/>
                  <a:pt x="1462" y="471"/>
                </a:cubicBezTo>
                <a:cubicBezTo>
                  <a:pt x="1462" y="467"/>
                  <a:pt x="1459" y="464"/>
                  <a:pt x="1455" y="464"/>
                </a:cubicBezTo>
                <a:close/>
                <a:moveTo>
                  <a:pt x="1455" y="484"/>
                </a:moveTo>
                <a:cubicBezTo>
                  <a:pt x="1450" y="484"/>
                  <a:pt x="1447" y="487"/>
                  <a:pt x="1447" y="490"/>
                </a:cubicBezTo>
                <a:cubicBezTo>
                  <a:pt x="1447" y="494"/>
                  <a:pt x="1450" y="497"/>
                  <a:pt x="1455" y="497"/>
                </a:cubicBezTo>
                <a:cubicBezTo>
                  <a:pt x="1459" y="497"/>
                  <a:pt x="1462" y="494"/>
                  <a:pt x="1462" y="490"/>
                </a:cubicBezTo>
                <a:cubicBezTo>
                  <a:pt x="1462" y="487"/>
                  <a:pt x="1459" y="484"/>
                  <a:pt x="1455" y="484"/>
                </a:cubicBezTo>
                <a:close/>
                <a:moveTo>
                  <a:pt x="1477" y="484"/>
                </a:moveTo>
                <a:cubicBezTo>
                  <a:pt x="1472" y="484"/>
                  <a:pt x="1469" y="487"/>
                  <a:pt x="1469" y="490"/>
                </a:cubicBezTo>
                <a:cubicBezTo>
                  <a:pt x="1469" y="494"/>
                  <a:pt x="1472" y="497"/>
                  <a:pt x="1477" y="497"/>
                </a:cubicBezTo>
                <a:cubicBezTo>
                  <a:pt x="1481" y="497"/>
                  <a:pt x="1484" y="494"/>
                  <a:pt x="1484" y="490"/>
                </a:cubicBezTo>
                <a:cubicBezTo>
                  <a:pt x="1484" y="487"/>
                  <a:pt x="1481" y="484"/>
                  <a:pt x="1477" y="484"/>
                </a:cubicBezTo>
                <a:close/>
                <a:moveTo>
                  <a:pt x="1455" y="503"/>
                </a:moveTo>
                <a:cubicBezTo>
                  <a:pt x="1450" y="503"/>
                  <a:pt x="1447" y="506"/>
                  <a:pt x="1447" y="509"/>
                </a:cubicBezTo>
                <a:cubicBezTo>
                  <a:pt x="1447" y="513"/>
                  <a:pt x="1450" y="516"/>
                  <a:pt x="1455" y="516"/>
                </a:cubicBezTo>
                <a:cubicBezTo>
                  <a:pt x="1459" y="516"/>
                  <a:pt x="1462" y="513"/>
                  <a:pt x="1462" y="509"/>
                </a:cubicBezTo>
                <a:cubicBezTo>
                  <a:pt x="1462" y="506"/>
                  <a:pt x="1459" y="503"/>
                  <a:pt x="1455" y="503"/>
                </a:cubicBezTo>
                <a:close/>
                <a:moveTo>
                  <a:pt x="1477" y="503"/>
                </a:moveTo>
                <a:cubicBezTo>
                  <a:pt x="1472" y="503"/>
                  <a:pt x="1469" y="506"/>
                  <a:pt x="1469" y="509"/>
                </a:cubicBezTo>
                <a:cubicBezTo>
                  <a:pt x="1469" y="513"/>
                  <a:pt x="1472" y="516"/>
                  <a:pt x="1477" y="516"/>
                </a:cubicBezTo>
                <a:cubicBezTo>
                  <a:pt x="1481" y="516"/>
                  <a:pt x="1484" y="513"/>
                  <a:pt x="1484" y="509"/>
                </a:cubicBezTo>
                <a:cubicBezTo>
                  <a:pt x="1484" y="506"/>
                  <a:pt x="1481" y="503"/>
                  <a:pt x="1477" y="503"/>
                </a:cubicBezTo>
                <a:close/>
                <a:moveTo>
                  <a:pt x="1455" y="522"/>
                </a:moveTo>
                <a:cubicBezTo>
                  <a:pt x="1450" y="522"/>
                  <a:pt x="1447" y="525"/>
                  <a:pt x="1447" y="529"/>
                </a:cubicBezTo>
                <a:cubicBezTo>
                  <a:pt x="1447" y="533"/>
                  <a:pt x="1450" y="536"/>
                  <a:pt x="1455" y="536"/>
                </a:cubicBezTo>
                <a:cubicBezTo>
                  <a:pt x="1459" y="536"/>
                  <a:pt x="1462" y="533"/>
                  <a:pt x="1462" y="529"/>
                </a:cubicBezTo>
                <a:cubicBezTo>
                  <a:pt x="1462" y="525"/>
                  <a:pt x="1459" y="522"/>
                  <a:pt x="1455" y="522"/>
                </a:cubicBezTo>
                <a:close/>
                <a:moveTo>
                  <a:pt x="1477" y="522"/>
                </a:moveTo>
                <a:cubicBezTo>
                  <a:pt x="1472" y="522"/>
                  <a:pt x="1469" y="525"/>
                  <a:pt x="1469" y="529"/>
                </a:cubicBezTo>
                <a:cubicBezTo>
                  <a:pt x="1469" y="533"/>
                  <a:pt x="1472" y="536"/>
                  <a:pt x="1477" y="536"/>
                </a:cubicBezTo>
                <a:cubicBezTo>
                  <a:pt x="1481" y="536"/>
                  <a:pt x="1484" y="533"/>
                  <a:pt x="1484" y="529"/>
                </a:cubicBezTo>
                <a:cubicBezTo>
                  <a:pt x="1484" y="525"/>
                  <a:pt x="1481" y="522"/>
                  <a:pt x="1477" y="522"/>
                </a:cubicBezTo>
                <a:close/>
                <a:moveTo>
                  <a:pt x="1455" y="542"/>
                </a:moveTo>
                <a:cubicBezTo>
                  <a:pt x="1450" y="542"/>
                  <a:pt x="1447" y="545"/>
                  <a:pt x="1447" y="549"/>
                </a:cubicBezTo>
                <a:cubicBezTo>
                  <a:pt x="1447" y="552"/>
                  <a:pt x="1450" y="556"/>
                  <a:pt x="1455" y="556"/>
                </a:cubicBezTo>
                <a:cubicBezTo>
                  <a:pt x="1459" y="556"/>
                  <a:pt x="1462" y="552"/>
                  <a:pt x="1462" y="549"/>
                </a:cubicBezTo>
                <a:cubicBezTo>
                  <a:pt x="1462" y="545"/>
                  <a:pt x="1459" y="542"/>
                  <a:pt x="1455" y="542"/>
                </a:cubicBezTo>
                <a:close/>
                <a:moveTo>
                  <a:pt x="1455" y="561"/>
                </a:moveTo>
                <a:cubicBezTo>
                  <a:pt x="1450" y="561"/>
                  <a:pt x="1447" y="564"/>
                  <a:pt x="1447" y="567"/>
                </a:cubicBezTo>
                <a:cubicBezTo>
                  <a:pt x="1447" y="571"/>
                  <a:pt x="1450" y="574"/>
                  <a:pt x="1455" y="574"/>
                </a:cubicBezTo>
                <a:cubicBezTo>
                  <a:pt x="1459" y="574"/>
                  <a:pt x="1462" y="571"/>
                  <a:pt x="1462" y="567"/>
                </a:cubicBezTo>
                <a:cubicBezTo>
                  <a:pt x="1462" y="564"/>
                  <a:pt x="1459" y="561"/>
                  <a:pt x="1455" y="561"/>
                </a:cubicBezTo>
                <a:close/>
                <a:moveTo>
                  <a:pt x="1477" y="561"/>
                </a:moveTo>
                <a:cubicBezTo>
                  <a:pt x="1472" y="561"/>
                  <a:pt x="1469" y="564"/>
                  <a:pt x="1469" y="567"/>
                </a:cubicBezTo>
                <a:cubicBezTo>
                  <a:pt x="1469" y="571"/>
                  <a:pt x="1472" y="574"/>
                  <a:pt x="1477" y="574"/>
                </a:cubicBezTo>
                <a:cubicBezTo>
                  <a:pt x="1481" y="574"/>
                  <a:pt x="1484" y="571"/>
                  <a:pt x="1484" y="567"/>
                </a:cubicBezTo>
                <a:cubicBezTo>
                  <a:pt x="1484" y="564"/>
                  <a:pt x="1481" y="561"/>
                  <a:pt x="1477" y="561"/>
                </a:cubicBezTo>
                <a:close/>
                <a:moveTo>
                  <a:pt x="1455" y="580"/>
                </a:moveTo>
                <a:cubicBezTo>
                  <a:pt x="1450" y="580"/>
                  <a:pt x="1447" y="583"/>
                  <a:pt x="1447" y="587"/>
                </a:cubicBezTo>
                <a:cubicBezTo>
                  <a:pt x="1447" y="590"/>
                  <a:pt x="1450" y="593"/>
                  <a:pt x="1455" y="593"/>
                </a:cubicBezTo>
                <a:cubicBezTo>
                  <a:pt x="1459" y="593"/>
                  <a:pt x="1462" y="590"/>
                  <a:pt x="1462" y="587"/>
                </a:cubicBezTo>
                <a:cubicBezTo>
                  <a:pt x="1462" y="583"/>
                  <a:pt x="1459" y="580"/>
                  <a:pt x="1455" y="580"/>
                </a:cubicBezTo>
                <a:close/>
                <a:moveTo>
                  <a:pt x="1477" y="580"/>
                </a:moveTo>
                <a:cubicBezTo>
                  <a:pt x="1472" y="580"/>
                  <a:pt x="1469" y="583"/>
                  <a:pt x="1469" y="587"/>
                </a:cubicBezTo>
                <a:cubicBezTo>
                  <a:pt x="1469" y="590"/>
                  <a:pt x="1472" y="593"/>
                  <a:pt x="1477" y="593"/>
                </a:cubicBezTo>
                <a:cubicBezTo>
                  <a:pt x="1481" y="593"/>
                  <a:pt x="1484" y="590"/>
                  <a:pt x="1484" y="587"/>
                </a:cubicBezTo>
                <a:cubicBezTo>
                  <a:pt x="1484" y="583"/>
                  <a:pt x="1481" y="580"/>
                  <a:pt x="1477" y="580"/>
                </a:cubicBezTo>
                <a:close/>
                <a:moveTo>
                  <a:pt x="1521" y="446"/>
                </a:moveTo>
                <a:cubicBezTo>
                  <a:pt x="1517" y="446"/>
                  <a:pt x="1514" y="448"/>
                  <a:pt x="1514" y="452"/>
                </a:cubicBezTo>
                <a:cubicBezTo>
                  <a:pt x="1514" y="455"/>
                  <a:pt x="1517" y="458"/>
                  <a:pt x="1521" y="458"/>
                </a:cubicBezTo>
                <a:cubicBezTo>
                  <a:pt x="1526" y="458"/>
                  <a:pt x="1529" y="455"/>
                  <a:pt x="1529" y="452"/>
                </a:cubicBezTo>
                <a:cubicBezTo>
                  <a:pt x="1529" y="448"/>
                  <a:pt x="1526" y="446"/>
                  <a:pt x="1521" y="446"/>
                </a:cubicBezTo>
                <a:close/>
                <a:moveTo>
                  <a:pt x="1498" y="464"/>
                </a:moveTo>
                <a:cubicBezTo>
                  <a:pt x="1494" y="464"/>
                  <a:pt x="1491" y="467"/>
                  <a:pt x="1491" y="471"/>
                </a:cubicBezTo>
                <a:cubicBezTo>
                  <a:pt x="1491" y="475"/>
                  <a:pt x="1494" y="478"/>
                  <a:pt x="1498" y="478"/>
                </a:cubicBezTo>
                <a:cubicBezTo>
                  <a:pt x="1503" y="478"/>
                  <a:pt x="1506" y="475"/>
                  <a:pt x="1506" y="471"/>
                </a:cubicBezTo>
                <a:cubicBezTo>
                  <a:pt x="1506" y="467"/>
                  <a:pt x="1503" y="464"/>
                  <a:pt x="1498" y="464"/>
                </a:cubicBezTo>
                <a:close/>
                <a:moveTo>
                  <a:pt x="1521" y="464"/>
                </a:moveTo>
                <a:cubicBezTo>
                  <a:pt x="1517" y="464"/>
                  <a:pt x="1514" y="467"/>
                  <a:pt x="1514" y="471"/>
                </a:cubicBezTo>
                <a:cubicBezTo>
                  <a:pt x="1514" y="475"/>
                  <a:pt x="1517" y="478"/>
                  <a:pt x="1521" y="478"/>
                </a:cubicBezTo>
                <a:cubicBezTo>
                  <a:pt x="1526" y="478"/>
                  <a:pt x="1529" y="475"/>
                  <a:pt x="1529" y="471"/>
                </a:cubicBezTo>
                <a:cubicBezTo>
                  <a:pt x="1529" y="467"/>
                  <a:pt x="1526" y="464"/>
                  <a:pt x="1521" y="464"/>
                </a:cubicBezTo>
                <a:close/>
                <a:moveTo>
                  <a:pt x="1498" y="484"/>
                </a:moveTo>
                <a:cubicBezTo>
                  <a:pt x="1494" y="484"/>
                  <a:pt x="1491" y="487"/>
                  <a:pt x="1491" y="490"/>
                </a:cubicBezTo>
                <a:cubicBezTo>
                  <a:pt x="1491" y="494"/>
                  <a:pt x="1494" y="497"/>
                  <a:pt x="1498" y="497"/>
                </a:cubicBezTo>
                <a:cubicBezTo>
                  <a:pt x="1503" y="497"/>
                  <a:pt x="1506" y="494"/>
                  <a:pt x="1506" y="490"/>
                </a:cubicBezTo>
                <a:cubicBezTo>
                  <a:pt x="1506" y="487"/>
                  <a:pt x="1503" y="484"/>
                  <a:pt x="1498" y="484"/>
                </a:cubicBezTo>
                <a:close/>
                <a:moveTo>
                  <a:pt x="1521" y="484"/>
                </a:moveTo>
                <a:cubicBezTo>
                  <a:pt x="1517" y="484"/>
                  <a:pt x="1514" y="487"/>
                  <a:pt x="1514" y="490"/>
                </a:cubicBezTo>
                <a:cubicBezTo>
                  <a:pt x="1514" y="494"/>
                  <a:pt x="1517" y="497"/>
                  <a:pt x="1521" y="497"/>
                </a:cubicBezTo>
                <a:cubicBezTo>
                  <a:pt x="1526" y="497"/>
                  <a:pt x="1529" y="494"/>
                  <a:pt x="1529" y="490"/>
                </a:cubicBezTo>
                <a:cubicBezTo>
                  <a:pt x="1529" y="487"/>
                  <a:pt x="1526" y="484"/>
                  <a:pt x="1521" y="484"/>
                </a:cubicBezTo>
                <a:close/>
                <a:moveTo>
                  <a:pt x="1498" y="503"/>
                </a:moveTo>
                <a:cubicBezTo>
                  <a:pt x="1494" y="503"/>
                  <a:pt x="1491" y="506"/>
                  <a:pt x="1491" y="509"/>
                </a:cubicBezTo>
                <a:cubicBezTo>
                  <a:pt x="1491" y="513"/>
                  <a:pt x="1494" y="516"/>
                  <a:pt x="1498" y="516"/>
                </a:cubicBezTo>
                <a:cubicBezTo>
                  <a:pt x="1503" y="516"/>
                  <a:pt x="1506" y="513"/>
                  <a:pt x="1506" y="509"/>
                </a:cubicBezTo>
                <a:cubicBezTo>
                  <a:pt x="1506" y="506"/>
                  <a:pt x="1503" y="503"/>
                  <a:pt x="1498" y="503"/>
                </a:cubicBezTo>
                <a:close/>
                <a:moveTo>
                  <a:pt x="1521" y="503"/>
                </a:moveTo>
                <a:cubicBezTo>
                  <a:pt x="1517" y="503"/>
                  <a:pt x="1514" y="506"/>
                  <a:pt x="1514" y="509"/>
                </a:cubicBezTo>
                <a:cubicBezTo>
                  <a:pt x="1514" y="513"/>
                  <a:pt x="1517" y="516"/>
                  <a:pt x="1521" y="516"/>
                </a:cubicBezTo>
                <a:cubicBezTo>
                  <a:pt x="1526" y="516"/>
                  <a:pt x="1529" y="513"/>
                  <a:pt x="1529" y="509"/>
                </a:cubicBezTo>
                <a:cubicBezTo>
                  <a:pt x="1529" y="506"/>
                  <a:pt x="1526" y="503"/>
                  <a:pt x="1521" y="503"/>
                </a:cubicBezTo>
                <a:close/>
                <a:moveTo>
                  <a:pt x="1498" y="522"/>
                </a:moveTo>
                <a:cubicBezTo>
                  <a:pt x="1494" y="522"/>
                  <a:pt x="1491" y="525"/>
                  <a:pt x="1491" y="529"/>
                </a:cubicBezTo>
                <a:cubicBezTo>
                  <a:pt x="1491" y="533"/>
                  <a:pt x="1494" y="536"/>
                  <a:pt x="1498" y="536"/>
                </a:cubicBezTo>
                <a:cubicBezTo>
                  <a:pt x="1503" y="536"/>
                  <a:pt x="1506" y="533"/>
                  <a:pt x="1506" y="529"/>
                </a:cubicBezTo>
                <a:cubicBezTo>
                  <a:pt x="1506" y="525"/>
                  <a:pt x="1503" y="522"/>
                  <a:pt x="1498" y="522"/>
                </a:cubicBezTo>
                <a:close/>
                <a:moveTo>
                  <a:pt x="1521" y="522"/>
                </a:moveTo>
                <a:cubicBezTo>
                  <a:pt x="1517" y="522"/>
                  <a:pt x="1514" y="525"/>
                  <a:pt x="1514" y="529"/>
                </a:cubicBezTo>
                <a:cubicBezTo>
                  <a:pt x="1514" y="533"/>
                  <a:pt x="1517" y="536"/>
                  <a:pt x="1521" y="536"/>
                </a:cubicBezTo>
                <a:cubicBezTo>
                  <a:pt x="1526" y="536"/>
                  <a:pt x="1529" y="533"/>
                  <a:pt x="1529" y="529"/>
                </a:cubicBezTo>
                <a:cubicBezTo>
                  <a:pt x="1529" y="525"/>
                  <a:pt x="1526" y="522"/>
                  <a:pt x="1521" y="522"/>
                </a:cubicBezTo>
                <a:close/>
                <a:moveTo>
                  <a:pt x="1521" y="542"/>
                </a:moveTo>
                <a:cubicBezTo>
                  <a:pt x="1517" y="542"/>
                  <a:pt x="1514" y="545"/>
                  <a:pt x="1514" y="549"/>
                </a:cubicBezTo>
                <a:cubicBezTo>
                  <a:pt x="1514" y="552"/>
                  <a:pt x="1517" y="556"/>
                  <a:pt x="1521" y="556"/>
                </a:cubicBezTo>
                <a:cubicBezTo>
                  <a:pt x="1526" y="556"/>
                  <a:pt x="1529" y="552"/>
                  <a:pt x="1529" y="549"/>
                </a:cubicBezTo>
                <a:cubicBezTo>
                  <a:pt x="1529" y="545"/>
                  <a:pt x="1526" y="542"/>
                  <a:pt x="1521" y="542"/>
                </a:cubicBezTo>
                <a:close/>
                <a:moveTo>
                  <a:pt x="1498" y="561"/>
                </a:moveTo>
                <a:cubicBezTo>
                  <a:pt x="1494" y="561"/>
                  <a:pt x="1491" y="564"/>
                  <a:pt x="1491" y="567"/>
                </a:cubicBezTo>
                <a:cubicBezTo>
                  <a:pt x="1491" y="571"/>
                  <a:pt x="1494" y="574"/>
                  <a:pt x="1498" y="574"/>
                </a:cubicBezTo>
                <a:cubicBezTo>
                  <a:pt x="1503" y="574"/>
                  <a:pt x="1506" y="571"/>
                  <a:pt x="1506" y="567"/>
                </a:cubicBezTo>
                <a:cubicBezTo>
                  <a:pt x="1506" y="564"/>
                  <a:pt x="1503" y="561"/>
                  <a:pt x="1498" y="561"/>
                </a:cubicBezTo>
                <a:close/>
                <a:moveTo>
                  <a:pt x="1498" y="580"/>
                </a:moveTo>
                <a:cubicBezTo>
                  <a:pt x="1494" y="580"/>
                  <a:pt x="1491" y="583"/>
                  <a:pt x="1491" y="587"/>
                </a:cubicBezTo>
                <a:cubicBezTo>
                  <a:pt x="1491" y="590"/>
                  <a:pt x="1494" y="593"/>
                  <a:pt x="1498" y="593"/>
                </a:cubicBezTo>
                <a:cubicBezTo>
                  <a:pt x="1503" y="593"/>
                  <a:pt x="1506" y="590"/>
                  <a:pt x="1506" y="587"/>
                </a:cubicBezTo>
                <a:cubicBezTo>
                  <a:pt x="1506" y="583"/>
                  <a:pt x="1503" y="580"/>
                  <a:pt x="1498" y="580"/>
                </a:cubicBezTo>
                <a:close/>
                <a:moveTo>
                  <a:pt x="1521" y="580"/>
                </a:moveTo>
                <a:cubicBezTo>
                  <a:pt x="1517" y="580"/>
                  <a:pt x="1514" y="583"/>
                  <a:pt x="1514" y="587"/>
                </a:cubicBezTo>
                <a:cubicBezTo>
                  <a:pt x="1514" y="590"/>
                  <a:pt x="1517" y="593"/>
                  <a:pt x="1521" y="593"/>
                </a:cubicBezTo>
                <a:cubicBezTo>
                  <a:pt x="1526" y="593"/>
                  <a:pt x="1529" y="590"/>
                  <a:pt x="1529" y="587"/>
                </a:cubicBezTo>
                <a:cubicBezTo>
                  <a:pt x="1529" y="583"/>
                  <a:pt x="1526" y="580"/>
                  <a:pt x="1521" y="580"/>
                </a:cubicBezTo>
                <a:close/>
                <a:moveTo>
                  <a:pt x="452" y="601"/>
                </a:moveTo>
                <a:cubicBezTo>
                  <a:pt x="448" y="601"/>
                  <a:pt x="445" y="604"/>
                  <a:pt x="445" y="608"/>
                </a:cubicBezTo>
                <a:cubicBezTo>
                  <a:pt x="445" y="612"/>
                  <a:pt x="448" y="615"/>
                  <a:pt x="452" y="615"/>
                </a:cubicBezTo>
                <a:cubicBezTo>
                  <a:pt x="457" y="615"/>
                  <a:pt x="460" y="612"/>
                  <a:pt x="460" y="608"/>
                </a:cubicBezTo>
                <a:cubicBezTo>
                  <a:pt x="460" y="604"/>
                  <a:pt x="457" y="601"/>
                  <a:pt x="452" y="601"/>
                </a:cubicBezTo>
                <a:close/>
                <a:moveTo>
                  <a:pt x="474" y="601"/>
                </a:moveTo>
                <a:cubicBezTo>
                  <a:pt x="470" y="601"/>
                  <a:pt x="467" y="604"/>
                  <a:pt x="467" y="608"/>
                </a:cubicBezTo>
                <a:cubicBezTo>
                  <a:pt x="467" y="612"/>
                  <a:pt x="470" y="615"/>
                  <a:pt x="474" y="615"/>
                </a:cubicBezTo>
                <a:cubicBezTo>
                  <a:pt x="478" y="615"/>
                  <a:pt x="482" y="612"/>
                  <a:pt x="482" y="608"/>
                </a:cubicBezTo>
                <a:cubicBezTo>
                  <a:pt x="482" y="604"/>
                  <a:pt x="478" y="601"/>
                  <a:pt x="474" y="601"/>
                </a:cubicBezTo>
                <a:close/>
                <a:moveTo>
                  <a:pt x="497" y="601"/>
                </a:moveTo>
                <a:cubicBezTo>
                  <a:pt x="493" y="601"/>
                  <a:pt x="490" y="604"/>
                  <a:pt x="490" y="608"/>
                </a:cubicBezTo>
                <a:cubicBezTo>
                  <a:pt x="490" y="612"/>
                  <a:pt x="493" y="615"/>
                  <a:pt x="497" y="615"/>
                </a:cubicBezTo>
                <a:cubicBezTo>
                  <a:pt x="501" y="615"/>
                  <a:pt x="505" y="612"/>
                  <a:pt x="505" y="608"/>
                </a:cubicBezTo>
                <a:cubicBezTo>
                  <a:pt x="505" y="604"/>
                  <a:pt x="501" y="601"/>
                  <a:pt x="497" y="601"/>
                </a:cubicBezTo>
                <a:close/>
                <a:moveTo>
                  <a:pt x="474" y="620"/>
                </a:moveTo>
                <a:cubicBezTo>
                  <a:pt x="470" y="620"/>
                  <a:pt x="467" y="623"/>
                  <a:pt x="467" y="627"/>
                </a:cubicBezTo>
                <a:cubicBezTo>
                  <a:pt x="467" y="631"/>
                  <a:pt x="470" y="634"/>
                  <a:pt x="474" y="634"/>
                </a:cubicBezTo>
                <a:cubicBezTo>
                  <a:pt x="478" y="634"/>
                  <a:pt x="482" y="631"/>
                  <a:pt x="482" y="627"/>
                </a:cubicBezTo>
                <a:cubicBezTo>
                  <a:pt x="482" y="623"/>
                  <a:pt x="478" y="620"/>
                  <a:pt x="474" y="620"/>
                </a:cubicBezTo>
                <a:close/>
                <a:moveTo>
                  <a:pt x="497" y="620"/>
                </a:moveTo>
                <a:cubicBezTo>
                  <a:pt x="493" y="620"/>
                  <a:pt x="490" y="623"/>
                  <a:pt x="490" y="627"/>
                </a:cubicBezTo>
                <a:cubicBezTo>
                  <a:pt x="490" y="631"/>
                  <a:pt x="493" y="634"/>
                  <a:pt x="497" y="634"/>
                </a:cubicBezTo>
                <a:cubicBezTo>
                  <a:pt x="501" y="634"/>
                  <a:pt x="505" y="631"/>
                  <a:pt x="505" y="627"/>
                </a:cubicBezTo>
                <a:cubicBezTo>
                  <a:pt x="505" y="623"/>
                  <a:pt x="501" y="620"/>
                  <a:pt x="497" y="620"/>
                </a:cubicBezTo>
                <a:close/>
                <a:moveTo>
                  <a:pt x="520" y="601"/>
                </a:moveTo>
                <a:cubicBezTo>
                  <a:pt x="516" y="601"/>
                  <a:pt x="512" y="604"/>
                  <a:pt x="512" y="608"/>
                </a:cubicBezTo>
                <a:cubicBezTo>
                  <a:pt x="512" y="612"/>
                  <a:pt x="516" y="615"/>
                  <a:pt x="520" y="615"/>
                </a:cubicBezTo>
                <a:cubicBezTo>
                  <a:pt x="524" y="615"/>
                  <a:pt x="528" y="612"/>
                  <a:pt x="528" y="608"/>
                </a:cubicBezTo>
                <a:cubicBezTo>
                  <a:pt x="528" y="604"/>
                  <a:pt x="524" y="601"/>
                  <a:pt x="520" y="601"/>
                </a:cubicBezTo>
                <a:close/>
                <a:moveTo>
                  <a:pt x="542" y="601"/>
                </a:moveTo>
                <a:cubicBezTo>
                  <a:pt x="538" y="601"/>
                  <a:pt x="534" y="604"/>
                  <a:pt x="534" y="608"/>
                </a:cubicBezTo>
                <a:cubicBezTo>
                  <a:pt x="534" y="612"/>
                  <a:pt x="538" y="615"/>
                  <a:pt x="542" y="615"/>
                </a:cubicBezTo>
                <a:cubicBezTo>
                  <a:pt x="546" y="615"/>
                  <a:pt x="549" y="612"/>
                  <a:pt x="549" y="608"/>
                </a:cubicBezTo>
                <a:cubicBezTo>
                  <a:pt x="549" y="604"/>
                  <a:pt x="546" y="601"/>
                  <a:pt x="542" y="601"/>
                </a:cubicBezTo>
                <a:close/>
                <a:moveTo>
                  <a:pt x="520" y="620"/>
                </a:moveTo>
                <a:cubicBezTo>
                  <a:pt x="516" y="620"/>
                  <a:pt x="512" y="623"/>
                  <a:pt x="512" y="627"/>
                </a:cubicBezTo>
                <a:cubicBezTo>
                  <a:pt x="512" y="631"/>
                  <a:pt x="516" y="634"/>
                  <a:pt x="520" y="634"/>
                </a:cubicBezTo>
                <a:cubicBezTo>
                  <a:pt x="524" y="634"/>
                  <a:pt x="528" y="631"/>
                  <a:pt x="528" y="627"/>
                </a:cubicBezTo>
                <a:cubicBezTo>
                  <a:pt x="528" y="623"/>
                  <a:pt x="524" y="620"/>
                  <a:pt x="520" y="620"/>
                </a:cubicBezTo>
                <a:close/>
                <a:moveTo>
                  <a:pt x="542" y="620"/>
                </a:moveTo>
                <a:cubicBezTo>
                  <a:pt x="538" y="620"/>
                  <a:pt x="534" y="623"/>
                  <a:pt x="534" y="627"/>
                </a:cubicBezTo>
                <a:cubicBezTo>
                  <a:pt x="534" y="631"/>
                  <a:pt x="538" y="634"/>
                  <a:pt x="542" y="634"/>
                </a:cubicBezTo>
                <a:cubicBezTo>
                  <a:pt x="546" y="634"/>
                  <a:pt x="549" y="631"/>
                  <a:pt x="549" y="627"/>
                </a:cubicBezTo>
                <a:cubicBezTo>
                  <a:pt x="549" y="623"/>
                  <a:pt x="546" y="620"/>
                  <a:pt x="542" y="620"/>
                </a:cubicBezTo>
                <a:close/>
                <a:moveTo>
                  <a:pt x="542" y="640"/>
                </a:moveTo>
                <a:cubicBezTo>
                  <a:pt x="538" y="640"/>
                  <a:pt x="534" y="643"/>
                  <a:pt x="534" y="647"/>
                </a:cubicBezTo>
                <a:cubicBezTo>
                  <a:pt x="534" y="650"/>
                  <a:pt x="538" y="653"/>
                  <a:pt x="542" y="653"/>
                </a:cubicBezTo>
                <a:cubicBezTo>
                  <a:pt x="546" y="653"/>
                  <a:pt x="549" y="650"/>
                  <a:pt x="549" y="647"/>
                </a:cubicBezTo>
                <a:cubicBezTo>
                  <a:pt x="549" y="643"/>
                  <a:pt x="546" y="640"/>
                  <a:pt x="542" y="640"/>
                </a:cubicBezTo>
                <a:close/>
                <a:moveTo>
                  <a:pt x="564" y="640"/>
                </a:moveTo>
                <a:cubicBezTo>
                  <a:pt x="559" y="640"/>
                  <a:pt x="556" y="643"/>
                  <a:pt x="556" y="647"/>
                </a:cubicBezTo>
                <a:cubicBezTo>
                  <a:pt x="556" y="650"/>
                  <a:pt x="559" y="653"/>
                  <a:pt x="564" y="653"/>
                </a:cubicBezTo>
                <a:cubicBezTo>
                  <a:pt x="568" y="653"/>
                  <a:pt x="571" y="650"/>
                  <a:pt x="571" y="647"/>
                </a:cubicBezTo>
                <a:cubicBezTo>
                  <a:pt x="571" y="643"/>
                  <a:pt x="568" y="640"/>
                  <a:pt x="564" y="640"/>
                </a:cubicBezTo>
                <a:close/>
                <a:moveTo>
                  <a:pt x="564" y="659"/>
                </a:moveTo>
                <a:cubicBezTo>
                  <a:pt x="559" y="659"/>
                  <a:pt x="556" y="662"/>
                  <a:pt x="556" y="666"/>
                </a:cubicBezTo>
                <a:cubicBezTo>
                  <a:pt x="556" y="670"/>
                  <a:pt x="559" y="673"/>
                  <a:pt x="564" y="673"/>
                </a:cubicBezTo>
                <a:cubicBezTo>
                  <a:pt x="568" y="673"/>
                  <a:pt x="571" y="670"/>
                  <a:pt x="571" y="666"/>
                </a:cubicBezTo>
                <a:cubicBezTo>
                  <a:pt x="571" y="662"/>
                  <a:pt x="568" y="659"/>
                  <a:pt x="564" y="659"/>
                </a:cubicBezTo>
                <a:close/>
                <a:moveTo>
                  <a:pt x="586" y="679"/>
                </a:moveTo>
                <a:cubicBezTo>
                  <a:pt x="582" y="679"/>
                  <a:pt x="579" y="682"/>
                  <a:pt x="579" y="686"/>
                </a:cubicBezTo>
                <a:cubicBezTo>
                  <a:pt x="579" y="689"/>
                  <a:pt x="582" y="692"/>
                  <a:pt x="586" y="692"/>
                </a:cubicBezTo>
                <a:cubicBezTo>
                  <a:pt x="590" y="692"/>
                  <a:pt x="593" y="689"/>
                  <a:pt x="593" y="686"/>
                </a:cubicBezTo>
                <a:cubicBezTo>
                  <a:pt x="593" y="682"/>
                  <a:pt x="590" y="679"/>
                  <a:pt x="586" y="679"/>
                </a:cubicBezTo>
                <a:close/>
                <a:moveTo>
                  <a:pt x="609" y="679"/>
                </a:moveTo>
                <a:cubicBezTo>
                  <a:pt x="605" y="679"/>
                  <a:pt x="601" y="682"/>
                  <a:pt x="601" y="686"/>
                </a:cubicBezTo>
                <a:cubicBezTo>
                  <a:pt x="601" y="689"/>
                  <a:pt x="605" y="692"/>
                  <a:pt x="609" y="692"/>
                </a:cubicBezTo>
                <a:cubicBezTo>
                  <a:pt x="613" y="692"/>
                  <a:pt x="616" y="689"/>
                  <a:pt x="616" y="686"/>
                </a:cubicBezTo>
                <a:cubicBezTo>
                  <a:pt x="616" y="682"/>
                  <a:pt x="613" y="679"/>
                  <a:pt x="609" y="679"/>
                </a:cubicBezTo>
                <a:close/>
                <a:moveTo>
                  <a:pt x="631" y="679"/>
                </a:moveTo>
                <a:cubicBezTo>
                  <a:pt x="627" y="679"/>
                  <a:pt x="623" y="682"/>
                  <a:pt x="623" y="686"/>
                </a:cubicBezTo>
                <a:cubicBezTo>
                  <a:pt x="623" y="689"/>
                  <a:pt x="627" y="692"/>
                  <a:pt x="631" y="692"/>
                </a:cubicBezTo>
                <a:cubicBezTo>
                  <a:pt x="635" y="692"/>
                  <a:pt x="638" y="689"/>
                  <a:pt x="638" y="686"/>
                </a:cubicBezTo>
                <a:cubicBezTo>
                  <a:pt x="638" y="682"/>
                  <a:pt x="635" y="679"/>
                  <a:pt x="631" y="679"/>
                </a:cubicBezTo>
                <a:close/>
                <a:moveTo>
                  <a:pt x="631" y="698"/>
                </a:moveTo>
                <a:cubicBezTo>
                  <a:pt x="627" y="698"/>
                  <a:pt x="623" y="701"/>
                  <a:pt x="623" y="705"/>
                </a:cubicBezTo>
                <a:cubicBezTo>
                  <a:pt x="623" y="708"/>
                  <a:pt x="627" y="711"/>
                  <a:pt x="631" y="711"/>
                </a:cubicBezTo>
                <a:cubicBezTo>
                  <a:pt x="635" y="711"/>
                  <a:pt x="638" y="708"/>
                  <a:pt x="638" y="705"/>
                </a:cubicBezTo>
                <a:cubicBezTo>
                  <a:pt x="638" y="701"/>
                  <a:pt x="635" y="698"/>
                  <a:pt x="631" y="698"/>
                </a:cubicBezTo>
                <a:close/>
                <a:moveTo>
                  <a:pt x="631" y="717"/>
                </a:moveTo>
                <a:cubicBezTo>
                  <a:pt x="627" y="717"/>
                  <a:pt x="623" y="720"/>
                  <a:pt x="623" y="724"/>
                </a:cubicBezTo>
                <a:cubicBezTo>
                  <a:pt x="623" y="727"/>
                  <a:pt x="627" y="730"/>
                  <a:pt x="631" y="730"/>
                </a:cubicBezTo>
                <a:cubicBezTo>
                  <a:pt x="635" y="730"/>
                  <a:pt x="638" y="727"/>
                  <a:pt x="638" y="724"/>
                </a:cubicBezTo>
                <a:cubicBezTo>
                  <a:pt x="638" y="720"/>
                  <a:pt x="635" y="717"/>
                  <a:pt x="631" y="717"/>
                </a:cubicBezTo>
                <a:close/>
                <a:moveTo>
                  <a:pt x="609" y="736"/>
                </a:moveTo>
                <a:cubicBezTo>
                  <a:pt x="605" y="736"/>
                  <a:pt x="601" y="739"/>
                  <a:pt x="601" y="743"/>
                </a:cubicBezTo>
                <a:cubicBezTo>
                  <a:pt x="601" y="747"/>
                  <a:pt x="605" y="750"/>
                  <a:pt x="609" y="750"/>
                </a:cubicBezTo>
                <a:cubicBezTo>
                  <a:pt x="613" y="750"/>
                  <a:pt x="616" y="747"/>
                  <a:pt x="616" y="743"/>
                </a:cubicBezTo>
                <a:cubicBezTo>
                  <a:pt x="616" y="739"/>
                  <a:pt x="613" y="736"/>
                  <a:pt x="609" y="736"/>
                </a:cubicBezTo>
                <a:close/>
                <a:moveTo>
                  <a:pt x="631" y="736"/>
                </a:moveTo>
                <a:cubicBezTo>
                  <a:pt x="627" y="736"/>
                  <a:pt x="623" y="739"/>
                  <a:pt x="623" y="743"/>
                </a:cubicBezTo>
                <a:cubicBezTo>
                  <a:pt x="623" y="747"/>
                  <a:pt x="627" y="750"/>
                  <a:pt x="631" y="750"/>
                </a:cubicBezTo>
                <a:cubicBezTo>
                  <a:pt x="635" y="750"/>
                  <a:pt x="638" y="747"/>
                  <a:pt x="638" y="743"/>
                </a:cubicBezTo>
                <a:cubicBezTo>
                  <a:pt x="638" y="739"/>
                  <a:pt x="635" y="736"/>
                  <a:pt x="631" y="736"/>
                </a:cubicBezTo>
                <a:close/>
                <a:moveTo>
                  <a:pt x="652" y="659"/>
                </a:moveTo>
                <a:cubicBezTo>
                  <a:pt x="648" y="659"/>
                  <a:pt x="645" y="662"/>
                  <a:pt x="645" y="666"/>
                </a:cubicBezTo>
                <a:cubicBezTo>
                  <a:pt x="645" y="670"/>
                  <a:pt x="648" y="673"/>
                  <a:pt x="652" y="673"/>
                </a:cubicBezTo>
                <a:cubicBezTo>
                  <a:pt x="657" y="673"/>
                  <a:pt x="660" y="670"/>
                  <a:pt x="660" y="666"/>
                </a:cubicBezTo>
                <a:cubicBezTo>
                  <a:pt x="660" y="662"/>
                  <a:pt x="657" y="659"/>
                  <a:pt x="652" y="659"/>
                </a:cubicBezTo>
                <a:close/>
                <a:moveTo>
                  <a:pt x="675" y="660"/>
                </a:moveTo>
                <a:cubicBezTo>
                  <a:pt x="671" y="660"/>
                  <a:pt x="667" y="663"/>
                  <a:pt x="667" y="666"/>
                </a:cubicBezTo>
                <a:cubicBezTo>
                  <a:pt x="667" y="670"/>
                  <a:pt x="671" y="673"/>
                  <a:pt x="675" y="673"/>
                </a:cubicBezTo>
                <a:cubicBezTo>
                  <a:pt x="679" y="673"/>
                  <a:pt x="682" y="670"/>
                  <a:pt x="682" y="666"/>
                </a:cubicBezTo>
                <a:cubicBezTo>
                  <a:pt x="682" y="663"/>
                  <a:pt x="679" y="660"/>
                  <a:pt x="675" y="660"/>
                </a:cubicBezTo>
                <a:close/>
                <a:moveTo>
                  <a:pt x="652" y="679"/>
                </a:moveTo>
                <a:cubicBezTo>
                  <a:pt x="648" y="679"/>
                  <a:pt x="645" y="682"/>
                  <a:pt x="645" y="686"/>
                </a:cubicBezTo>
                <a:cubicBezTo>
                  <a:pt x="645" y="689"/>
                  <a:pt x="648" y="692"/>
                  <a:pt x="652" y="692"/>
                </a:cubicBezTo>
                <a:cubicBezTo>
                  <a:pt x="657" y="692"/>
                  <a:pt x="660" y="689"/>
                  <a:pt x="660" y="686"/>
                </a:cubicBezTo>
                <a:cubicBezTo>
                  <a:pt x="660" y="682"/>
                  <a:pt x="657" y="679"/>
                  <a:pt x="652" y="679"/>
                </a:cubicBezTo>
                <a:close/>
                <a:moveTo>
                  <a:pt x="675" y="679"/>
                </a:moveTo>
                <a:cubicBezTo>
                  <a:pt x="671" y="679"/>
                  <a:pt x="667" y="682"/>
                  <a:pt x="667" y="686"/>
                </a:cubicBezTo>
                <a:cubicBezTo>
                  <a:pt x="667" y="689"/>
                  <a:pt x="671" y="692"/>
                  <a:pt x="675" y="692"/>
                </a:cubicBezTo>
                <a:cubicBezTo>
                  <a:pt x="679" y="692"/>
                  <a:pt x="682" y="689"/>
                  <a:pt x="682" y="686"/>
                </a:cubicBezTo>
                <a:cubicBezTo>
                  <a:pt x="682" y="682"/>
                  <a:pt x="679" y="679"/>
                  <a:pt x="675" y="679"/>
                </a:cubicBezTo>
                <a:close/>
                <a:moveTo>
                  <a:pt x="652" y="698"/>
                </a:moveTo>
                <a:cubicBezTo>
                  <a:pt x="648" y="698"/>
                  <a:pt x="645" y="701"/>
                  <a:pt x="645" y="705"/>
                </a:cubicBezTo>
                <a:cubicBezTo>
                  <a:pt x="645" y="708"/>
                  <a:pt x="648" y="711"/>
                  <a:pt x="652" y="711"/>
                </a:cubicBezTo>
                <a:cubicBezTo>
                  <a:pt x="657" y="711"/>
                  <a:pt x="660" y="708"/>
                  <a:pt x="660" y="705"/>
                </a:cubicBezTo>
                <a:cubicBezTo>
                  <a:pt x="660" y="701"/>
                  <a:pt x="657" y="698"/>
                  <a:pt x="652" y="698"/>
                </a:cubicBezTo>
                <a:close/>
                <a:moveTo>
                  <a:pt x="675" y="698"/>
                </a:moveTo>
                <a:cubicBezTo>
                  <a:pt x="671" y="698"/>
                  <a:pt x="667" y="701"/>
                  <a:pt x="667" y="705"/>
                </a:cubicBezTo>
                <a:cubicBezTo>
                  <a:pt x="667" y="709"/>
                  <a:pt x="671" y="712"/>
                  <a:pt x="675" y="712"/>
                </a:cubicBezTo>
                <a:cubicBezTo>
                  <a:pt x="679" y="712"/>
                  <a:pt x="682" y="709"/>
                  <a:pt x="682" y="705"/>
                </a:cubicBezTo>
                <a:cubicBezTo>
                  <a:pt x="682" y="701"/>
                  <a:pt x="679" y="698"/>
                  <a:pt x="675" y="698"/>
                </a:cubicBezTo>
                <a:close/>
                <a:moveTo>
                  <a:pt x="652" y="717"/>
                </a:moveTo>
                <a:cubicBezTo>
                  <a:pt x="648" y="717"/>
                  <a:pt x="645" y="720"/>
                  <a:pt x="645" y="724"/>
                </a:cubicBezTo>
                <a:cubicBezTo>
                  <a:pt x="645" y="727"/>
                  <a:pt x="648" y="730"/>
                  <a:pt x="652" y="730"/>
                </a:cubicBezTo>
                <a:cubicBezTo>
                  <a:pt x="657" y="730"/>
                  <a:pt x="660" y="727"/>
                  <a:pt x="660" y="724"/>
                </a:cubicBezTo>
                <a:cubicBezTo>
                  <a:pt x="660" y="720"/>
                  <a:pt x="657" y="717"/>
                  <a:pt x="652" y="717"/>
                </a:cubicBezTo>
                <a:close/>
                <a:moveTo>
                  <a:pt x="675" y="718"/>
                </a:moveTo>
                <a:cubicBezTo>
                  <a:pt x="671" y="718"/>
                  <a:pt x="667" y="721"/>
                  <a:pt x="667" y="725"/>
                </a:cubicBezTo>
                <a:cubicBezTo>
                  <a:pt x="667" y="728"/>
                  <a:pt x="671" y="731"/>
                  <a:pt x="675" y="731"/>
                </a:cubicBezTo>
                <a:cubicBezTo>
                  <a:pt x="679" y="731"/>
                  <a:pt x="682" y="728"/>
                  <a:pt x="682" y="725"/>
                </a:cubicBezTo>
                <a:cubicBezTo>
                  <a:pt x="682" y="721"/>
                  <a:pt x="679" y="718"/>
                  <a:pt x="675" y="718"/>
                </a:cubicBezTo>
                <a:close/>
                <a:moveTo>
                  <a:pt x="652" y="736"/>
                </a:moveTo>
                <a:cubicBezTo>
                  <a:pt x="648" y="736"/>
                  <a:pt x="645" y="739"/>
                  <a:pt x="645" y="743"/>
                </a:cubicBezTo>
                <a:cubicBezTo>
                  <a:pt x="645" y="747"/>
                  <a:pt x="648" y="750"/>
                  <a:pt x="652" y="750"/>
                </a:cubicBezTo>
                <a:cubicBezTo>
                  <a:pt x="657" y="750"/>
                  <a:pt x="660" y="747"/>
                  <a:pt x="660" y="743"/>
                </a:cubicBezTo>
                <a:cubicBezTo>
                  <a:pt x="660" y="739"/>
                  <a:pt x="657" y="736"/>
                  <a:pt x="652" y="736"/>
                </a:cubicBezTo>
                <a:close/>
                <a:moveTo>
                  <a:pt x="675" y="737"/>
                </a:moveTo>
                <a:cubicBezTo>
                  <a:pt x="671" y="737"/>
                  <a:pt x="667" y="741"/>
                  <a:pt x="667" y="744"/>
                </a:cubicBezTo>
                <a:cubicBezTo>
                  <a:pt x="667" y="748"/>
                  <a:pt x="671" y="751"/>
                  <a:pt x="675" y="751"/>
                </a:cubicBezTo>
                <a:cubicBezTo>
                  <a:pt x="679" y="751"/>
                  <a:pt x="682" y="748"/>
                  <a:pt x="682" y="744"/>
                </a:cubicBezTo>
                <a:cubicBezTo>
                  <a:pt x="682" y="741"/>
                  <a:pt x="679" y="737"/>
                  <a:pt x="675" y="737"/>
                </a:cubicBezTo>
                <a:close/>
                <a:moveTo>
                  <a:pt x="609" y="757"/>
                </a:moveTo>
                <a:cubicBezTo>
                  <a:pt x="605" y="757"/>
                  <a:pt x="601" y="759"/>
                  <a:pt x="601" y="763"/>
                </a:cubicBezTo>
                <a:cubicBezTo>
                  <a:pt x="601" y="766"/>
                  <a:pt x="605" y="769"/>
                  <a:pt x="609" y="769"/>
                </a:cubicBezTo>
                <a:cubicBezTo>
                  <a:pt x="613" y="769"/>
                  <a:pt x="616" y="766"/>
                  <a:pt x="616" y="763"/>
                </a:cubicBezTo>
                <a:cubicBezTo>
                  <a:pt x="616" y="759"/>
                  <a:pt x="613" y="757"/>
                  <a:pt x="609" y="757"/>
                </a:cubicBezTo>
                <a:close/>
                <a:moveTo>
                  <a:pt x="631" y="757"/>
                </a:moveTo>
                <a:cubicBezTo>
                  <a:pt x="627" y="757"/>
                  <a:pt x="623" y="759"/>
                  <a:pt x="623" y="763"/>
                </a:cubicBezTo>
                <a:cubicBezTo>
                  <a:pt x="623" y="766"/>
                  <a:pt x="627" y="769"/>
                  <a:pt x="631" y="769"/>
                </a:cubicBezTo>
                <a:cubicBezTo>
                  <a:pt x="635" y="769"/>
                  <a:pt x="638" y="766"/>
                  <a:pt x="638" y="763"/>
                </a:cubicBezTo>
                <a:cubicBezTo>
                  <a:pt x="638" y="759"/>
                  <a:pt x="635" y="757"/>
                  <a:pt x="631" y="757"/>
                </a:cubicBezTo>
                <a:close/>
                <a:moveTo>
                  <a:pt x="609" y="775"/>
                </a:moveTo>
                <a:cubicBezTo>
                  <a:pt x="605" y="775"/>
                  <a:pt x="601" y="778"/>
                  <a:pt x="601" y="782"/>
                </a:cubicBezTo>
                <a:cubicBezTo>
                  <a:pt x="601" y="786"/>
                  <a:pt x="605" y="789"/>
                  <a:pt x="609" y="789"/>
                </a:cubicBezTo>
                <a:cubicBezTo>
                  <a:pt x="613" y="789"/>
                  <a:pt x="616" y="786"/>
                  <a:pt x="616" y="782"/>
                </a:cubicBezTo>
                <a:cubicBezTo>
                  <a:pt x="616" y="778"/>
                  <a:pt x="613" y="775"/>
                  <a:pt x="609" y="775"/>
                </a:cubicBezTo>
                <a:close/>
                <a:moveTo>
                  <a:pt x="631" y="775"/>
                </a:moveTo>
                <a:cubicBezTo>
                  <a:pt x="627" y="775"/>
                  <a:pt x="623" y="778"/>
                  <a:pt x="623" y="782"/>
                </a:cubicBezTo>
                <a:cubicBezTo>
                  <a:pt x="623" y="786"/>
                  <a:pt x="627" y="789"/>
                  <a:pt x="631" y="789"/>
                </a:cubicBezTo>
                <a:cubicBezTo>
                  <a:pt x="635" y="789"/>
                  <a:pt x="638" y="786"/>
                  <a:pt x="638" y="782"/>
                </a:cubicBezTo>
                <a:cubicBezTo>
                  <a:pt x="638" y="778"/>
                  <a:pt x="635" y="775"/>
                  <a:pt x="631" y="775"/>
                </a:cubicBezTo>
                <a:close/>
                <a:moveTo>
                  <a:pt x="609" y="795"/>
                </a:moveTo>
                <a:cubicBezTo>
                  <a:pt x="605" y="795"/>
                  <a:pt x="601" y="798"/>
                  <a:pt x="601" y="801"/>
                </a:cubicBezTo>
                <a:cubicBezTo>
                  <a:pt x="601" y="805"/>
                  <a:pt x="605" y="808"/>
                  <a:pt x="609" y="808"/>
                </a:cubicBezTo>
                <a:cubicBezTo>
                  <a:pt x="613" y="808"/>
                  <a:pt x="616" y="805"/>
                  <a:pt x="616" y="801"/>
                </a:cubicBezTo>
                <a:cubicBezTo>
                  <a:pt x="616" y="798"/>
                  <a:pt x="613" y="795"/>
                  <a:pt x="609" y="795"/>
                </a:cubicBezTo>
                <a:close/>
                <a:moveTo>
                  <a:pt x="631" y="795"/>
                </a:moveTo>
                <a:cubicBezTo>
                  <a:pt x="627" y="795"/>
                  <a:pt x="623" y="798"/>
                  <a:pt x="623" y="801"/>
                </a:cubicBezTo>
                <a:cubicBezTo>
                  <a:pt x="623" y="805"/>
                  <a:pt x="627" y="808"/>
                  <a:pt x="631" y="808"/>
                </a:cubicBezTo>
                <a:cubicBezTo>
                  <a:pt x="635" y="808"/>
                  <a:pt x="638" y="805"/>
                  <a:pt x="638" y="801"/>
                </a:cubicBezTo>
                <a:cubicBezTo>
                  <a:pt x="638" y="798"/>
                  <a:pt x="635" y="795"/>
                  <a:pt x="631" y="795"/>
                </a:cubicBezTo>
                <a:close/>
                <a:moveTo>
                  <a:pt x="631" y="814"/>
                </a:moveTo>
                <a:cubicBezTo>
                  <a:pt x="627" y="814"/>
                  <a:pt x="623" y="817"/>
                  <a:pt x="623" y="821"/>
                </a:cubicBezTo>
                <a:cubicBezTo>
                  <a:pt x="623" y="825"/>
                  <a:pt x="627" y="828"/>
                  <a:pt x="631" y="828"/>
                </a:cubicBezTo>
                <a:cubicBezTo>
                  <a:pt x="635" y="828"/>
                  <a:pt x="638" y="825"/>
                  <a:pt x="638" y="821"/>
                </a:cubicBezTo>
                <a:cubicBezTo>
                  <a:pt x="638" y="817"/>
                  <a:pt x="635" y="814"/>
                  <a:pt x="631" y="814"/>
                </a:cubicBezTo>
                <a:close/>
                <a:moveTo>
                  <a:pt x="631" y="833"/>
                </a:moveTo>
                <a:cubicBezTo>
                  <a:pt x="627" y="833"/>
                  <a:pt x="623" y="837"/>
                  <a:pt x="623" y="840"/>
                </a:cubicBezTo>
                <a:cubicBezTo>
                  <a:pt x="623" y="844"/>
                  <a:pt x="627" y="847"/>
                  <a:pt x="631" y="847"/>
                </a:cubicBezTo>
                <a:cubicBezTo>
                  <a:pt x="635" y="847"/>
                  <a:pt x="638" y="844"/>
                  <a:pt x="638" y="840"/>
                </a:cubicBezTo>
                <a:cubicBezTo>
                  <a:pt x="638" y="837"/>
                  <a:pt x="635" y="833"/>
                  <a:pt x="631" y="833"/>
                </a:cubicBezTo>
                <a:close/>
                <a:moveTo>
                  <a:pt x="652" y="757"/>
                </a:moveTo>
                <a:cubicBezTo>
                  <a:pt x="648" y="757"/>
                  <a:pt x="645" y="759"/>
                  <a:pt x="645" y="763"/>
                </a:cubicBezTo>
                <a:cubicBezTo>
                  <a:pt x="645" y="766"/>
                  <a:pt x="648" y="769"/>
                  <a:pt x="652" y="769"/>
                </a:cubicBezTo>
                <a:cubicBezTo>
                  <a:pt x="657" y="769"/>
                  <a:pt x="660" y="766"/>
                  <a:pt x="660" y="763"/>
                </a:cubicBezTo>
                <a:cubicBezTo>
                  <a:pt x="660" y="759"/>
                  <a:pt x="657" y="757"/>
                  <a:pt x="652" y="757"/>
                </a:cubicBezTo>
                <a:close/>
                <a:moveTo>
                  <a:pt x="675" y="757"/>
                </a:moveTo>
                <a:cubicBezTo>
                  <a:pt x="671" y="757"/>
                  <a:pt x="667" y="760"/>
                  <a:pt x="667" y="763"/>
                </a:cubicBezTo>
                <a:cubicBezTo>
                  <a:pt x="667" y="767"/>
                  <a:pt x="671" y="770"/>
                  <a:pt x="675" y="770"/>
                </a:cubicBezTo>
                <a:cubicBezTo>
                  <a:pt x="679" y="770"/>
                  <a:pt x="682" y="767"/>
                  <a:pt x="682" y="763"/>
                </a:cubicBezTo>
                <a:cubicBezTo>
                  <a:pt x="682" y="760"/>
                  <a:pt x="679" y="757"/>
                  <a:pt x="675" y="757"/>
                </a:cubicBezTo>
                <a:close/>
                <a:moveTo>
                  <a:pt x="652" y="775"/>
                </a:moveTo>
                <a:cubicBezTo>
                  <a:pt x="648" y="775"/>
                  <a:pt x="645" y="778"/>
                  <a:pt x="645" y="782"/>
                </a:cubicBezTo>
                <a:cubicBezTo>
                  <a:pt x="645" y="786"/>
                  <a:pt x="648" y="789"/>
                  <a:pt x="652" y="789"/>
                </a:cubicBezTo>
                <a:cubicBezTo>
                  <a:pt x="657" y="789"/>
                  <a:pt x="660" y="786"/>
                  <a:pt x="660" y="782"/>
                </a:cubicBezTo>
                <a:cubicBezTo>
                  <a:pt x="660" y="778"/>
                  <a:pt x="657" y="775"/>
                  <a:pt x="652" y="775"/>
                </a:cubicBezTo>
                <a:close/>
                <a:moveTo>
                  <a:pt x="675" y="776"/>
                </a:moveTo>
                <a:cubicBezTo>
                  <a:pt x="671" y="776"/>
                  <a:pt x="667" y="779"/>
                  <a:pt x="667" y="783"/>
                </a:cubicBezTo>
                <a:cubicBezTo>
                  <a:pt x="667" y="786"/>
                  <a:pt x="671" y="789"/>
                  <a:pt x="675" y="789"/>
                </a:cubicBezTo>
                <a:cubicBezTo>
                  <a:pt x="679" y="789"/>
                  <a:pt x="682" y="786"/>
                  <a:pt x="682" y="783"/>
                </a:cubicBezTo>
                <a:cubicBezTo>
                  <a:pt x="682" y="779"/>
                  <a:pt x="679" y="776"/>
                  <a:pt x="675" y="776"/>
                </a:cubicBezTo>
                <a:close/>
                <a:moveTo>
                  <a:pt x="652" y="795"/>
                </a:moveTo>
                <a:cubicBezTo>
                  <a:pt x="648" y="795"/>
                  <a:pt x="645" y="798"/>
                  <a:pt x="645" y="801"/>
                </a:cubicBezTo>
                <a:cubicBezTo>
                  <a:pt x="645" y="805"/>
                  <a:pt x="648" y="808"/>
                  <a:pt x="652" y="808"/>
                </a:cubicBezTo>
                <a:cubicBezTo>
                  <a:pt x="657" y="808"/>
                  <a:pt x="660" y="805"/>
                  <a:pt x="660" y="801"/>
                </a:cubicBezTo>
                <a:cubicBezTo>
                  <a:pt x="660" y="798"/>
                  <a:pt x="657" y="795"/>
                  <a:pt x="652" y="795"/>
                </a:cubicBezTo>
                <a:close/>
                <a:moveTo>
                  <a:pt x="675" y="795"/>
                </a:moveTo>
                <a:cubicBezTo>
                  <a:pt x="671" y="795"/>
                  <a:pt x="667" y="798"/>
                  <a:pt x="667" y="801"/>
                </a:cubicBezTo>
                <a:cubicBezTo>
                  <a:pt x="667" y="805"/>
                  <a:pt x="671" y="808"/>
                  <a:pt x="675" y="808"/>
                </a:cubicBezTo>
                <a:cubicBezTo>
                  <a:pt x="679" y="808"/>
                  <a:pt x="682" y="805"/>
                  <a:pt x="682" y="801"/>
                </a:cubicBezTo>
                <a:cubicBezTo>
                  <a:pt x="682" y="798"/>
                  <a:pt x="679" y="795"/>
                  <a:pt x="675" y="795"/>
                </a:cubicBezTo>
                <a:close/>
                <a:moveTo>
                  <a:pt x="652" y="814"/>
                </a:moveTo>
                <a:cubicBezTo>
                  <a:pt x="648" y="814"/>
                  <a:pt x="645" y="817"/>
                  <a:pt x="645" y="821"/>
                </a:cubicBezTo>
                <a:cubicBezTo>
                  <a:pt x="645" y="825"/>
                  <a:pt x="648" y="828"/>
                  <a:pt x="652" y="828"/>
                </a:cubicBezTo>
                <a:cubicBezTo>
                  <a:pt x="657" y="828"/>
                  <a:pt x="660" y="825"/>
                  <a:pt x="660" y="821"/>
                </a:cubicBezTo>
                <a:cubicBezTo>
                  <a:pt x="660" y="817"/>
                  <a:pt x="657" y="814"/>
                  <a:pt x="652" y="814"/>
                </a:cubicBezTo>
                <a:close/>
                <a:moveTo>
                  <a:pt x="675" y="814"/>
                </a:moveTo>
                <a:cubicBezTo>
                  <a:pt x="671" y="814"/>
                  <a:pt x="667" y="817"/>
                  <a:pt x="667" y="821"/>
                </a:cubicBezTo>
                <a:cubicBezTo>
                  <a:pt x="667" y="825"/>
                  <a:pt x="671" y="828"/>
                  <a:pt x="675" y="828"/>
                </a:cubicBezTo>
                <a:cubicBezTo>
                  <a:pt x="679" y="828"/>
                  <a:pt x="682" y="825"/>
                  <a:pt x="682" y="821"/>
                </a:cubicBezTo>
                <a:cubicBezTo>
                  <a:pt x="682" y="817"/>
                  <a:pt x="679" y="814"/>
                  <a:pt x="675" y="814"/>
                </a:cubicBezTo>
                <a:close/>
                <a:moveTo>
                  <a:pt x="652" y="833"/>
                </a:moveTo>
                <a:cubicBezTo>
                  <a:pt x="648" y="833"/>
                  <a:pt x="645" y="837"/>
                  <a:pt x="645" y="840"/>
                </a:cubicBezTo>
                <a:cubicBezTo>
                  <a:pt x="645" y="844"/>
                  <a:pt x="648" y="847"/>
                  <a:pt x="652" y="847"/>
                </a:cubicBezTo>
                <a:cubicBezTo>
                  <a:pt x="657" y="847"/>
                  <a:pt x="660" y="844"/>
                  <a:pt x="660" y="840"/>
                </a:cubicBezTo>
                <a:cubicBezTo>
                  <a:pt x="660" y="837"/>
                  <a:pt x="657" y="833"/>
                  <a:pt x="652" y="833"/>
                </a:cubicBezTo>
                <a:close/>
                <a:moveTo>
                  <a:pt x="675" y="833"/>
                </a:moveTo>
                <a:cubicBezTo>
                  <a:pt x="671" y="833"/>
                  <a:pt x="667" y="837"/>
                  <a:pt x="667" y="840"/>
                </a:cubicBezTo>
                <a:cubicBezTo>
                  <a:pt x="667" y="844"/>
                  <a:pt x="671" y="847"/>
                  <a:pt x="675" y="847"/>
                </a:cubicBezTo>
                <a:cubicBezTo>
                  <a:pt x="679" y="847"/>
                  <a:pt x="682" y="844"/>
                  <a:pt x="682" y="840"/>
                </a:cubicBezTo>
                <a:cubicBezTo>
                  <a:pt x="682" y="837"/>
                  <a:pt x="679" y="833"/>
                  <a:pt x="675" y="833"/>
                </a:cubicBezTo>
                <a:close/>
                <a:moveTo>
                  <a:pt x="652" y="853"/>
                </a:moveTo>
                <a:cubicBezTo>
                  <a:pt x="648" y="853"/>
                  <a:pt x="645" y="856"/>
                  <a:pt x="645" y="860"/>
                </a:cubicBezTo>
                <a:cubicBezTo>
                  <a:pt x="645" y="864"/>
                  <a:pt x="648" y="867"/>
                  <a:pt x="652" y="867"/>
                </a:cubicBezTo>
                <a:cubicBezTo>
                  <a:pt x="657" y="867"/>
                  <a:pt x="660" y="864"/>
                  <a:pt x="660" y="860"/>
                </a:cubicBezTo>
                <a:cubicBezTo>
                  <a:pt x="660" y="856"/>
                  <a:pt x="657" y="853"/>
                  <a:pt x="652" y="853"/>
                </a:cubicBezTo>
                <a:close/>
                <a:moveTo>
                  <a:pt x="675" y="853"/>
                </a:moveTo>
                <a:cubicBezTo>
                  <a:pt x="671" y="853"/>
                  <a:pt x="667" y="856"/>
                  <a:pt x="667" y="860"/>
                </a:cubicBezTo>
                <a:cubicBezTo>
                  <a:pt x="667" y="864"/>
                  <a:pt x="671" y="867"/>
                  <a:pt x="675" y="867"/>
                </a:cubicBezTo>
                <a:cubicBezTo>
                  <a:pt x="679" y="867"/>
                  <a:pt x="682" y="864"/>
                  <a:pt x="682" y="860"/>
                </a:cubicBezTo>
                <a:cubicBezTo>
                  <a:pt x="682" y="856"/>
                  <a:pt x="679" y="853"/>
                  <a:pt x="675" y="853"/>
                </a:cubicBezTo>
                <a:close/>
                <a:moveTo>
                  <a:pt x="675" y="873"/>
                </a:moveTo>
                <a:cubicBezTo>
                  <a:pt x="671" y="873"/>
                  <a:pt x="667" y="876"/>
                  <a:pt x="667" y="879"/>
                </a:cubicBezTo>
                <a:cubicBezTo>
                  <a:pt x="667" y="883"/>
                  <a:pt x="671" y="885"/>
                  <a:pt x="675" y="885"/>
                </a:cubicBezTo>
                <a:cubicBezTo>
                  <a:pt x="679" y="885"/>
                  <a:pt x="682" y="883"/>
                  <a:pt x="682" y="879"/>
                </a:cubicBezTo>
                <a:cubicBezTo>
                  <a:pt x="682" y="876"/>
                  <a:pt x="679" y="873"/>
                  <a:pt x="675" y="873"/>
                </a:cubicBezTo>
                <a:close/>
                <a:moveTo>
                  <a:pt x="675" y="891"/>
                </a:moveTo>
                <a:cubicBezTo>
                  <a:pt x="671" y="891"/>
                  <a:pt x="667" y="894"/>
                  <a:pt x="667" y="898"/>
                </a:cubicBezTo>
                <a:cubicBezTo>
                  <a:pt x="667" y="902"/>
                  <a:pt x="671" y="905"/>
                  <a:pt x="675" y="905"/>
                </a:cubicBezTo>
                <a:cubicBezTo>
                  <a:pt x="679" y="905"/>
                  <a:pt x="682" y="902"/>
                  <a:pt x="682" y="898"/>
                </a:cubicBezTo>
                <a:cubicBezTo>
                  <a:pt x="682" y="894"/>
                  <a:pt x="679" y="891"/>
                  <a:pt x="675" y="891"/>
                </a:cubicBezTo>
                <a:close/>
                <a:moveTo>
                  <a:pt x="698" y="679"/>
                </a:moveTo>
                <a:cubicBezTo>
                  <a:pt x="693" y="679"/>
                  <a:pt x="690" y="682"/>
                  <a:pt x="690" y="686"/>
                </a:cubicBezTo>
                <a:cubicBezTo>
                  <a:pt x="690" y="689"/>
                  <a:pt x="693" y="692"/>
                  <a:pt x="698" y="692"/>
                </a:cubicBezTo>
                <a:cubicBezTo>
                  <a:pt x="702" y="692"/>
                  <a:pt x="705" y="689"/>
                  <a:pt x="705" y="686"/>
                </a:cubicBezTo>
                <a:cubicBezTo>
                  <a:pt x="705" y="682"/>
                  <a:pt x="702" y="679"/>
                  <a:pt x="698" y="679"/>
                </a:cubicBezTo>
                <a:close/>
                <a:moveTo>
                  <a:pt x="720" y="679"/>
                </a:moveTo>
                <a:cubicBezTo>
                  <a:pt x="715" y="679"/>
                  <a:pt x="712" y="682"/>
                  <a:pt x="712" y="686"/>
                </a:cubicBezTo>
                <a:cubicBezTo>
                  <a:pt x="712" y="689"/>
                  <a:pt x="715" y="692"/>
                  <a:pt x="720" y="692"/>
                </a:cubicBezTo>
                <a:cubicBezTo>
                  <a:pt x="724" y="692"/>
                  <a:pt x="727" y="689"/>
                  <a:pt x="727" y="686"/>
                </a:cubicBezTo>
                <a:cubicBezTo>
                  <a:pt x="727" y="682"/>
                  <a:pt x="724" y="679"/>
                  <a:pt x="720" y="679"/>
                </a:cubicBezTo>
                <a:close/>
                <a:moveTo>
                  <a:pt x="698" y="698"/>
                </a:moveTo>
                <a:cubicBezTo>
                  <a:pt x="693" y="698"/>
                  <a:pt x="690" y="701"/>
                  <a:pt x="690" y="705"/>
                </a:cubicBezTo>
                <a:cubicBezTo>
                  <a:pt x="690" y="708"/>
                  <a:pt x="693" y="711"/>
                  <a:pt x="698" y="711"/>
                </a:cubicBezTo>
                <a:cubicBezTo>
                  <a:pt x="702" y="711"/>
                  <a:pt x="705" y="708"/>
                  <a:pt x="705" y="705"/>
                </a:cubicBezTo>
                <a:cubicBezTo>
                  <a:pt x="705" y="701"/>
                  <a:pt x="702" y="698"/>
                  <a:pt x="698" y="698"/>
                </a:cubicBezTo>
                <a:close/>
                <a:moveTo>
                  <a:pt x="720" y="698"/>
                </a:moveTo>
                <a:cubicBezTo>
                  <a:pt x="715" y="698"/>
                  <a:pt x="712" y="701"/>
                  <a:pt x="712" y="705"/>
                </a:cubicBezTo>
                <a:cubicBezTo>
                  <a:pt x="712" y="708"/>
                  <a:pt x="715" y="711"/>
                  <a:pt x="720" y="711"/>
                </a:cubicBezTo>
                <a:cubicBezTo>
                  <a:pt x="724" y="711"/>
                  <a:pt x="727" y="708"/>
                  <a:pt x="727" y="705"/>
                </a:cubicBezTo>
                <a:cubicBezTo>
                  <a:pt x="727" y="701"/>
                  <a:pt x="724" y="698"/>
                  <a:pt x="720" y="698"/>
                </a:cubicBezTo>
                <a:close/>
                <a:moveTo>
                  <a:pt x="698" y="717"/>
                </a:moveTo>
                <a:cubicBezTo>
                  <a:pt x="693" y="717"/>
                  <a:pt x="690" y="720"/>
                  <a:pt x="690" y="724"/>
                </a:cubicBezTo>
                <a:cubicBezTo>
                  <a:pt x="690" y="727"/>
                  <a:pt x="693" y="730"/>
                  <a:pt x="698" y="730"/>
                </a:cubicBezTo>
                <a:cubicBezTo>
                  <a:pt x="702" y="730"/>
                  <a:pt x="705" y="727"/>
                  <a:pt x="705" y="724"/>
                </a:cubicBezTo>
                <a:cubicBezTo>
                  <a:pt x="705" y="720"/>
                  <a:pt x="702" y="717"/>
                  <a:pt x="698" y="717"/>
                </a:cubicBezTo>
                <a:close/>
                <a:moveTo>
                  <a:pt x="720" y="717"/>
                </a:moveTo>
                <a:cubicBezTo>
                  <a:pt x="715" y="717"/>
                  <a:pt x="712" y="720"/>
                  <a:pt x="712" y="724"/>
                </a:cubicBezTo>
                <a:cubicBezTo>
                  <a:pt x="712" y="727"/>
                  <a:pt x="715" y="730"/>
                  <a:pt x="720" y="730"/>
                </a:cubicBezTo>
                <a:cubicBezTo>
                  <a:pt x="724" y="730"/>
                  <a:pt x="727" y="727"/>
                  <a:pt x="727" y="724"/>
                </a:cubicBezTo>
                <a:cubicBezTo>
                  <a:pt x="727" y="720"/>
                  <a:pt x="724" y="717"/>
                  <a:pt x="720" y="717"/>
                </a:cubicBezTo>
                <a:close/>
                <a:moveTo>
                  <a:pt x="698" y="736"/>
                </a:moveTo>
                <a:cubicBezTo>
                  <a:pt x="693" y="736"/>
                  <a:pt x="690" y="739"/>
                  <a:pt x="690" y="743"/>
                </a:cubicBezTo>
                <a:cubicBezTo>
                  <a:pt x="690" y="747"/>
                  <a:pt x="693" y="750"/>
                  <a:pt x="698" y="750"/>
                </a:cubicBezTo>
                <a:cubicBezTo>
                  <a:pt x="702" y="750"/>
                  <a:pt x="705" y="747"/>
                  <a:pt x="705" y="743"/>
                </a:cubicBezTo>
                <a:cubicBezTo>
                  <a:pt x="705" y="739"/>
                  <a:pt x="702" y="736"/>
                  <a:pt x="698" y="736"/>
                </a:cubicBezTo>
                <a:close/>
                <a:moveTo>
                  <a:pt x="720" y="736"/>
                </a:moveTo>
                <a:cubicBezTo>
                  <a:pt x="715" y="736"/>
                  <a:pt x="712" y="739"/>
                  <a:pt x="712" y="743"/>
                </a:cubicBezTo>
                <a:cubicBezTo>
                  <a:pt x="712" y="747"/>
                  <a:pt x="715" y="750"/>
                  <a:pt x="720" y="750"/>
                </a:cubicBezTo>
                <a:cubicBezTo>
                  <a:pt x="724" y="750"/>
                  <a:pt x="727" y="747"/>
                  <a:pt x="727" y="743"/>
                </a:cubicBezTo>
                <a:cubicBezTo>
                  <a:pt x="727" y="739"/>
                  <a:pt x="724" y="736"/>
                  <a:pt x="720" y="736"/>
                </a:cubicBezTo>
                <a:close/>
                <a:moveTo>
                  <a:pt x="741" y="692"/>
                </a:moveTo>
                <a:cubicBezTo>
                  <a:pt x="746" y="692"/>
                  <a:pt x="749" y="689"/>
                  <a:pt x="749" y="686"/>
                </a:cubicBezTo>
                <a:cubicBezTo>
                  <a:pt x="749" y="682"/>
                  <a:pt x="746" y="679"/>
                  <a:pt x="741" y="679"/>
                </a:cubicBezTo>
                <a:cubicBezTo>
                  <a:pt x="737" y="679"/>
                  <a:pt x="734" y="682"/>
                  <a:pt x="734" y="686"/>
                </a:cubicBezTo>
                <a:cubicBezTo>
                  <a:pt x="734" y="689"/>
                  <a:pt x="737" y="692"/>
                  <a:pt x="741" y="692"/>
                </a:cubicBezTo>
                <a:close/>
                <a:moveTo>
                  <a:pt x="741" y="711"/>
                </a:moveTo>
                <a:cubicBezTo>
                  <a:pt x="746" y="711"/>
                  <a:pt x="749" y="708"/>
                  <a:pt x="749" y="705"/>
                </a:cubicBezTo>
                <a:cubicBezTo>
                  <a:pt x="749" y="701"/>
                  <a:pt x="746" y="698"/>
                  <a:pt x="741" y="698"/>
                </a:cubicBezTo>
                <a:cubicBezTo>
                  <a:pt x="737" y="698"/>
                  <a:pt x="734" y="701"/>
                  <a:pt x="734" y="705"/>
                </a:cubicBezTo>
                <a:cubicBezTo>
                  <a:pt x="734" y="708"/>
                  <a:pt x="737" y="711"/>
                  <a:pt x="741" y="711"/>
                </a:cubicBezTo>
                <a:close/>
                <a:moveTo>
                  <a:pt x="765" y="699"/>
                </a:moveTo>
                <a:cubicBezTo>
                  <a:pt x="761" y="699"/>
                  <a:pt x="758" y="702"/>
                  <a:pt x="758" y="706"/>
                </a:cubicBezTo>
                <a:cubicBezTo>
                  <a:pt x="758" y="709"/>
                  <a:pt x="761" y="712"/>
                  <a:pt x="765" y="712"/>
                </a:cubicBezTo>
                <a:cubicBezTo>
                  <a:pt x="770" y="712"/>
                  <a:pt x="773" y="709"/>
                  <a:pt x="773" y="706"/>
                </a:cubicBezTo>
                <a:cubicBezTo>
                  <a:pt x="773" y="702"/>
                  <a:pt x="770" y="699"/>
                  <a:pt x="765" y="699"/>
                </a:cubicBezTo>
                <a:close/>
                <a:moveTo>
                  <a:pt x="741" y="730"/>
                </a:moveTo>
                <a:cubicBezTo>
                  <a:pt x="746" y="730"/>
                  <a:pt x="749" y="727"/>
                  <a:pt x="749" y="724"/>
                </a:cubicBezTo>
                <a:cubicBezTo>
                  <a:pt x="749" y="720"/>
                  <a:pt x="746" y="717"/>
                  <a:pt x="741" y="717"/>
                </a:cubicBezTo>
                <a:cubicBezTo>
                  <a:pt x="737" y="717"/>
                  <a:pt x="734" y="720"/>
                  <a:pt x="734" y="724"/>
                </a:cubicBezTo>
                <a:cubicBezTo>
                  <a:pt x="734" y="727"/>
                  <a:pt x="737" y="730"/>
                  <a:pt x="741" y="730"/>
                </a:cubicBezTo>
                <a:close/>
                <a:moveTo>
                  <a:pt x="765" y="719"/>
                </a:moveTo>
                <a:cubicBezTo>
                  <a:pt x="761" y="719"/>
                  <a:pt x="758" y="722"/>
                  <a:pt x="758" y="725"/>
                </a:cubicBezTo>
                <a:cubicBezTo>
                  <a:pt x="758" y="728"/>
                  <a:pt x="761" y="731"/>
                  <a:pt x="765" y="731"/>
                </a:cubicBezTo>
                <a:cubicBezTo>
                  <a:pt x="770" y="731"/>
                  <a:pt x="773" y="728"/>
                  <a:pt x="773" y="725"/>
                </a:cubicBezTo>
                <a:cubicBezTo>
                  <a:pt x="773" y="722"/>
                  <a:pt x="770" y="719"/>
                  <a:pt x="765" y="719"/>
                </a:cubicBezTo>
                <a:close/>
                <a:moveTo>
                  <a:pt x="742" y="751"/>
                </a:moveTo>
                <a:cubicBezTo>
                  <a:pt x="746" y="751"/>
                  <a:pt x="749" y="747"/>
                  <a:pt x="749" y="743"/>
                </a:cubicBezTo>
                <a:cubicBezTo>
                  <a:pt x="749" y="740"/>
                  <a:pt x="746" y="736"/>
                  <a:pt x="741" y="736"/>
                </a:cubicBezTo>
                <a:cubicBezTo>
                  <a:pt x="737" y="736"/>
                  <a:pt x="734" y="740"/>
                  <a:pt x="734" y="743"/>
                </a:cubicBezTo>
                <a:cubicBezTo>
                  <a:pt x="734" y="747"/>
                  <a:pt x="738" y="751"/>
                  <a:pt x="742" y="751"/>
                </a:cubicBezTo>
                <a:close/>
                <a:moveTo>
                  <a:pt x="765" y="737"/>
                </a:moveTo>
                <a:cubicBezTo>
                  <a:pt x="761" y="737"/>
                  <a:pt x="758" y="741"/>
                  <a:pt x="758" y="744"/>
                </a:cubicBezTo>
                <a:cubicBezTo>
                  <a:pt x="758" y="748"/>
                  <a:pt x="761" y="751"/>
                  <a:pt x="765" y="751"/>
                </a:cubicBezTo>
                <a:cubicBezTo>
                  <a:pt x="770" y="751"/>
                  <a:pt x="773" y="748"/>
                  <a:pt x="773" y="744"/>
                </a:cubicBezTo>
                <a:cubicBezTo>
                  <a:pt x="773" y="741"/>
                  <a:pt x="770" y="737"/>
                  <a:pt x="765" y="737"/>
                </a:cubicBezTo>
                <a:close/>
                <a:moveTo>
                  <a:pt x="787" y="719"/>
                </a:moveTo>
                <a:cubicBezTo>
                  <a:pt x="783" y="719"/>
                  <a:pt x="780" y="722"/>
                  <a:pt x="780" y="725"/>
                </a:cubicBezTo>
                <a:cubicBezTo>
                  <a:pt x="780" y="728"/>
                  <a:pt x="783" y="731"/>
                  <a:pt x="787" y="731"/>
                </a:cubicBezTo>
                <a:cubicBezTo>
                  <a:pt x="791" y="731"/>
                  <a:pt x="795" y="728"/>
                  <a:pt x="795" y="725"/>
                </a:cubicBezTo>
                <a:cubicBezTo>
                  <a:pt x="795" y="722"/>
                  <a:pt x="791" y="719"/>
                  <a:pt x="787" y="719"/>
                </a:cubicBezTo>
                <a:close/>
                <a:moveTo>
                  <a:pt x="787" y="737"/>
                </a:moveTo>
                <a:cubicBezTo>
                  <a:pt x="783" y="737"/>
                  <a:pt x="780" y="741"/>
                  <a:pt x="780" y="744"/>
                </a:cubicBezTo>
                <a:cubicBezTo>
                  <a:pt x="780" y="748"/>
                  <a:pt x="783" y="751"/>
                  <a:pt x="787" y="751"/>
                </a:cubicBezTo>
                <a:cubicBezTo>
                  <a:pt x="791" y="751"/>
                  <a:pt x="795" y="748"/>
                  <a:pt x="795" y="744"/>
                </a:cubicBezTo>
                <a:cubicBezTo>
                  <a:pt x="795" y="741"/>
                  <a:pt x="791" y="737"/>
                  <a:pt x="787" y="737"/>
                </a:cubicBezTo>
                <a:close/>
                <a:moveTo>
                  <a:pt x="808" y="736"/>
                </a:moveTo>
                <a:cubicBezTo>
                  <a:pt x="804" y="736"/>
                  <a:pt x="801" y="739"/>
                  <a:pt x="801" y="743"/>
                </a:cubicBezTo>
                <a:cubicBezTo>
                  <a:pt x="801" y="747"/>
                  <a:pt x="804" y="750"/>
                  <a:pt x="808" y="750"/>
                </a:cubicBezTo>
                <a:cubicBezTo>
                  <a:pt x="813" y="750"/>
                  <a:pt x="816" y="747"/>
                  <a:pt x="816" y="743"/>
                </a:cubicBezTo>
                <a:cubicBezTo>
                  <a:pt x="816" y="739"/>
                  <a:pt x="813" y="736"/>
                  <a:pt x="808" y="736"/>
                </a:cubicBezTo>
                <a:close/>
                <a:moveTo>
                  <a:pt x="698" y="757"/>
                </a:moveTo>
                <a:cubicBezTo>
                  <a:pt x="693" y="757"/>
                  <a:pt x="690" y="759"/>
                  <a:pt x="690" y="763"/>
                </a:cubicBezTo>
                <a:cubicBezTo>
                  <a:pt x="690" y="766"/>
                  <a:pt x="693" y="769"/>
                  <a:pt x="698" y="769"/>
                </a:cubicBezTo>
                <a:cubicBezTo>
                  <a:pt x="702" y="769"/>
                  <a:pt x="705" y="766"/>
                  <a:pt x="705" y="763"/>
                </a:cubicBezTo>
                <a:cubicBezTo>
                  <a:pt x="705" y="759"/>
                  <a:pt x="702" y="757"/>
                  <a:pt x="698" y="757"/>
                </a:cubicBezTo>
                <a:close/>
                <a:moveTo>
                  <a:pt x="720" y="757"/>
                </a:moveTo>
                <a:cubicBezTo>
                  <a:pt x="715" y="757"/>
                  <a:pt x="712" y="759"/>
                  <a:pt x="712" y="763"/>
                </a:cubicBezTo>
                <a:cubicBezTo>
                  <a:pt x="712" y="766"/>
                  <a:pt x="715" y="769"/>
                  <a:pt x="720" y="769"/>
                </a:cubicBezTo>
                <a:cubicBezTo>
                  <a:pt x="724" y="769"/>
                  <a:pt x="727" y="766"/>
                  <a:pt x="727" y="763"/>
                </a:cubicBezTo>
                <a:cubicBezTo>
                  <a:pt x="727" y="759"/>
                  <a:pt x="724" y="757"/>
                  <a:pt x="720" y="757"/>
                </a:cubicBezTo>
                <a:close/>
                <a:moveTo>
                  <a:pt x="698" y="775"/>
                </a:moveTo>
                <a:cubicBezTo>
                  <a:pt x="693" y="775"/>
                  <a:pt x="690" y="778"/>
                  <a:pt x="690" y="782"/>
                </a:cubicBezTo>
                <a:cubicBezTo>
                  <a:pt x="690" y="786"/>
                  <a:pt x="693" y="789"/>
                  <a:pt x="698" y="789"/>
                </a:cubicBezTo>
                <a:cubicBezTo>
                  <a:pt x="702" y="789"/>
                  <a:pt x="705" y="786"/>
                  <a:pt x="705" y="782"/>
                </a:cubicBezTo>
                <a:cubicBezTo>
                  <a:pt x="705" y="778"/>
                  <a:pt x="702" y="775"/>
                  <a:pt x="698" y="775"/>
                </a:cubicBezTo>
                <a:close/>
                <a:moveTo>
                  <a:pt x="720" y="775"/>
                </a:moveTo>
                <a:cubicBezTo>
                  <a:pt x="715" y="775"/>
                  <a:pt x="712" y="778"/>
                  <a:pt x="712" y="782"/>
                </a:cubicBezTo>
                <a:cubicBezTo>
                  <a:pt x="712" y="786"/>
                  <a:pt x="715" y="789"/>
                  <a:pt x="720" y="789"/>
                </a:cubicBezTo>
                <a:cubicBezTo>
                  <a:pt x="724" y="789"/>
                  <a:pt x="727" y="786"/>
                  <a:pt x="727" y="782"/>
                </a:cubicBezTo>
                <a:cubicBezTo>
                  <a:pt x="727" y="778"/>
                  <a:pt x="724" y="775"/>
                  <a:pt x="720" y="775"/>
                </a:cubicBezTo>
                <a:close/>
                <a:moveTo>
                  <a:pt x="698" y="795"/>
                </a:moveTo>
                <a:cubicBezTo>
                  <a:pt x="693" y="795"/>
                  <a:pt x="690" y="798"/>
                  <a:pt x="690" y="801"/>
                </a:cubicBezTo>
                <a:cubicBezTo>
                  <a:pt x="690" y="805"/>
                  <a:pt x="693" y="808"/>
                  <a:pt x="698" y="808"/>
                </a:cubicBezTo>
                <a:cubicBezTo>
                  <a:pt x="702" y="808"/>
                  <a:pt x="705" y="805"/>
                  <a:pt x="705" y="801"/>
                </a:cubicBezTo>
                <a:cubicBezTo>
                  <a:pt x="705" y="798"/>
                  <a:pt x="702" y="795"/>
                  <a:pt x="698" y="795"/>
                </a:cubicBezTo>
                <a:close/>
                <a:moveTo>
                  <a:pt x="720" y="795"/>
                </a:moveTo>
                <a:cubicBezTo>
                  <a:pt x="715" y="795"/>
                  <a:pt x="712" y="798"/>
                  <a:pt x="712" y="801"/>
                </a:cubicBezTo>
                <a:cubicBezTo>
                  <a:pt x="712" y="805"/>
                  <a:pt x="715" y="808"/>
                  <a:pt x="720" y="808"/>
                </a:cubicBezTo>
                <a:cubicBezTo>
                  <a:pt x="724" y="808"/>
                  <a:pt x="727" y="805"/>
                  <a:pt x="727" y="801"/>
                </a:cubicBezTo>
                <a:cubicBezTo>
                  <a:pt x="727" y="798"/>
                  <a:pt x="724" y="795"/>
                  <a:pt x="720" y="795"/>
                </a:cubicBezTo>
                <a:close/>
                <a:moveTo>
                  <a:pt x="698" y="814"/>
                </a:moveTo>
                <a:cubicBezTo>
                  <a:pt x="693" y="814"/>
                  <a:pt x="690" y="817"/>
                  <a:pt x="690" y="821"/>
                </a:cubicBezTo>
                <a:cubicBezTo>
                  <a:pt x="690" y="825"/>
                  <a:pt x="693" y="828"/>
                  <a:pt x="698" y="828"/>
                </a:cubicBezTo>
                <a:cubicBezTo>
                  <a:pt x="702" y="828"/>
                  <a:pt x="705" y="825"/>
                  <a:pt x="705" y="821"/>
                </a:cubicBezTo>
                <a:cubicBezTo>
                  <a:pt x="705" y="817"/>
                  <a:pt x="702" y="814"/>
                  <a:pt x="698" y="814"/>
                </a:cubicBezTo>
                <a:close/>
                <a:moveTo>
                  <a:pt x="720" y="814"/>
                </a:moveTo>
                <a:cubicBezTo>
                  <a:pt x="715" y="814"/>
                  <a:pt x="712" y="817"/>
                  <a:pt x="712" y="821"/>
                </a:cubicBezTo>
                <a:cubicBezTo>
                  <a:pt x="712" y="825"/>
                  <a:pt x="715" y="828"/>
                  <a:pt x="720" y="828"/>
                </a:cubicBezTo>
                <a:cubicBezTo>
                  <a:pt x="724" y="828"/>
                  <a:pt x="727" y="825"/>
                  <a:pt x="727" y="821"/>
                </a:cubicBezTo>
                <a:cubicBezTo>
                  <a:pt x="727" y="817"/>
                  <a:pt x="724" y="814"/>
                  <a:pt x="720" y="814"/>
                </a:cubicBezTo>
                <a:close/>
                <a:moveTo>
                  <a:pt x="698" y="833"/>
                </a:moveTo>
                <a:cubicBezTo>
                  <a:pt x="693" y="833"/>
                  <a:pt x="690" y="837"/>
                  <a:pt x="690" y="840"/>
                </a:cubicBezTo>
                <a:cubicBezTo>
                  <a:pt x="690" y="844"/>
                  <a:pt x="693" y="847"/>
                  <a:pt x="698" y="847"/>
                </a:cubicBezTo>
                <a:cubicBezTo>
                  <a:pt x="702" y="847"/>
                  <a:pt x="705" y="844"/>
                  <a:pt x="705" y="840"/>
                </a:cubicBezTo>
                <a:cubicBezTo>
                  <a:pt x="705" y="837"/>
                  <a:pt x="702" y="833"/>
                  <a:pt x="698" y="833"/>
                </a:cubicBezTo>
                <a:close/>
                <a:moveTo>
                  <a:pt x="720" y="833"/>
                </a:moveTo>
                <a:cubicBezTo>
                  <a:pt x="715" y="833"/>
                  <a:pt x="712" y="837"/>
                  <a:pt x="712" y="840"/>
                </a:cubicBezTo>
                <a:cubicBezTo>
                  <a:pt x="712" y="844"/>
                  <a:pt x="715" y="847"/>
                  <a:pt x="720" y="847"/>
                </a:cubicBezTo>
                <a:cubicBezTo>
                  <a:pt x="724" y="847"/>
                  <a:pt x="727" y="844"/>
                  <a:pt x="727" y="840"/>
                </a:cubicBezTo>
                <a:cubicBezTo>
                  <a:pt x="727" y="837"/>
                  <a:pt x="724" y="833"/>
                  <a:pt x="720" y="833"/>
                </a:cubicBezTo>
                <a:close/>
                <a:moveTo>
                  <a:pt x="698" y="853"/>
                </a:moveTo>
                <a:cubicBezTo>
                  <a:pt x="693" y="853"/>
                  <a:pt x="690" y="856"/>
                  <a:pt x="690" y="860"/>
                </a:cubicBezTo>
                <a:cubicBezTo>
                  <a:pt x="690" y="864"/>
                  <a:pt x="693" y="867"/>
                  <a:pt x="698" y="867"/>
                </a:cubicBezTo>
                <a:cubicBezTo>
                  <a:pt x="702" y="867"/>
                  <a:pt x="705" y="864"/>
                  <a:pt x="705" y="860"/>
                </a:cubicBezTo>
                <a:cubicBezTo>
                  <a:pt x="705" y="856"/>
                  <a:pt x="702" y="853"/>
                  <a:pt x="698" y="853"/>
                </a:cubicBezTo>
                <a:close/>
                <a:moveTo>
                  <a:pt x="720" y="853"/>
                </a:moveTo>
                <a:cubicBezTo>
                  <a:pt x="715" y="853"/>
                  <a:pt x="712" y="856"/>
                  <a:pt x="712" y="860"/>
                </a:cubicBezTo>
                <a:cubicBezTo>
                  <a:pt x="712" y="864"/>
                  <a:pt x="715" y="867"/>
                  <a:pt x="720" y="867"/>
                </a:cubicBezTo>
                <a:cubicBezTo>
                  <a:pt x="724" y="867"/>
                  <a:pt x="727" y="864"/>
                  <a:pt x="727" y="860"/>
                </a:cubicBezTo>
                <a:cubicBezTo>
                  <a:pt x="727" y="856"/>
                  <a:pt x="724" y="853"/>
                  <a:pt x="720" y="853"/>
                </a:cubicBezTo>
                <a:close/>
                <a:moveTo>
                  <a:pt x="698" y="873"/>
                </a:moveTo>
                <a:cubicBezTo>
                  <a:pt x="693" y="873"/>
                  <a:pt x="690" y="876"/>
                  <a:pt x="690" y="879"/>
                </a:cubicBezTo>
                <a:cubicBezTo>
                  <a:pt x="690" y="883"/>
                  <a:pt x="693" y="885"/>
                  <a:pt x="698" y="885"/>
                </a:cubicBezTo>
                <a:cubicBezTo>
                  <a:pt x="702" y="885"/>
                  <a:pt x="705" y="883"/>
                  <a:pt x="705" y="879"/>
                </a:cubicBezTo>
                <a:cubicBezTo>
                  <a:pt x="705" y="876"/>
                  <a:pt x="702" y="873"/>
                  <a:pt x="698" y="873"/>
                </a:cubicBezTo>
                <a:close/>
                <a:moveTo>
                  <a:pt x="720" y="873"/>
                </a:moveTo>
                <a:cubicBezTo>
                  <a:pt x="715" y="873"/>
                  <a:pt x="712" y="876"/>
                  <a:pt x="712" y="879"/>
                </a:cubicBezTo>
                <a:cubicBezTo>
                  <a:pt x="712" y="883"/>
                  <a:pt x="715" y="885"/>
                  <a:pt x="720" y="885"/>
                </a:cubicBezTo>
                <a:cubicBezTo>
                  <a:pt x="724" y="885"/>
                  <a:pt x="727" y="883"/>
                  <a:pt x="727" y="879"/>
                </a:cubicBezTo>
                <a:cubicBezTo>
                  <a:pt x="727" y="876"/>
                  <a:pt x="724" y="873"/>
                  <a:pt x="720" y="873"/>
                </a:cubicBezTo>
                <a:close/>
                <a:moveTo>
                  <a:pt x="698" y="891"/>
                </a:moveTo>
                <a:cubicBezTo>
                  <a:pt x="693" y="891"/>
                  <a:pt x="690" y="894"/>
                  <a:pt x="690" y="898"/>
                </a:cubicBezTo>
                <a:cubicBezTo>
                  <a:pt x="690" y="902"/>
                  <a:pt x="693" y="905"/>
                  <a:pt x="698" y="905"/>
                </a:cubicBezTo>
                <a:cubicBezTo>
                  <a:pt x="702" y="905"/>
                  <a:pt x="705" y="902"/>
                  <a:pt x="705" y="898"/>
                </a:cubicBezTo>
                <a:cubicBezTo>
                  <a:pt x="705" y="894"/>
                  <a:pt x="702" y="891"/>
                  <a:pt x="698" y="891"/>
                </a:cubicBezTo>
                <a:close/>
                <a:moveTo>
                  <a:pt x="720" y="891"/>
                </a:moveTo>
                <a:cubicBezTo>
                  <a:pt x="715" y="891"/>
                  <a:pt x="712" y="894"/>
                  <a:pt x="712" y="898"/>
                </a:cubicBezTo>
                <a:cubicBezTo>
                  <a:pt x="712" y="902"/>
                  <a:pt x="715" y="905"/>
                  <a:pt x="720" y="905"/>
                </a:cubicBezTo>
                <a:cubicBezTo>
                  <a:pt x="724" y="905"/>
                  <a:pt x="727" y="902"/>
                  <a:pt x="727" y="898"/>
                </a:cubicBezTo>
                <a:cubicBezTo>
                  <a:pt x="727" y="894"/>
                  <a:pt x="724" y="891"/>
                  <a:pt x="720" y="891"/>
                </a:cubicBezTo>
                <a:close/>
                <a:moveTo>
                  <a:pt x="742" y="757"/>
                </a:moveTo>
                <a:cubicBezTo>
                  <a:pt x="738" y="757"/>
                  <a:pt x="735" y="760"/>
                  <a:pt x="735" y="764"/>
                </a:cubicBezTo>
                <a:cubicBezTo>
                  <a:pt x="735" y="767"/>
                  <a:pt x="738" y="770"/>
                  <a:pt x="742" y="770"/>
                </a:cubicBezTo>
                <a:cubicBezTo>
                  <a:pt x="747" y="770"/>
                  <a:pt x="750" y="767"/>
                  <a:pt x="750" y="764"/>
                </a:cubicBezTo>
                <a:cubicBezTo>
                  <a:pt x="750" y="760"/>
                  <a:pt x="747" y="757"/>
                  <a:pt x="742" y="757"/>
                </a:cubicBezTo>
                <a:close/>
                <a:moveTo>
                  <a:pt x="765" y="757"/>
                </a:moveTo>
                <a:cubicBezTo>
                  <a:pt x="761" y="757"/>
                  <a:pt x="758" y="760"/>
                  <a:pt x="758" y="764"/>
                </a:cubicBezTo>
                <a:cubicBezTo>
                  <a:pt x="758" y="767"/>
                  <a:pt x="761" y="770"/>
                  <a:pt x="765" y="770"/>
                </a:cubicBezTo>
                <a:cubicBezTo>
                  <a:pt x="770" y="770"/>
                  <a:pt x="773" y="767"/>
                  <a:pt x="773" y="764"/>
                </a:cubicBezTo>
                <a:cubicBezTo>
                  <a:pt x="773" y="760"/>
                  <a:pt x="770" y="757"/>
                  <a:pt x="765" y="757"/>
                </a:cubicBezTo>
                <a:close/>
                <a:moveTo>
                  <a:pt x="742" y="776"/>
                </a:moveTo>
                <a:cubicBezTo>
                  <a:pt x="738" y="776"/>
                  <a:pt x="735" y="779"/>
                  <a:pt x="735" y="783"/>
                </a:cubicBezTo>
                <a:cubicBezTo>
                  <a:pt x="735" y="786"/>
                  <a:pt x="738" y="789"/>
                  <a:pt x="742" y="789"/>
                </a:cubicBezTo>
                <a:cubicBezTo>
                  <a:pt x="747" y="789"/>
                  <a:pt x="750" y="786"/>
                  <a:pt x="750" y="783"/>
                </a:cubicBezTo>
                <a:cubicBezTo>
                  <a:pt x="750" y="779"/>
                  <a:pt x="747" y="776"/>
                  <a:pt x="742" y="776"/>
                </a:cubicBezTo>
                <a:close/>
                <a:moveTo>
                  <a:pt x="765" y="776"/>
                </a:moveTo>
                <a:cubicBezTo>
                  <a:pt x="761" y="776"/>
                  <a:pt x="758" y="779"/>
                  <a:pt x="758" y="783"/>
                </a:cubicBezTo>
                <a:cubicBezTo>
                  <a:pt x="758" y="786"/>
                  <a:pt x="761" y="789"/>
                  <a:pt x="765" y="789"/>
                </a:cubicBezTo>
                <a:cubicBezTo>
                  <a:pt x="770" y="789"/>
                  <a:pt x="773" y="786"/>
                  <a:pt x="773" y="783"/>
                </a:cubicBezTo>
                <a:cubicBezTo>
                  <a:pt x="773" y="779"/>
                  <a:pt x="770" y="776"/>
                  <a:pt x="765" y="776"/>
                </a:cubicBezTo>
                <a:close/>
                <a:moveTo>
                  <a:pt x="742" y="796"/>
                </a:moveTo>
                <a:cubicBezTo>
                  <a:pt x="738" y="796"/>
                  <a:pt x="735" y="799"/>
                  <a:pt x="735" y="802"/>
                </a:cubicBezTo>
                <a:cubicBezTo>
                  <a:pt x="735" y="806"/>
                  <a:pt x="738" y="809"/>
                  <a:pt x="742" y="809"/>
                </a:cubicBezTo>
                <a:cubicBezTo>
                  <a:pt x="747" y="809"/>
                  <a:pt x="750" y="806"/>
                  <a:pt x="750" y="802"/>
                </a:cubicBezTo>
                <a:cubicBezTo>
                  <a:pt x="750" y="799"/>
                  <a:pt x="747" y="796"/>
                  <a:pt x="742" y="796"/>
                </a:cubicBezTo>
                <a:close/>
                <a:moveTo>
                  <a:pt x="765" y="796"/>
                </a:moveTo>
                <a:cubicBezTo>
                  <a:pt x="761" y="796"/>
                  <a:pt x="758" y="799"/>
                  <a:pt x="758" y="802"/>
                </a:cubicBezTo>
                <a:cubicBezTo>
                  <a:pt x="758" y="806"/>
                  <a:pt x="761" y="809"/>
                  <a:pt x="765" y="809"/>
                </a:cubicBezTo>
                <a:cubicBezTo>
                  <a:pt x="770" y="809"/>
                  <a:pt x="773" y="806"/>
                  <a:pt x="773" y="802"/>
                </a:cubicBezTo>
                <a:cubicBezTo>
                  <a:pt x="773" y="799"/>
                  <a:pt x="770" y="796"/>
                  <a:pt x="765" y="796"/>
                </a:cubicBezTo>
                <a:close/>
                <a:moveTo>
                  <a:pt x="742" y="829"/>
                </a:moveTo>
                <a:cubicBezTo>
                  <a:pt x="746" y="829"/>
                  <a:pt x="749" y="824"/>
                  <a:pt x="749" y="821"/>
                </a:cubicBezTo>
                <a:cubicBezTo>
                  <a:pt x="749" y="817"/>
                  <a:pt x="746" y="814"/>
                  <a:pt x="741" y="814"/>
                </a:cubicBezTo>
                <a:cubicBezTo>
                  <a:pt x="737" y="814"/>
                  <a:pt x="734" y="817"/>
                  <a:pt x="734" y="821"/>
                </a:cubicBezTo>
                <a:cubicBezTo>
                  <a:pt x="734" y="824"/>
                  <a:pt x="738" y="829"/>
                  <a:pt x="742" y="829"/>
                </a:cubicBezTo>
                <a:close/>
                <a:moveTo>
                  <a:pt x="765" y="815"/>
                </a:moveTo>
                <a:cubicBezTo>
                  <a:pt x="761" y="815"/>
                  <a:pt x="758" y="818"/>
                  <a:pt x="758" y="822"/>
                </a:cubicBezTo>
                <a:cubicBezTo>
                  <a:pt x="758" y="826"/>
                  <a:pt x="761" y="829"/>
                  <a:pt x="765" y="829"/>
                </a:cubicBezTo>
                <a:cubicBezTo>
                  <a:pt x="770" y="829"/>
                  <a:pt x="773" y="826"/>
                  <a:pt x="773" y="822"/>
                </a:cubicBezTo>
                <a:cubicBezTo>
                  <a:pt x="773" y="818"/>
                  <a:pt x="770" y="815"/>
                  <a:pt x="765" y="815"/>
                </a:cubicBezTo>
                <a:close/>
                <a:moveTo>
                  <a:pt x="742" y="834"/>
                </a:moveTo>
                <a:cubicBezTo>
                  <a:pt x="738" y="834"/>
                  <a:pt x="735" y="837"/>
                  <a:pt x="735" y="841"/>
                </a:cubicBezTo>
                <a:cubicBezTo>
                  <a:pt x="735" y="845"/>
                  <a:pt x="738" y="848"/>
                  <a:pt x="742" y="848"/>
                </a:cubicBezTo>
                <a:cubicBezTo>
                  <a:pt x="747" y="848"/>
                  <a:pt x="750" y="845"/>
                  <a:pt x="750" y="841"/>
                </a:cubicBezTo>
                <a:cubicBezTo>
                  <a:pt x="750" y="837"/>
                  <a:pt x="747" y="834"/>
                  <a:pt x="742" y="834"/>
                </a:cubicBezTo>
                <a:close/>
                <a:moveTo>
                  <a:pt x="765" y="834"/>
                </a:moveTo>
                <a:cubicBezTo>
                  <a:pt x="761" y="834"/>
                  <a:pt x="758" y="837"/>
                  <a:pt x="758" y="841"/>
                </a:cubicBezTo>
                <a:cubicBezTo>
                  <a:pt x="758" y="845"/>
                  <a:pt x="761" y="848"/>
                  <a:pt x="765" y="848"/>
                </a:cubicBezTo>
                <a:cubicBezTo>
                  <a:pt x="770" y="848"/>
                  <a:pt x="773" y="845"/>
                  <a:pt x="773" y="841"/>
                </a:cubicBezTo>
                <a:cubicBezTo>
                  <a:pt x="773" y="837"/>
                  <a:pt x="770" y="834"/>
                  <a:pt x="765" y="834"/>
                </a:cubicBezTo>
                <a:close/>
                <a:moveTo>
                  <a:pt x="741" y="867"/>
                </a:moveTo>
                <a:cubicBezTo>
                  <a:pt x="748" y="867"/>
                  <a:pt x="749" y="866"/>
                  <a:pt x="749" y="860"/>
                </a:cubicBezTo>
                <a:cubicBezTo>
                  <a:pt x="749" y="855"/>
                  <a:pt x="746" y="853"/>
                  <a:pt x="741" y="853"/>
                </a:cubicBezTo>
                <a:cubicBezTo>
                  <a:pt x="737" y="853"/>
                  <a:pt x="734" y="855"/>
                  <a:pt x="734" y="860"/>
                </a:cubicBezTo>
                <a:cubicBezTo>
                  <a:pt x="734" y="863"/>
                  <a:pt x="737" y="867"/>
                  <a:pt x="741" y="867"/>
                </a:cubicBezTo>
                <a:close/>
                <a:moveTo>
                  <a:pt x="765" y="854"/>
                </a:moveTo>
                <a:cubicBezTo>
                  <a:pt x="761" y="854"/>
                  <a:pt x="758" y="857"/>
                  <a:pt x="758" y="861"/>
                </a:cubicBezTo>
                <a:cubicBezTo>
                  <a:pt x="758" y="864"/>
                  <a:pt x="761" y="867"/>
                  <a:pt x="765" y="867"/>
                </a:cubicBezTo>
                <a:cubicBezTo>
                  <a:pt x="770" y="867"/>
                  <a:pt x="773" y="864"/>
                  <a:pt x="773" y="861"/>
                </a:cubicBezTo>
                <a:cubicBezTo>
                  <a:pt x="773" y="857"/>
                  <a:pt x="770" y="854"/>
                  <a:pt x="765" y="854"/>
                </a:cubicBezTo>
                <a:close/>
                <a:moveTo>
                  <a:pt x="742" y="873"/>
                </a:moveTo>
                <a:cubicBezTo>
                  <a:pt x="738" y="873"/>
                  <a:pt x="735" y="876"/>
                  <a:pt x="735" y="880"/>
                </a:cubicBezTo>
                <a:cubicBezTo>
                  <a:pt x="735" y="883"/>
                  <a:pt x="738" y="886"/>
                  <a:pt x="742" y="886"/>
                </a:cubicBezTo>
                <a:cubicBezTo>
                  <a:pt x="747" y="886"/>
                  <a:pt x="750" y="883"/>
                  <a:pt x="750" y="880"/>
                </a:cubicBezTo>
                <a:cubicBezTo>
                  <a:pt x="750" y="876"/>
                  <a:pt x="747" y="873"/>
                  <a:pt x="742" y="873"/>
                </a:cubicBezTo>
                <a:close/>
                <a:moveTo>
                  <a:pt x="764" y="885"/>
                </a:moveTo>
                <a:cubicBezTo>
                  <a:pt x="768" y="885"/>
                  <a:pt x="771" y="883"/>
                  <a:pt x="771" y="878"/>
                </a:cubicBezTo>
                <a:cubicBezTo>
                  <a:pt x="771" y="875"/>
                  <a:pt x="769" y="873"/>
                  <a:pt x="765" y="873"/>
                </a:cubicBezTo>
                <a:cubicBezTo>
                  <a:pt x="761" y="873"/>
                  <a:pt x="756" y="875"/>
                  <a:pt x="756" y="878"/>
                </a:cubicBezTo>
                <a:cubicBezTo>
                  <a:pt x="756" y="883"/>
                  <a:pt x="759" y="885"/>
                  <a:pt x="764" y="885"/>
                </a:cubicBezTo>
                <a:close/>
                <a:moveTo>
                  <a:pt x="742" y="905"/>
                </a:moveTo>
                <a:cubicBezTo>
                  <a:pt x="746" y="905"/>
                  <a:pt x="749" y="902"/>
                  <a:pt x="749" y="898"/>
                </a:cubicBezTo>
                <a:cubicBezTo>
                  <a:pt x="749" y="894"/>
                  <a:pt x="746" y="891"/>
                  <a:pt x="741" y="891"/>
                </a:cubicBezTo>
                <a:cubicBezTo>
                  <a:pt x="737" y="891"/>
                  <a:pt x="734" y="894"/>
                  <a:pt x="734" y="898"/>
                </a:cubicBezTo>
                <a:cubicBezTo>
                  <a:pt x="734" y="902"/>
                  <a:pt x="738" y="905"/>
                  <a:pt x="742" y="905"/>
                </a:cubicBezTo>
                <a:close/>
                <a:moveTo>
                  <a:pt x="764" y="905"/>
                </a:moveTo>
                <a:cubicBezTo>
                  <a:pt x="768" y="905"/>
                  <a:pt x="771" y="902"/>
                  <a:pt x="771" y="898"/>
                </a:cubicBezTo>
                <a:cubicBezTo>
                  <a:pt x="771" y="895"/>
                  <a:pt x="769" y="892"/>
                  <a:pt x="765" y="892"/>
                </a:cubicBezTo>
                <a:cubicBezTo>
                  <a:pt x="761" y="892"/>
                  <a:pt x="756" y="895"/>
                  <a:pt x="756" y="898"/>
                </a:cubicBezTo>
                <a:cubicBezTo>
                  <a:pt x="756" y="902"/>
                  <a:pt x="759" y="905"/>
                  <a:pt x="764" y="905"/>
                </a:cubicBezTo>
                <a:close/>
                <a:moveTo>
                  <a:pt x="786" y="757"/>
                </a:moveTo>
                <a:cubicBezTo>
                  <a:pt x="782" y="757"/>
                  <a:pt x="779" y="759"/>
                  <a:pt x="779" y="763"/>
                </a:cubicBezTo>
                <a:cubicBezTo>
                  <a:pt x="779" y="766"/>
                  <a:pt x="782" y="769"/>
                  <a:pt x="786" y="769"/>
                </a:cubicBezTo>
                <a:cubicBezTo>
                  <a:pt x="791" y="769"/>
                  <a:pt x="794" y="766"/>
                  <a:pt x="794" y="763"/>
                </a:cubicBezTo>
                <a:cubicBezTo>
                  <a:pt x="794" y="759"/>
                  <a:pt x="791" y="757"/>
                  <a:pt x="786" y="757"/>
                </a:cubicBezTo>
                <a:close/>
                <a:moveTo>
                  <a:pt x="808" y="757"/>
                </a:moveTo>
                <a:cubicBezTo>
                  <a:pt x="804" y="757"/>
                  <a:pt x="801" y="759"/>
                  <a:pt x="801" y="763"/>
                </a:cubicBezTo>
                <a:cubicBezTo>
                  <a:pt x="801" y="766"/>
                  <a:pt x="804" y="769"/>
                  <a:pt x="808" y="769"/>
                </a:cubicBezTo>
                <a:cubicBezTo>
                  <a:pt x="813" y="769"/>
                  <a:pt x="816" y="766"/>
                  <a:pt x="816" y="763"/>
                </a:cubicBezTo>
                <a:cubicBezTo>
                  <a:pt x="816" y="759"/>
                  <a:pt x="813" y="757"/>
                  <a:pt x="808" y="757"/>
                </a:cubicBezTo>
                <a:close/>
                <a:moveTo>
                  <a:pt x="786" y="775"/>
                </a:moveTo>
                <a:cubicBezTo>
                  <a:pt x="782" y="775"/>
                  <a:pt x="779" y="778"/>
                  <a:pt x="779" y="782"/>
                </a:cubicBezTo>
                <a:cubicBezTo>
                  <a:pt x="779" y="786"/>
                  <a:pt x="782" y="789"/>
                  <a:pt x="786" y="789"/>
                </a:cubicBezTo>
                <a:cubicBezTo>
                  <a:pt x="791" y="789"/>
                  <a:pt x="794" y="786"/>
                  <a:pt x="794" y="782"/>
                </a:cubicBezTo>
                <a:cubicBezTo>
                  <a:pt x="794" y="778"/>
                  <a:pt x="791" y="775"/>
                  <a:pt x="786" y="775"/>
                </a:cubicBezTo>
                <a:close/>
                <a:moveTo>
                  <a:pt x="808" y="775"/>
                </a:moveTo>
                <a:cubicBezTo>
                  <a:pt x="804" y="775"/>
                  <a:pt x="801" y="778"/>
                  <a:pt x="801" y="782"/>
                </a:cubicBezTo>
                <a:cubicBezTo>
                  <a:pt x="801" y="786"/>
                  <a:pt x="804" y="789"/>
                  <a:pt x="808" y="789"/>
                </a:cubicBezTo>
                <a:cubicBezTo>
                  <a:pt x="813" y="789"/>
                  <a:pt x="816" y="786"/>
                  <a:pt x="816" y="782"/>
                </a:cubicBezTo>
                <a:cubicBezTo>
                  <a:pt x="816" y="778"/>
                  <a:pt x="813" y="775"/>
                  <a:pt x="808" y="775"/>
                </a:cubicBezTo>
                <a:close/>
                <a:moveTo>
                  <a:pt x="786" y="795"/>
                </a:moveTo>
                <a:cubicBezTo>
                  <a:pt x="782" y="795"/>
                  <a:pt x="779" y="798"/>
                  <a:pt x="779" y="801"/>
                </a:cubicBezTo>
                <a:cubicBezTo>
                  <a:pt x="779" y="805"/>
                  <a:pt x="782" y="808"/>
                  <a:pt x="786" y="808"/>
                </a:cubicBezTo>
                <a:cubicBezTo>
                  <a:pt x="791" y="808"/>
                  <a:pt x="794" y="805"/>
                  <a:pt x="794" y="801"/>
                </a:cubicBezTo>
                <a:cubicBezTo>
                  <a:pt x="794" y="798"/>
                  <a:pt x="791" y="795"/>
                  <a:pt x="786" y="795"/>
                </a:cubicBezTo>
                <a:close/>
                <a:moveTo>
                  <a:pt x="808" y="795"/>
                </a:moveTo>
                <a:cubicBezTo>
                  <a:pt x="804" y="795"/>
                  <a:pt x="801" y="798"/>
                  <a:pt x="801" y="801"/>
                </a:cubicBezTo>
                <a:cubicBezTo>
                  <a:pt x="801" y="805"/>
                  <a:pt x="804" y="808"/>
                  <a:pt x="808" y="808"/>
                </a:cubicBezTo>
                <a:cubicBezTo>
                  <a:pt x="813" y="808"/>
                  <a:pt x="816" y="805"/>
                  <a:pt x="816" y="801"/>
                </a:cubicBezTo>
                <a:cubicBezTo>
                  <a:pt x="816" y="798"/>
                  <a:pt x="813" y="795"/>
                  <a:pt x="808" y="795"/>
                </a:cubicBezTo>
                <a:close/>
                <a:moveTo>
                  <a:pt x="786" y="814"/>
                </a:moveTo>
                <a:cubicBezTo>
                  <a:pt x="782" y="814"/>
                  <a:pt x="779" y="817"/>
                  <a:pt x="779" y="821"/>
                </a:cubicBezTo>
                <a:cubicBezTo>
                  <a:pt x="779" y="825"/>
                  <a:pt x="782" y="828"/>
                  <a:pt x="786" y="828"/>
                </a:cubicBezTo>
                <a:cubicBezTo>
                  <a:pt x="791" y="828"/>
                  <a:pt x="794" y="825"/>
                  <a:pt x="794" y="821"/>
                </a:cubicBezTo>
                <a:cubicBezTo>
                  <a:pt x="794" y="817"/>
                  <a:pt x="791" y="814"/>
                  <a:pt x="786" y="814"/>
                </a:cubicBezTo>
                <a:close/>
                <a:moveTo>
                  <a:pt x="808" y="814"/>
                </a:moveTo>
                <a:cubicBezTo>
                  <a:pt x="804" y="814"/>
                  <a:pt x="801" y="817"/>
                  <a:pt x="801" y="821"/>
                </a:cubicBezTo>
                <a:cubicBezTo>
                  <a:pt x="801" y="825"/>
                  <a:pt x="804" y="828"/>
                  <a:pt x="808" y="828"/>
                </a:cubicBezTo>
                <a:cubicBezTo>
                  <a:pt x="813" y="828"/>
                  <a:pt x="816" y="825"/>
                  <a:pt x="816" y="821"/>
                </a:cubicBezTo>
                <a:cubicBezTo>
                  <a:pt x="816" y="817"/>
                  <a:pt x="813" y="814"/>
                  <a:pt x="808" y="814"/>
                </a:cubicBezTo>
                <a:close/>
                <a:moveTo>
                  <a:pt x="786" y="833"/>
                </a:moveTo>
                <a:cubicBezTo>
                  <a:pt x="782" y="833"/>
                  <a:pt x="779" y="837"/>
                  <a:pt x="779" y="840"/>
                </a:cubicBezTo>
                <a:cubicBezTo>
                  <a:pt x="779" y="844"/>
                  <a:pt x="782" y="847"/>
                  <a:pt x="786" y="847"/>
                </a:cubicBezTo>
                <a:cubicBezTo>
                  <a:pt x="791" y="847"/>
                  <a:pt x="794" y="844"/>
                  <a:pt x="794" y="840"/>
                </a:cubicBezTo>
                <a:cubicBezTo>
                  <a:pt x="794" y="837"/>
                  <a:pt x="791" y="833"/>
                  <a:pt x="786" y="833"/>
                </a:cubicBezTo>
                <a:close/>
                <a:moveTo>
                  <a:pt x="808" y="833"/>
                </a:moveTo>
                <a:cubicBezTo>
                  <a:pt x="804" y="833"/>
                  <a:pt x="801" y="837"/>
                  <a:pt x="801" y="840"/>
                </a:cubicBezTo>
                <a:cubicBezTo>
                  <a:pt x="801" y="844"/>
                  <a:pt x="804" y="847"/>
                  <a:pt x="808" y="847"/>
                </a:cubicBezTo>
                <a:cubicBezTo>
                  <a:pt x="813" y="847"/>
                  <a:pt x="816" y="844"/>
                  <a:pt x="816" y="840"/>
                </a:cubicBezTo>
                <a:cubicBezTo>
                  <a:pt x="816" y="837"/>
                  <a:pt x="813" y="833"/>
                  <a:pt x="808" y="833"/>
                </a:cubicBezTo>
                <a:close/>
                <a:moveTo>
                  <a:pt x="786" y="853"/>
                </a:moveTo>
                <a:cubicBezTo>
                  <a:pt x="782" y="853"/>
                  <a:pt x="779" y="856"/>
                  <a:pt x="779" y="860"/>
                </a:cubicBezTo>
                <a:cubicBezTo>
                  <a:pt x="779" y="864"/>
                  <a:pt x="782" y="867"/>
                  <a:pt x="786" y="867"/>
                </a:cubicBezTo>
                <a:cubicBezTo>
                  <a:pt x="791" y="867"/>
                  <a:pt x="794" y="864"/>
                  <a:pt x="794" y="860"/>
                </a:cubicBezTo>
                <a:cubicBezTo>
                  <a:pt x="794" y="856"/>
                  <a:pt x="791" y="853"/>
                  <a:pt x="786" y="853"/>
                </a:cubicBezTo>
                <a:close/>
                <a:moveTo>
                  <a:pt x="808" y="853"/>
                </a:moveTo>
                <a:cubicBezTo>
                  <a:pt x="804" y="853"/>
                  <a:pt x="801" y="856"/>
                  <a:pt x="801" y="860"/>
                </a:cubicBezTo>
                <a:cubicBezTo>
                  <a:pt x="801" y="864"/>
                  <a:pt x="804" y="867"/>
                  <a:pt x="808" y="867"/>
                </a:cubicBezTo>
                <a:cubicBezTo>
                  <a:pt x="813" y="867"/>
                  <a:pt x="816" y="864"/>
                  <a:pt x="816" y="860"/>
                </a:cubicBezTo>
                <a:cubicBezTo>
                  <a:pt x="816" y="856"/>
                  <a:pt x="813" y="853"/>
                  <a:pt x="808" y="853"/>
                </a:cubicBezTo>
                <a:close/>
                <a:moveTo>
                  <a:pt x="786" y="873"/>
                </a:moveTo>
                <a:cubicBezTo>
                  <a:pt x="782" y="873"/>
                  <a:pt x="779" y="876"/>
                  <a:pt x="779" y="879"/>
                </a:cubicBezTo>
                <a:cubicBezTo>
                  <a:pt x="779" y="883"/>
                  <a:pt x="782" y="885"/>
                  <a:pt x="786" y="885"/>
                </a:cubicBezTo>
                <a:cubicBezTo>
                  <a:pt x="791" y="885"/>
                  <a:pt x="794" y="883"/>
                  <a:pt x="794" y="879"/>
                </a:cubicBezTo>
                <a:cubicBezTo>
                  <a:pt x="794" y="876"/>
                  <a:pt x="791" y="873"/>
                  <a:pt x="786" y="873"/>
                </a:cubicBezTo>
                <a:close/>
                <a:moveTo>
                  <a:pt x="808" y="873"/>
                </a:moveTo>
                <a:cubicBezTo>
                  <a:pt x="804" y="873"/>
                  <a:pt x="801" y="876"/>
                  <a:pt x="801" y="879"/>
                </a:cubicBezTo>
                <a:cubicBezTo>
                  <a:pt x="801" y="883"/>
                  <a:pt x="804" y="885"/>
                  <a:pt x="808" y="885"/>
                </a:cubicBezTo>
                <a:cubicBezTo>
                  <a:pt x="813" y="885"/>
                  <a:pt x="816" y="883"/>
                  <a:pt x="816" y="879"/>
                </a:cubicBezTo>
                <a:cubicBezTo>
                  <a:pt x="816" y="876"/>
                  <a:pt x="813" y="873"/>
                  <a:pt x="808" y="873"/>
                </a:cubicBezTo>
                <a:close/>
                <a:moveTo>
                  <a:pt x="786" y="891"/>
                </a:moveTo>
                <a:cubicBezTo>
                  <a:pt x="782" y="891"/>
                  <a:pt x="779" y="894"/>
                  <a:pt x="779" y="898"/>
                </a:cubicBezTo>
                <a:cubicBezTo>
                  <a:pt x="779" y="902"/>
                  <a:pt x="782" y="905"/>
                  <a:pt x="786" y="905"/>
                </a:cubicBezTo>
                <a:cubicBezTo>
                  <a:pt x="791" y="905"/>
                  <a:pt x="794" y="902"/>
                  <a:pt x="794" y="898"/>
                </a:cubicBezTo>
                <a:cubicBezTo>
                  <a:pt x="794" y="894"/>
                  <a:pt x="791" y="891"/>
                  <a:pt x="786" y="891"/>
                </a:cubicBezTo>
                <a:close/>
                <a:moveTo>
                  <a:pt x="808" y="891"/>
                </a:moveTo>
                <a:cubicBezTo>
                  <a:pt x="804" y="891"/>
                  <a:pt x="801" y="894"/>
                  <a:pt x="801" y="898"/>
                </a:cubicBezTo>
                <a:cubicBezTo>
                  <a:pt x="801" y="902"/>
                  <a:pt x="804" y="905"/>
                  <a:pt x="808" y="905"/>
                </a:cubicBezTo>
                <a:cubicBezTo>
                  <a:pt x="813" y="905"/>
                  <a:pt x="816" y="902"/>
                  <a:pt x="816" y="898"/>
                </a:cubicBezTo>
                <a:cubicBezTo>
                  <a:pt x="816" y="894"/>
                  <a:pt x="813" y="891"/>
                  <a:pt x="808" y="891"/>
                </a:cubicBezTo>
                <a:close/>
                <a:moveTo>
                  <a:pt x="830" y="757"/>
                </a:moveTo>
                <a:cubicBezTo>
                  <a:pt x="826" y="757"/>
                  <a:pt x="822" y="759"/>
                  <a:pt x="822" y="763"/>
                </a:cubicBezTo>
                <a:cubicBezTo>
                  <a:pt x="822" y="766"/>
                  <a:pt x="826" y="769"/>
                  <a:pt x="830" y="769"/>
                </a:cubicBezTo>
                <a:cubicBezTo>
                  <a:pt x="834" y="769"/>
                  <a:pt x="838" y="766"/>
                  <a:pt x="838" y="763"/>
                </a:cubicBezTo>
                <a:cubicBezTo>
                  <a:pt x="838" y="759"/>
                  <a:pt x="834" y="757"/>
                  <a:pt x="830" y="757"/>
                </a:cubicBezTo>
                <a:close/>
                <a:moveTo>
                  <a:pt x="830" y="775"/>
                </a:moveTo>
                <a:cubicBezTo>
                  <a:pt x="826" y="775"/>
                  <a:pt x="822" y="778"/>
                  <a:pt x="822" y="782"/>
                </a:cubicBezTo>
                <a:cubicBezTo>
                  <a:pt x="822" y="786"/>
                  <a:pt x="826" y="789"/>
                  <a:pt x="830" y="789"/>
                </a:cubicBezTo>
                <a:cubicBezTo>
                  <a:pt x="834" y="789"/>
                  <a:pt x="838" y="786"/>
                  <a:pt x="838" y="782"/>
                </a:cubicBezTo>
                <a:cubicBezTo>
                  <a:pt x="838" y="778"/>
                  <a:pt x="834" y="775"/>
                  <a:pt x="830" y="775"/>
                </a:cubicBezTo>
                <a:close/>
                <a:moveTo>
                  <a:pt x="852" y="775"/>
                </a:moveTo>
                <a:cubicBezTo>
                  <a:pt x="848" y="775"/>
                  <a:pt x="845" y="778"/>
                  <a:pt x="845" y="782"/>
                </a:cubicBezTo>
                <a:cubicBezTo>
                  <a:pt x="845" y="786"/>
                  <a:pt x="848" y="789"/>
                  <a:pt x="852" y="789"/>
                </a:cubicBezTo>
                <a:cubicBezTo>
                  <a:pt x="857" y="789"/>
                  <a:pt x="860" y="786"/>
                  <a:pt x="860" y="782"/>
                </a:cubicBezTo>
                <a:cubicBezTo>
                  <a:pt x="860" y="778"/>
                  <a:pt x="857" y="775"/>
                  <a:pt x="852" y="775"/>
                </a:cubicBezTo>
                <a:close/>
                <a:moveTo>
                  <a:pt x="830" y="795"/>
                </a:moveTo>
                <a:cubicBezTo>
                  <a:pt x="826" y="795"/>
                  <a:pt x="822" y="798"/>
                  <a:pt x="822" y="801"/>
                </a:cubicBezTo>
                <a:cubicBezTo>
                  <a:pt x="822" y="805"/>
                  <a:pt x="826" y="808"/>
                  <a:pt x="830" y="808"/>
                </a:cubicBezTo>
                <a:cubicBezTo>
                  <a:pt x="834" y="808"/>
                  <a:pt x="838" y="805"/>
                  <a:pt x="838" y="801"/>
                </a:cubicBezTo>
                <a:cubicBezTo>
                  <a:pt x="838" y="798"/>
                  <a:pt x="834" y="795"/>
                  <a:pt x="830" y="795"/>
                </a:cubicBezTo>
                <a:close/>
                <a:moveTo>
                  <a:pt x="852" y="795"/>
                </a:moveTo>
                <a:cubicBezTo>
                  <a:pt x="848" y="795"/>
                  <a:pt x="845" y="798"/>
                  <a:pt x="845" y="801"/>
                </a:cubicBezTo>
                <a:cubicBezTo>
                  <a:pt x="845" y="805"/>
                  <a:pt x="848" y="808"/>
                  <a:pt x="852" y="808"/>
                </a:cubicBezTo>
                <a:cubicBezTo>
                  <a:pt x="857" y="808"/>
                  <a:pt x="860" y="805"/>
                  <a:pt x="860" y="801"/>
                </a:cubicBezTo>
                <a:cubicBezTo>
                  <a:pt x="860" y="798"/>
                  <a:pt x="857" y="795"/>
                  <a:pt x="852" y="795"/>
                </a:cubicBezTo>
                <a:close/>
                <a:moveTo>
                  <a:pt x="830" y="814"/>
                </a:moveTo>
                <a:cubicBezTo>
                  <a:pt x="826" y="814"/>
                  <a:pt x="822" y="817"/>
                  <a:pt x="822" y="821"/>
                </a:cubicBezTo>
                <a:cubicBezTo>
                  <a:pt x="822" y="825"/>
                  <a:pt x="826" y="828"/>
                  <a:pt x="830" y="828"/>
                </a:cubicBezTo>
                <a:cubicBezTo>
                  <a:pt x="834" y="828"/>
                  <a:pt x="838" y="825"/>
                  <a:pt x="838" y="821"/>
                </a:cubicBezTo>
                <a:cubicBezTo>
                  <a:pt x="838" y="817"/>
                  <a:pt x="834" y="814"/>
                  <a:pt x="830" y="814"/>
                </a:cubicBezTo>
                <a:close/>
                <a:moveTo>
                  <a:pt x="852" y="814"/>
                </a:moveTo>
                <a:cubicBezTo>
                  <a:pt x="848" y="814"/>
                  <a:pt x="845" y="817"/>
                  <a:pt x="845" y="821"/>
                </a:cubicBezTo>
                <a:cubicBezTo>
                  <a:pt x="845" y="825"/>
                  <a:pt x="848" y="828"/>
                  <a:pt x="852" y="828"/>
                </a:cubicBezTo>
                <a:cubicBezTo>
                  <a:pt x="857" y="828"/>
                  <a:pt x="860" y="825"/>
                  <a:pt x="860" y="821"/>
                </a:cubicBezTo>
                <a:cubicBezTo>
                  <a:pt x="860" y="817"/>
                  <a:pt x="857" y="814"/>
                  <a:pt x="852" y="814"/>
                </a:cubicBezTo>
                <a:close/>
                <a:moveTo>
                  <a:pt x="830" y="833"/>
                </a:moveTo>
                <a:cubicBezTo>
                  <a:pt x="826" y="833"/>
                  <a:pt x="822" y="837"/>
                  <a:pt x="822" y="840"/>
                </a:cubicBezTo>
                <a:cubicBezTo>
                  <a:pt x="822" y="844"/>
                  <a:pt x="826" y="847"/>
                  <a:pt x="830" y="847"/>
                </a:cubicBezTo>
                <a:cubicBezTo>
                  <a:pt x="834" y="847"/>
                  <a:pt x="838" y="844"/>
                  <a:pt x="838" y="840"/>
                </a:cubicBezTo>
                <a:cubicBezTo>
                  <a:pt x="838" y="837"/>
                  <a:pt x="834" y="833"/>
                  <a:pt x="830" y="833"/>
                </a:cubicBezTo>
                <a:close/>
                <a:moveTo>
                  <a:pt x="852" y="833"/>
                </a:moveTo>
                <a:cubicBezTo>
                  <a:pt x="848" y="833"/>
                  <a:pt x="845" y="837"/>
                  <a:pt x="845" y="840"/>
                </a:cubicBezTo>
                <a:cubicBezTo>
                  <a:pt x="845" y="844"/>
                  <a:pt x="848" y="847"/>
                  <a:pt x="852" y="847"/>
                </a:cubicBezTo>
                <a:cubicBezTo>
                  <a:pt x="857" y="847"/>
                  <a:pt x="860" y="844"/>
                  <a:pt x="860" y="840"/>
                </a:cubicBezTo>
                <a:cubicBezTo>
                  <a:pt x="860" y="837"/>
                  <a:pt x="857" y="833"/>
                  <a:pt x="852" y="833"/>
                </a:cubicBezTo>
                <a:close/>
                <a:moveTo>
                  <a:pt x="830" y="853"/>
                </a:moveTo>
                <a:cubicBezTo>
                  <a:pt x="826" y="853"/>
                  <a:pt x="822" y="856"/>
                  <a:pt x="822" y="860"/>
                </a:cubicBezTo>
                <a:cubicBezTo>
                  <a:pt x="822" y="864"/>
                  <a:pt x="826" y="867"/>
                  <a:pt x="830" y="867"/>
                </a:cubicBezTo>
                <a:cubicBezTo>
                  <a:pt x="834" y="867"/>
                  <a:pt x="838" y="864"/>
                  <a:pt x="838" y="860"/>
                </a:cubicBezTo>
                <a:cubicBezTo>
                  <a:pt x="838" y="856"/>
                  <a:pt x="834" y="853"/>
                  <a:pt x="830" y="853"/>
                </a:cubicBezTo>
                <a:close/>
                <a:moveTo>
                  <a:pt x="852" y="853"/>
                </a:moveTo>
                <a:cubicBezTo>
                  <a:pt x="848" y="853"/>
                  <a:pt x="845" y="856"/>
                  <a:pt x="845" y="860"/>
                </a:cubicBezTo>
                <a:cubicBezTo>
                  <a:pt x="845" y="864"/>
                  <a:pt x="848" y="867"/>
                  <a:pt x="852" y="867"/>
                </a:cubicBezTo>
                <a:cubicBezTo>
                  <a:pt x="857" y="867"/>
                  <a:pt x="860" y="864"/>
                  <a:pt x="860" y="860"/>
                </a:cubicBezTo>
                <a:cubicBezTo>
                  <a:pt x="860" y="856"/>
                  <a:pt x="857" y="853"/>
                  <a:pt x="852" y="853"/>
                </a:cubicBezTo>
                <a:close/>
                <a:moveTo>
                  <a:pt x="830" y="873"/>
                </a:moveTo>
                <a:cubicBezTo>
                  <a:pt x="826" y="873"/>
                  <a:pt x="822" y="876"/>
                  <a:pt x="822" y="879"/>
                </a:cubicBezTo>
                <a:cubicBezTo>
                  <a:pt x="822" y="883"/>
                  <a:pt x="826" y="885"/>
                  <a:pt x="830" y="885"/>
                </a:cubicBezTo>
                <a:cubicBezTo>
                  <a:pt x="834" y="885"/>
                  <a:pt x="838" y="883"/>
                  <a:pt x="838" y="879"/>
                </a:cubicBezTo>
                <a:cubicBezTo>
                  <a:pt x="838" y="876"/>
                  <a:pt x="834" y="873"/>
                  <a:pt x="830" y="873"/>
                </a:cubicBezTo>
                <a:close/>
                <a:moveTo>
                  <a:pt x="852" y="873"/>
                </a:moveTo>
                <a:cubicBezTo>
                  <a:pt x="848" y="873"/>
                  <a:pt x="845" y="876"/>
                  <a:pt x="845" y="879"/>
                </a:cubicBezTo>
                <a:cubicBezTo>
                  <a:pt x="845" y="883"/>
                  <a:pt x="848" y="885"/>
                  <a:pt x="852" y="885"/>
                </a:cubicBezTo>
                <a:cubicBezTo>
                  <a:pt x="857" y="885"/>
                  <a:pt x="860" y="883"/>
                  <a:pt x="860" y="879"/>
                </a:cubicBezTo>
                <a:cubicBezTo>
                  <a:pt x="860" y="876"/>
                  <a:pt x="857" y="873"/>
                  <a:pt x="852" y="873"/>
                </a:cubicBezTo>
                <a:close/>
                <a:moveTo>
                  <a:pt x="830" y="891"/>
                </a:moveTo>
                <a:cubicBezTo>
                  <a:pt x="826" y="891"/>
                  <a:pt x="822" y="894"/>
                  <a:pt x="822" y="898"/>
                </a:cubicBezTo>
                <a:cubicBezTo>
                  <a:pt x="822" y="902"/>
                  <a:pt x="826" y="905"/>
                  <a:pt x="830" y="905"/>
                </a:cubicBezTo>
                <a:cubicBezTo>
                  <a:pt x="834" y="905"/>
                  <a:pt x="838" y="902"/>
                  <a:pt x="838" y="898"/>
                </a:cubicBezTo>
                <a:cubicBezTo>
                  <a:pt x="838" y="894"/>
                  <a:pt x="834" y="891"/>
                  <a:pt x="830" y="891"/>
                </a:cubicBezTo>
                <a:close/>
                <a:moveTo>
                  <a:pt x="852" y="891"/>
                </a:moveTo>
                <a:cubicBezTo>
                  <a:pt x="848" y="891"/>
                  <a:pt x="845" y="894"/>
                  <a:pt x="845" y="898"/>
                </a:cubicBezTo>
                <a:cubicBezTo>
                  <a:pt x="845" y="902"/>
                  <a:pt x="848" y="905"/>
                  <a:pt x="852" y="905"/>
                </a:cubicBezTo>
                <a:cubicBezTo>
                  <a:pt x="857" y="905"/>
                  <a:pt x="860" y="902"/>
                  <a:pt x="860" y="898"/>
                </a:cubicBezTo>
                <a:cubicBezTo>
                  <a:pt x="860" y="894"/>
                  <a:pt x="857" y="891"/>
                  <a:pt x="852" y="891"/>
                </a:cubicBezTo>
                <a:close/>
                <a:moveTo>
                  <a:pt x="1031" y="601"/>
                </a:moveTo>
                <a:cubicBezTo>
                  <a:pt x="1026" y="601"/>
                  <a:pt x="1023" y="604"/>
                  <a:pt x="1023" y="608"/>
                </a:cubicBezTo>
                <a:cubicBezTo>
                  <a:pt x="1023" y="612"/>
                  <a:pt x="1026" y="615"/>
                  <a:pt x="1031" y="615"/>
                </a:cubicBezTo>
                <a:cubicBezTo>
                  <a:pt x="1035" y="615"/>
                  <a:pt x="1038" y="612"/>
                  <a:pt x="1038" y="608"/>
                </a:cubicBezTo>
                <a:cubicBezTo>
                  <a:pt x="1038" y="604"/>
                  <a:pt x="1035" y="601"/>
                  <a:pt x="1031" y="601"/>
                </a:cubicBezTo>
                <a:close/>
                <a:moveTo>
                  <a:pt x="1031" y="620"/>
                </a:moveTo>
                <a:cubicBezTo>
                  <a:pt x="1026" y="620"/>
                  <a:pt x="1023" y="623"/>
                  <a:pt x="1023" y="627"/>
                </a:cubicBezTo>
                <a:cubicBezTo>
                  <a:pt x="1023" y="631"/>
                  <a:pt x="1026" y="634"/>
                  <a:pt x="1031" y="634"/>
                </a:cubicBezTo>
                <a:cubicBezTo>
                  <a:pt x="1035" y="634"/>
                  <a:pt x="1038" y="631"/>
                  <a:pt x="1038" y="627"/>
                </a:cubicBezTo>
                <a:cubicBezTo>
                  <a:pt x="1038" y="623"/>
                  <a:pt x="1035" y="620"/>
                  <a:pt x="1031" y="620"/>
                </a:cubicBezTo>
                <a:close/>
                <a:moveTo>
                  <a:pt x="1031" y="640"/>
                </a:moveTo>
                <a:cubicBezTo>
                  <a:pt x="1026" y="640"/>
                  <a:pt x="1023" y="643"/>
                  <a:pt x="1023" y="647"/>
                </a:cubicBezTo>
                <a:cubicBezTo>
                  <a:pt x="1023" y="650"/>
                  <a:pt x="1026" y="653"/>
                  <a:pt x="1031" y="653"/>
                </a:cubicBezTo>
                <a:cubicBezTo>
                  <a:pt x="1035" y="653"/>
                  <a:pt x="1038" y="650"/>
                  <a:pt x="1038" y="647"/>
                </a:cubicBezTo>
                <a:cubicBezTo>
                  <a:pt x="1038" y="643"/>
                  <a:pt x="1035" y="640"/>
                  <a:pt x="1031" y="640"/>
                </a:cubicBezTo>
                <a:close/>
                <a:moveTo>
                  <a:pt x="1031" y="659"/>
                </a:moveTo>
                <a:cubicBezTo>
                  <a:pt x="1026" y="659"/>
                  <a:pt x="1023" y="662"/>
                  <a:pt x="1023" y="666"/>
                </a:cubicBezTo>
                <a:cubicBezTo>
                  <a:pt x="1023" y="670"/>
                  <a:pt x="1026" y="673"/>
                  <a:pt x="1031" y="673"/>
                </a:cubicBezTo>
                <a:cubicBezTo>
                  <a:pt x="1035" y="673"/>
                  <a:pt x="1038" y="670"/>
                  <a:pt x="1038" y="666"/>
                </a:cubicBezTo>
                <a:cubicBezTo>
                  <a:pt x="1038" y="662"/>
                  <a:pt x="1035" y="659"/>
                  <a:pt x="1031" y="659"/>
                </a:cubicBezTo>
                <a:close/>
                <a:moveTo>
                  <a:pt x="876" y="775"/>
                </a:moveTo>
                <a:cubicBezTo>
                  <a:pt x="872" y="775"/>
                  <a:pt x="868" y="778"/>
                  <a:pt x="868" y="782"/>
                </a:cubicBezTo>
                <a:cubicBezTo>
                  <a:pt x="868" y="786"/>
                  <a:pt x="872" y="789"/>
                  <a:pt x="876" y="789"/>
                </a:cubicBezTo>
                <a:cubicBezTo>
                  <a:pt x="880" y="789"/>
                  <a:pt x="884" y="786"/>
                  <a:pt x="884" y="782"/>
                </a:cubicBezTo>
                <a:cubicBezTo>
                  <a:pt x="884" y="778"/>
                  <a:pt x="880" y="775"/>
                  <a:pt x="876" y="775"/>
                </a:cubicBezTo>
                <a:close/>
                <a:moveTo>
                  <a:pt x="876" y="795"/>
                </a:moveTo>
                <a:cubicBezTo>
                  <a:pt x="872" y="795"/>
                  <a:pt x="868" y="798"/>
                  <a:pt x="868" y="801"/>
                </a:cubicBezTo>
                <a:cubicBezTo>
                  <a:pt x="868" y="805"/>
                  <a:pt x="872" y="808"/>
                  <a:pt x="876" y="808"/>
                </a:cubicBezTo>
                <a:cubicBezTo>
                  <a:pt x="880" y="808"/>
                  <a:pt x="884" y="805"/>
                  <a:pt x="884" y="801"/>
                </a:cubicBezTo>
                <a:cubicBezTo>
                  <a:pt x="884" y="798"/>
                  <a:pt x="880" y="795"/>
                  <a:pt x="876" y="795"/>
                </a:cubicBezTo>
                <a:close/>
                <a:moveTo>
                  <a:pt x="898" y="795"/>
                </a:moveTo>
                <a:cubicBezTo>
                  <a:pt x="894" y="795"/>
                  <a:pt x="890" y="798"/>
                  <a:pt x="890" y="801"/>
                </a:cubicBezTo>
                <a:cubicBezTo>
                  <a:pt x="890" y="805"/>
                  <a:pt x="894" y="808"/>
                  <a:pt x="898" y="808"/>
                </a:cubicBezTo>
                <a:cubicBezTo>
                  <a:pt x="902" y="808"/>
                  <a:pt x="905" y="805"/>
                  <a:pt x="905" y="801"/>
                </a:cubicBezTo>
                <a:cubicBezTo>
                  <a:pt x="905" y="798"/>
                  <a:pt x="902" y="795"/>
                  <a:pt x="898" y="795"/>
                </a:cubicBezTo>
                <a:close/>
                <a:moveTo>
                  <a:pt x="876" y="814"/>
                </a:moveTo>
                <a:cubicBezTo>
                  <a:pt x="872" y="814"/>
                  <a:pt x="868" y="817"/>
                  <a:pt x="868" y="821"/>
                </a:cubicBezTo>
                <a:cubicBezTo>
                  <a:pt x="868" y="825"/>
                  <a:pt x="872" y="828"/>
                  <a:pt x="876" y="828"/>
                </a:cubicBezTo>
                <a:cubicBezTo>
                  <a:pt x="880" y="828"/>
                  <a:pt x="884" y="825"/>
                  <a:pt x="884" y="821"/>
                </a:cubicBezTo>
                <a:cubicBezTo>
                  <a:pt x="884" y="817"/>
                  <a:pt x="880" y="814"/>
                  <a:pt x="876" y="814"/>
                </a:cubicBezTo>
                <a:close/>
                <a:moveTo>
                  <a:pt x="898" y="814"/>
                </a:moveTo>
                <a:cubicBezTo>
                  <a:pt x="894" y="814"/>
                  <a:pt x="890" y="817"/>
                  <a:pt x="890" y="821"/>
                </a:cubicBezTo>
                <a:cubicBezTo>
                  <a:pt x="890" y="825"/>
                  <a:pt x="894" y="828"/>
                  <a:pt x="898" y="828"/>
                </a:cubicBezTo>
                <a:cubicBezTo>
                  <a:pt x="902" y="828"/>
                  <a:pt x="905" y="825"/>
                  <a:pt x="905" y="821"/>
                </a:cubicBezTo>
                <a:cubicBezTo>
                  <a:pt x="905" y="817"/>
                  <a:pt x="902" y="814"/>
                  <a:pt x="898" y="814"/>
                </a:cubicBezTo>
                <a:close/>
                <a:moveTo>
                  <a:pt x="876" y="833"/>
                </a:moveTo>
                <a:cubicBezTo>
                  <a:pt x="872" y="833"/>
                  <a:pt x="868" y="837"/>
                  <a:pt x="868" y="840"/>
                </a:cubicBezTo>
                <a:cubicBezTo>
                  <a:pt x="868" y="844"/>
                  <a:pt x="872" y="847"/>
                  <a:pt x="876" y="847"/>
                </a:cubicBezTo>
                <a:cubicBezTo>
                  <a:pt x="880" y="847"/>
                  <a:pt x="884" y="844"/>
                  <a:pt x="884" y="840"/>
                </a:cubicBezTo>
                <a:cubicBezTo>
                  <a:pt x="884" y="837"/>
                  <a:pt x="880" y="833"/>
                  <a:pt x="876" y="833"/>
                </a:cubicBezTo>
                <a:close/>
                <a:moveTo>
                  <a:pt x="876" y="853"/>
                </a:moveTo>
                <a:cubicBezTo>
                  <a:pt x="872" y="853"/>
                  <a:pt x="868" y="856"/>
                  <a:pt x="868" y="860"/>
                </a:cubicBezTo>
                <a:cubicBezTo>
                  <a:pt x="868" y="864"/>
                  <a:pt x="872" y="867"/>
                  <a:pt x="876" y="867"/>
                </a:cubicBezTo>
                <a:cubicBezTo>
                  <a:pt x="880" y="867"/>
                  <a:pt x="884" y="864"/>
                  <a:pt x="884" y="860"/>
                </a:cubicBezTo>
                <a:cubicBezTo>
                  <a:pt x="884" y="856"/>
                  <a:pt x="880" y="853"/>
                  <a:pt x="876" y="853"/>
                </a:cubicBezTo>
                <a:close/>
                <a:moveTo>
                  <a:pt x="1054" y="601"/>
                </a:moveTo>
                <a:cubicBezTo>
                  <a:pt x="1050" y="601"/>
                  <a:pt x="1046" y="604"/>
                  <a:pt x="1046" y="608"/>
                </a:cubicBezTo>
                <a:cubicBezTo>
                  <a:pt x="1046" y="612"/>
                  <a:pt x="1050" y="615"/>
                  <a:pt x="1054" y="615"/>
                </a:cubicBezTo>
                <a:cubicBezTo>
                  <a:pt x="1058" y="615"/>
                  <a:pt x="1061" y="612"/>
                  <a:pt x="1061" y="608"/>
                </a:cubicBezTo>
                <a:cubicBezTo>
                  <a:pt x="1061" y="604"/>
                  <a:pt x="1058" y="601"/>
                  <a:pt x="1054" y="601"/>
                </a:cubicBezTo>
                <a:close/>
                <a:moveTo>
                  <a:pt x="1075" y="601"/>
                </a:moveTo>
                <a:cubicBezTo>
                  <a:pt x="1071" y="601"/>
                  <a:pt x="1068" y="604"/>
                  <a:pt x="1068" y="608"/>
                </a:cubicBezTo>
                <a:cubicBezTo>
                  <a:pt x="1068" y="612"/>
                  <a:pt x="1071" y="615"/>
                  <a:pt x="1075" y="615"/>
                </a:cubicBezTo>
                <a:cubicBezTo>
                  <a:pt x="1080" y="615"/>
                  <a:pt x="1083" y="612"/>
                  <a:pt x="1083" y="608"/>
                </a:cubicBezTo>
                <a:cubicBezTo>
                  <a:pt x="1083" y="604"/>
                  <a:pt x="1080" y="601"/>
                  <a:pt x="1075" y="601"/>
                </a:cubicBezTo>
                <a:close/>
                <a:moveTo>
                  <a:pt x="1054" y="620"/>
                </a:moveTo>
                <a:cubicBezTo>
                  <a:pt x="1050" y="620"/>
                  <a:pt x="1046" y="623"/>
                  <a:pt x="1046" y="627"/>
                </a:cubicBezTo>
                <a:cubicBezTo>
                  <a:pt x="1046" y="631"/>
                  <a:pt x="1050" y="634"/>
                  <a:pt x="1054" y="634"/>
                </a:cubicBezTo>
                <a:cubicBezTo>
                  <a:pt x="1058" y="634"/>
                  <a:pt x="1061" y="631"/>
                  <a:pt x="1061" y="627"/>
                </a:cubicBezTo>
                <a:cubicBezTo>
                  <a:pt x="1061" y="623"/>
                  <a:pt x="1058" y="620"/>
                  <a:pt x="1054" y="620"/>
                </a:cubicBezTo>
                <a:close/>
                <a:moveTo>
                  <a:pt x="1075" y="620"/>
                </a:moveTo>
                <a:cubicBezTo>
                  <a:pt x="1071" y="620"/>
                  <a:pt x="1068" y="623"/>
                  <a:pt x="1068" y="627"/>
                </a:cubicBezTo>
                <a:cubicBezTo>
                  <a:pt x="1068" y="631"/>
                  <a:pt x="1071" y="634"/>
                  <a:pt x="1075" y="634"/>
                </a:cubicBezTo>
                <a:cubicBezTo>
                  <a:pt x="1080" y="634"/>
                  <a:pt x="1083" y="631"/>
                  <a:pt x="1083" y="627"/>
                </a:cubicBezTo>
                <a:cubicBezTo>
                  <a:pt x="1083" y="623"/>
                  <a:pt x="1080" y="620"/>
                  <a:pt x="1075" y="620"/>
                </a:cubicBezTo>
                <a:close/>
                <a:moveTo>
                  <a:pt x="1054" y="640"/>
                </a:moveTo>
                <a:cubicBezTo>
                  <a:pt x="1050" y="640"/>
                  <a:pt x="1046" y="643"/>
                  <a:pt x="1046" y="647"/>
                </a:cubicBezTo>
                <a:cubicBezTo>
                  <a:pt x="1046" y="650"/>
                  <a:pt x="1050" y="653"/>
                  <a:pt x="1054" y="653"/>
                </a:cubicBezTo>
                <a:cubicBezTo>
                  <a:pt x="1058" y="653"/>
                  <a:pt x="1061" y="650"/>
                  <a:pt x="1061" y="647"/>
                </a:cubicBezTo>
                <a:cubicBezTo>
                  <a:pt x="1061" y="643"/>
                  <a:pt x="1058" y="640"/>
                  <a:pt x="1054" y="640"/>
                </a:cubicBezTo>
                <a:close/>
                <a:moveTo>
                  <a:pt x="1075" y="640"/>
                </a:moveTo>
                <a:cubicBezTo>
                  <a:pt x="1071" y="640"/>
                  <a:pt x="1068" y="643"/>
                  <a:pt x="1068" y="647"/>
                </a:cubicBezTo>
                <a:cubicBezTo>
                  <a:pt x="1068" y="650"/>
                  <a:pt x="1071" y="653"/>
                  <a:pt x="1075" y="653"/>
                </a:cubicBezTo>
                <a:cubicBezTo>
                  <a:pt x="1080" y="653"/>
                  <a:pt x="1083" y="650"/>
                  <a:pt x="1083" y="647"/>
                </a:cubicBezTo>
                <a:cubicBezTo>
                  <a:pt x="1083" y="643"/>
                  <a:pt x="1080" y="640"/>
                  <a:pt x="1075" y="640"/>
                </a:cubicBezTo>
                <a:close/>
                <a:moveTo>
                  <a:pt x="1054" y="659"/>
                </a:moveTo>
                <a:cubicBezTo>
                  <a:pt x="1050" y="659"/>
                  <a:pt x="1046" y="662"/>
                  <a:pt x="1046" y="666"/>
                </a:cubicBezTo>
                <a:cubicBezTo>
                  <a:pt x="1046" y="670"/>
                  <a:pt x="1050" y="673"/>
                  <a:pt x="1054" y="673"/>
                </a:cubicBezTo>
                <a:cubicBezTo>
                  <a:pt x="1058" y="673"/>
                  <a:pt x="1061" y="670"/>
                  <a:pt x="1061" y="666"/>
                </a:cubicBezTo>
                <a:cubicBezTo>
                  <a:pt x="1061" y="662"/>
                  <a:pt x="1058" y="659"/>
                  <a:pt x="1054" y="659"/>
                </a:cubicBezTo>
                <a:close/>
                <a:moveTo>
                  <a:pt x="1075" y="659"/>
                </a:moveTo>
                <a:cubicBezTo>
                  <a:pt x="1071" y="659"/>
                  <a:pt x="1068" y="662"/>
                  <a:pt x="1068" y="666"/>
                </a:cubicBezTo>
                <a:cubicBezTo>
                  <a:pt x="1068" y="670"/>
                  <a:pt x="1071" y="673"/>
                  <a:pt x="1075" y="673"/>
                </a:cubicBezTo>
                <a:cubicBezTo>
                  <a:pt x="1080" y="673"/>
                  <a:pt x="1083" y="670"/>
                  <a:pt x="1083" y="666"/>
                </a:cubicBezTo>
                <a:cubicBezTo>
                  <a:pt x="1083" y="662"/>
                  <a:pt x="1080" y="659"/>
                  <a:pt x="1075" y="659"/>
                </a:cubicBezTo>
                <a:close/>
                <a:moveTo>
                  <a:pt x="1054" y="679"/>
                </a:moveTo>
                <a:cubicBezTo>
                  <a:pt x="1050" y="679"/>
                  <a:pt x="1046" y="682"/>
                  <a:pt x="1046" y="686"/>
                </a:cubicBezTo>
                <a:cubicBezTo>
                  <a:pt x="1046" y="689"/>
                  <a:pt x="1050" y="692"/>
                  <a:pt x="1054" y="692"/>
                </a:cubicBezTo>
                <a:cubicBezTo>
                  <a:pt x="1058" y="692"/>
                  <a:pt x="1061" y="689"/>
                  <a:pt x="1061" y="686"/>
                </a:cubicBezTo>
                <a:cubicBezTo>
                  <a:pt x="1061" y="682"/>
                  <a:pt x="1058" y="679"/>
                  <a:pt x="1054" y="679"/>
                </a:cubicBezTo>
                <a:close/>
                <a:moveTo>
                  <a:pt x="1075" y="679"/>
                </a:moveTo>
                <a:cubicBezTo>
                  <a:pt x="1071" y="679"/>
                  <a:pt x="1068" y="682"/>
                  <a:pt x="1068" y="686"/>
                </a:cubicBezTo>
                <a:cubicBezTo>
                  <a:pt x="1068" y="689"/>
                  <a:pt x="1071" y="692"/>
                  <a:pt x="1075" y="692"/>
                </a:cubicBezTo>
                <a:cubicBezTo>
                  <a:pt x="1080" y="692"/>
                  <a:pt x="1083" y="689"/>
                  <a:pt x="1083" y="686"/>
                </a:cubicBezTo>
                <a:cubicBezTo>
                  <a:pt x="1083" y="682"/>
                  <a:pt x="1080" y="679"/>
                  <a:pt x="1075" y="679"/>
                </a:cubicBezTo>
                <a:close/>
                <a:moveTo>
                  <a:pt x="1075" y="698"/>
                </a:moveTo>
                <a:cubicBezTo>
                  <a:pt x="1071" y="698"/>
                  <a:pt x="1068" y="701"/>
                  <a:pt x="1068" y="705"/>
                </a:cubicBezTo>
                <a:cubicBezTo>
                  <a:pt x="1068" y="708"/>
                  <a:pt x="1071" y="711"/>
                  <a:pt x="1075" y="711"/>
                </a:cubicBezTo>
                <a:cubicBezTo>
                  <a:pt x="1080" y="711"/>
                  <a:pt x="1083" y="708"/>
                  <a:pt x="1083" y="705"/>
                </a:cubicBezTo>
                <a:cubicBezTo>
                  <a:pt x="1083" y="701"/>
                  <a:pt x="1080" y="698"/>
                  <a:pt x="1075" y="698"/>
                </a:cubicBezTo>
                <a:close/>
                <a:moveTo>
                  <a:pt x="1098" y="601"/>
                </a:moveTo>
                <a:cubicBezTo>
                  <a:pt x="1094" y="601"/>
                  <a:pt x="1090" y="604"/>
                  <a:pt x="1090" y="608"/>
                </a:cubicBezTo>
                <a:cubicBezTo>
                  <a:pt x="1090" y="612"/>
                  <a:pt x="1094" y="615"/>
                  <a:pt x="1098" y="615"/>
                </a:cubicBezTo>
                <a:cubicBezTo>
                  <a:pt x="1102" y="615"/>
                  <a:pt x="1105" y="612"/>
                  <a:pt x="1105" y="608"/>
                </a:cubicBezTo>
                <a:cubicBezTo>
                  <a:pt x="1105" y="604"/>
                  <a:pt x="1102" y="601"/>
                  <a:pt x="1098" y="601"/>
                </a:cubicBezTo>
                <a:close/>
                <a:moveTo>
                  <a:pt x="1120" y="601"/>
                </a:moveTo>
                <a:cubicBezTo>
                  <a:pt x="1116" y="601"/>
                  <a:pt x="1113" y="604"/>
                  <a:pt x="1113" y="608"/>
                </a:cubicBezTo>
                <a:cubicBezTo>
                  <a:pt x="1113" y="612"/>
                  <a:pt x="1116" y="615"/>
                  <a:pt x="1120" y="615"/>
                </a:cubicBezTo>
                <a:cubicBezTo>
                  <a:pt x="1125" y="615"/>
                  <a:pt x="1128" y="612"/>
                  <a:pt x="1128" y="608"/>
                </a:cubicBezTo>
                <a:cubicBezTo>
                  <a:pt x="1128" y="604"/>
                  <a:pt x="1125" y="601"/>
                  <a:pt x="1120" y="601"/>
                </a:cubicBezTo>
                <a:close/>
                <a:moveTo>
                  <a:pt x="1098" y="620"/>
                </a:moveTo>
                <a:cubicBezTo>
                  <a:pt x="1094" y="620"/>
                  <a:pt x="1090" y="623"/>
                  <a:pt x="1090" y="627"/>
                </a:cubicBezTo>
                <a:cubicBezTo>
                  <a:pt x="1090" y="631"/>
                  <a:pt x="1094" y="634"/>
                  <a:pt x="1098" y="634"/>
                </a:cubicBezTo>
                <a:cubicBezTo>
                  <a:pt x="1102" y="634"/>
                  <a:pt x="1105" y="631"/>
                  <a:pt x="1105" y="627"/>
                </a:cubicBezTo>
                <a:cubicBezTo>
                  <a:pt x="1105" y="623"/>
                  <a:pt x="1102" y="620"/>
                  <a:pt x="1098" y="620"/>
                </a:cubicBezTo>
                <a:close/>
                <a:moveTo>
                  <a:pt x="1120" y="620"/>
                </a:moveTo>
                <a:cubicBezTo>
                  <a:pt x="1116" y="620"/>
                  <a:pt x="1113" y="623"/>
                  <a:pt x="1113" y="627"/>
                </a:cubicBezTo>
                <a:cubicBezTo>
                  <a:pt x="1113" y="631"/>
                  <a:pt x="1116" y="634"/>
                  <a:pt x="1120" y="634"/>
                </a:cubicBezTo>
                <a:cubicBezTo>
                  <a:pt x="1125" y="634"/>
                  <a:pt x="1128" y="631"/>
                  <a:pt x="1128" y="627"/>
                </a:cubicBezTo>
                <a:cubicBezTo>
                  <a:pt x="1128" y="623"/>
                  <a:pt x="1125" y="620"/>
                  <a:pt x="1120" y="620"/>
                </a:cubicBezTo>
                <a:close/>
                <a:moveTo>
                  <a:pt x="1098" y="640"/>
                </a:moveTo>
                <a:cubicBezTo>
                  <a:pt x="1094" y="640"/>
                  <a:pt x="1090" y="643"/>
                  <a:pt x="1090" y="647"/>
                </a:cubicBezTo>
                <a:cubicBezTo>
                  <a:pt x="1090" y="650"/>
                  <a:pt x="1094" y="653"/>
                  <a:pt x="1098" y="653"/>
                </a:cubicBezTo>
                <a:cubicBezTo>
                  <a:pt x="1102" y="653"/>
                  <a:pt x="1105" y="650"/>
                  <a:pt x="1105" y="647"/>
                </a:cubicBezTo>
                <a:cubicBezTo>
                  <a:pt x="1105" y="643"/>
                  <a:pt x="1102" y="640"/>
                  <a:pt x="1098" y="640"/>
                </a:cubicBezTo>
                <a:close/>
                <a:moveTo>
                  <a:pt x="1120" y="640"/>
                </a:moveTo>
                <a:cubicBezTo>
                  <a:pt x="1116" y="640"/>
                  <a:pt x="1113" y="643"/>
                  <a:pt x="1113" y="647"/>
                </a:cubicBezTo>
                <a:cubicBezTo>
                  <a:pt x="1113" y="650"/>
                  <a:pt x="1116" y="653"/>
                  <a:pt x="1120" y="653"/>
                </a:cubicBezTo>
                <a:cubicBezTo>
                  <a:pt x="1125" y="653"/>
                  <a:pt x="1128" y="650"/>
                  <a:pt x="1128" y="647"/>
                </a:cubicBezTo>
                <a:cubicBezTo>
                  <a:pt x="1128" y="643"/>
                  <a:pt x="1125" y="640"/>
                  <a:pt x="1120" y="640"/>
                </a:cubicBezTo>
                <a:close/>
                <a:moveTo>
                  <a:pt x="1098" y="659"/>
                </a:moveTo>
                <a:cubicBezTo>
                  <a:pt x="1094" y="659"/>
                  <a:pt x="1090" y="662"/>
                  <a:pt x="1090" y="666"/>
                </a:cubicBezTo>
                <a:cubicBezTo>
                  <a:pt x="1090" y="670"/>
                  <a:pt x="1094" y="673"/>
                  <a:pt x="1098" y="673"/>
                </a:cubicBezTo>
                <a:cubicBezTo>
                  <a:pt x="1102" y="673"/>
                  <a:pt x="1105" y="670"/>
                  <a:pt x="1105" y="666"/>
                </a:cubicBezTo>
                <a:cubicBezTo>
                  <a:pt x="1105" y="662"/>
                  <a:pt x="1102" y="659"/>
                  <a:pt x="1098" y="659"/>
                </a:cubicBezTo>
                <a:close/>
                <a:moveTo>
                  <a:pt x="1120" y="659"/>
                </a:moveTo>
                <a:cubicBezTo>
                  <a:pt x="1116" y="659"/>
                  <a:pt x="1113" y="662"/>
                  <a:pt x="1113" y="666"/>
                </a:cubicBezTo>
                <a:cubicBezTo>
                  <a:pt x="1113" y="670"/>
                  <a:pt x="1116" y="673"/>
                  <a:pt x="1120" y="673"/>
                </a:cubicBezTo>
                <a:cubicBezTo>
                  <a:pt x="1125" y="673"/>
                  <a:pt x="1128" y="670"/>
                  <a:pt x="1128" y="666"/>
                </a:cubicBezTo>
                <a:cubicBezTo>
                  <a:pt x="1128" y="662"/>
                  <a:pt x="1125" y="659"/>
                  <a:pt x="1120" y="659"/>
                </a:cubicBezTo>
                <a:close/>
                <a:moveTo>
                  <a:pt x="1098" y="679"/>
                </a:moveTo>
                <a:cubicBezTo>
                  <a:pt x="1094" y="679"/>
                  <a:pt x="1090" y="682"/>
                  <a:pt x="1090" y="686"/>
                </a:cubicBezTo>
                <a:cubicBezTo>
                  <a:pt x="1090" y="689"/>
                  <a:pt x="1094" y="692"/>
                  <a:pt x="1098" y="692"/>
                </a:cubicBezTo>
                <a:cubicBezTo>
                  <a:pt x="1102" y="692"/>
                  <a:pt x="1105" y="689"/>
                  <a:pt x="1105" y="686"/>
                </a:cubicBezTo>
                <a:cubicBezTo>
                  <a:pt x="1105" y="682"/>
                  <a:pt x="1102" y="679"/>
                  <a:pt x="1098" y="679"/>
                </a:cubicBezTo>
                <a:close/>
                <a:moveTo>
                  <a:pt x="1120" y="679"/>
                </a:moveTo>
                <a:cubicBezTo>
                  <a:pt x="1116" y="679"/>
                  <a:pt x="1113" y="682"/>
                  <a:pt x="1113" y="686"/>
                </a:cubicBezTo>
                <a:cubicBezTo>
                  <a:pt x="1113" y="689"/>
                  <a:pt x="1116" y="692"/>
                  <a:pt x="1120" y="692"/>
                </a:cubicBezTo>
                <a:cubicBezTo>
                  <a:pt x="1125" y="692"/>
                  <a:pt x="1128" y="689"/>
                  <a:pt x="1128" y="686"/>
                </a:cubicBezTo>
                <a:cubicBezTo>
                  <a:pt x="1128" y="682"/>
                  <a:pt x="1125" y="679"/>
                  <a:pt x="1120" y="679"/>
                </a:cubicBezTo>
                <a:close/>
                <a:moveTo>
                  <a:pt x="1098" y="698"/>
                </a:moveTo>
                <a:cubicBezTo>
                  <a:pt x="1094" y="698"/>
                  <a:pt x="1090" y="701"/>
                  <a:pt x="1090" y="705"/>
                </a:cubicBezTo>
                <a:cubicBezTo>
                  <a:pt x="1090" y="708"/>
                  <a:pt x="1094" y="711"/>
                  <a:pt x="1098" y="711"/>
                </a:cubicBezTo>
                <a:cubicBezTo>
                  <a:pt x="1102" y="711"/>
                  <a:pt x="1105" y="708"/>
                  <a:pt x="1105" y="705"/>
                </a:cubicBezTo>
                <a:cubicBezTo>
                  <a:pt x="1105" y="701"/>
                  <a:pt x="1102" y="698"/>
                  <a:pt x="1098" y="698"/>
                </a:cubicBezTo>
                <a:close/>
                <a:moveTo>
                  <a:pt x="1120" y="698"/>
                </a:moveTo>
                <a:cubicBezTo>
                  <a:pt x="1116" y="698"/>
                  <a:pt x="1113" y="701"/>
                  <a:pt x="1113" y="705"/>
                </a:cubicBezTo>
                <a:cubicBezTo>
                  <a:pt x="1113" y="708"/>
                  <a:pt x="1116" y="711"/>
                  <a:pt x="1120" y="711"/>
                </a:cubicBezTo>
                <a:cubicBezTo>
                  <a:pt x="1125" y="711"/>
                  <a:pt x="1128" y="708"/>
                  <a:pt x="1128" y="705"/>
                </a:cubicBezTo>
                <a:cubicBezTo>
                  <a:pt x="1128" y="701"/>
                  <a:pt x="1125" y="698"/>
                  <a:pt x="1120" y="698"/>
                </a:cubicBezTo>
                <a:close/>
                <a:moveTo>
                  <a:pt x="1143" y="601"/>
                </a:moveTo>
                <a:cubicBezTo>
                  <a:pt x="1138" y="601"/>
                  <a:pt x="1135" y="604"/>
                  <a:pt x="1135" y="608"/>
                </a:cubicBezTo>
                <a:cubicBezTo>
                  <a:pt x="1135" y="612"/>
                  <a:pt x="1138" y="615"/>
                  <a:pt x="1143" y="615"/>
                </a:cubicBezTo>
                <a:cubicBezTo>
                  <a:pt x="1147" y="615"/>
                  <a:pt x="1150" y="612"/>
                  <a:pt x="1150" y="608"/>
                </a:cubicBezTo>
                <a:cubicBezTo>
                  <a:pt x="1150" y="604"/>
                  <a:pt x="1147" y="601"/>
                  <a:pt x="1143" y="601"/>
                </a:cubicBezTo>
                <a:close/>
                <a:moveTo>
                  <a:pt x="1164" y="601"/>
                </a:moveTo>
                <a:cubicBezTo>
                  <a:pt x="1160" y="601"/>
                  <a:pt x="1157" y="604"/>
                  <a:pt x="1157" y="608"/>
                </a:cubicBezTo>
                <a:cubicBezTo>
                  <a:pt x="1157" y="612"/>
                  <a:pt x="1160" y="615"/>
                  <a:pt x="1164" y="615"/>
                </a:cubicBezTo>
                <a:cubicBezTo>
                  <a:pt x="1169" y="615"/>
                  <a:pt x="1172" y="612"/>
                  <a:pt x="1172" y="608"/>
                </a:cubicBezTo>
                <a:cubicBezTo>
                  <a:pt x="1172" y="604"/>
                  <a:pt x="1169" y="601"/>
                  <a:pt x="1164" y="601"/>
                </a:cubicBezTo>
                <a:close/>
                <a:moveTo>
                  <a:pt x="1143" y="620"/>
                </a:moveTo>
                <a:cubicBezTo>
                  <a:pt x="1138" y="620"/>
                  <a:pt x="1135" y="623"/>
                  <a:pt x="1135" y="627"/>
                </a:cubicBezTo>
                <a:cubicBezTo>
                  <a:pt x="1135" y="631"/>
                  <a:pt x="1138" y="634"/>
                  <a:pt x="1143" y="634"/>
                </a:cubicBezTo>
                <a:cubicBezTo>
                  <a:pt x="1147" y="634"/>
                  <a:pt x="1150" y="631"/>
                  <a:pt x="1150" y="627"/>
                </a:cubicBezTo>
                <a:cubicBezTo>
                  <a:pt x="1150" y="623"/>
                  <a:pt x="1147" y="620"/>
                  <a:pt x="1143" y="620"/>
                </a:cubicBezTo>
                <a:close/>
                <a:moveTo>
                  <a:pt x="1164" y="620"/>
                </a:moveTo>
                <a:cubicBezTo>
                  <a:pt x="1160" y="620"/>
                  <a:pt x="1157" y="623"/>
                  <a:pt x="1157" y="627"/>
                </a:cubicBezTo>
                <a:cubicBezTo>
                  <a:pt x="1157" y="631"/>
                  <a:pt x="1160" y="634"/>
                  <a:pt x="1164" y="634"/>
                </a:cubicBezTo>
                <a:cubicBezTo>
                  <a:pt x="1169" y="634"/>
                  <a:pt x="1172" y="631"/>
                  <a:pt x="1172" y="627"/>
                </a:cubicBezTo>
                <a:cubicBezTo>
                  <a:pt x="1172" y="623"/>
                  <a:pt x="1169" y="620"/>
                  <a:pt x="1164" y="620"/>
                </a:cubicBezTo>
                <a:close/>
                <a:moveTo>
                  <a:pt x="1143" y="640"/>
                </a:moveTo>
                <a:cubicBezTo>
                  <a:pt x="1138" y="640"/>
                  <a:pt x="1135" y="643"/>
                  <a:pt x="1135" y="647"/>
                </a:cubicBezTo>
                <a:cubicBezTo>
                  <a:pt x="1135" y="650"/>
                  <a:pt x="1138" y="653"/>
                  <a:pt x="1143" y="653"/>
                </a:cubicBezTo>
                <a:cubicBezTo>
                  <a:pt x="1147" y="653"/>
                  <a:pt x="1150" y="650"/>
                  <a:pt x="1150" y="647"/>
                </a:cubicBezTo>
                <a:cubicBezTo>
                  <a:pt x="1150" y="643"/>
                  <a:pt x="1147" y="640"/>
                  <a:pt x="1143" y="640"/>
                </a:cubicBezTo>
                <a:close/>
                <a:moveTo>
                  <a:pt x="1164" y="640"/>
                </a:moveTo>
                <a:cubicBezTo>
                  <a:pt x="1160" y="640"/>
                  <a:pt x="1157" y="643"/>
                  <a:pt x="1157" y="647"/>
                </a:cubicBezTo>
                <a:cubicBezTo>
                  <a:pt x="1157" y="650"/>
                  <a:pt x="1160" y="653"/>
                  <a:pt x="1164" y="653"/>
                </a:cubicBezTo>
                <a:cubicBezTo>
                  <a:pt x="1169" y="653"/>
                  <a:pt x="1172" y="650"/>
                  <a:pt x="1172" y="647"/>
                </a:cubicBezTo>
                <a:cubicBezTo>
                  <a:pt x="1172" y="643"/>
                  <a:pt x="1169" y="640"/>
                  <a:pt x="1164" y="640"/>
                </a:cubicBezTo>
                <a:close/>
                <a:moveTo>
                  <a:pt x="1143" y="659"/>
                </a:moveTo>
                <a:cubicBezTo>
                  <a:pt x="1138" y="659"/>
                  <a:pt x="1135" y="662"/>
                  <a:pt x="1135" y="666"/>
                </a:cubicBezTo>
                <a:cubicBezTo>
                  <a:pt x="1135" y="670"/>
                  <a:pt x="1138" y="673"/>
                  <a:pt x="1143" y="673"/>
                </a:cubicBezTo>
                <a:cubicBezTo>
                  <a:pt x="1147" y="673"/>
                  <a:pt x="1150" y="670"/>
                  <a:pt x="1150" y="666"/>
                </a:cubicBezTo>
                <a:cubicBezTo>
                  <a:pt x="1150" y="662"/>
                  <a:pt x="1147" y="659"/>
                  <a:pt x="1143" y="659"/>
                </a:cubicBezTo>
                <a:close/>
                <a:moveTo>
                  <a:pt x="1164" y="659"/>
                </a:moveTo>
                <a:cubicBezTo>
                  <a:pt x="1160" y="659"/>
                  <a:pt x="1157" y="662"/>
                  <a:pt x="1157" y="666"/>
                </a:cubicBezTo>
                <a:cubicBezTo>
                  <a:pt x="1157" y="670"/>
                  <a:pt x="1160" y="673"/>
                  <a:pt x="1164" y="673"/>
                </a:cubicBezTo>
                <a:cubicBezTo>
                  <a:pt x="1169" y="673"/>
                  <a:pt x="1172" y="670"/>
                  <a:pt x="1172" y="666"/>
                </a:cubicBezTo>
                <a:cubicBezTo>
                  <a:pt x="1172" y="662"/>
                  <a:pt x="1169" y="659"/>
                  <a:pt x="1164" y="659"/>
                </a:cubicBezTo>
                <a:close/>
                <a:moveTo>
                  <a:pt x="1143" y="679"/>
                </a:moveTo>
                <a:cubicBezTo>
                  <a:pt x="1138" y="679"/>
                  <a:pt x="1135" y="682"/>
                  <a:pt x="1135" y="686"/>
                </a:cubicBezTo>
                <a:cubicBezTo>
                  <a:pt x="1135" y="689"/>
                  <a:pt x="1138" y="692"/>
                  <a:pt x="1143" y="692"/>
                </a:cubicBezTo>
                <a:cubicBezTo>
                  <a:pt x="1147" y="692"/>
                  <a:pt x="1150" y="689"/>
                  <a:pt x="1150" y="686"/>
                </a:cubicBezTo>
                <a:cubicBezTo>
                  <a:pt x="1150" y="682"/>
                  <a:pt x="1147" y="679"/>
                  <a:pt x="1143" y="679"/>
                </a:cubicBezTo>
                <a:close/>
                <a:moveTo>
                  <a:pt x="1164" y="679"/>
                </a:moveTo>
                <a:cubicBezTo>
                  <a:pt x="1160" y="679"/>
                  <a:pt x="1157" y="682"/>
                  <a:pt x="1157" y="686"/>
                </a:cubicBezTo>
                <a:cubicBezTo>
                  <a:pt x="1157" y="689"/>
                  <a:pt x="1160" y="692"/>
                  <a:pt x="1164" y="692"/>
                </a:cubicBezTo>
                <a:cubicBezTo>
                  <a:pt x="1169" y="692"/>
                  <a:pt x="1172" y="689"/>
                  <a:pt x="1172" y="686"/>
                </a:cubicBezTo>
                <a:cubicBezTo>
                  <a:pt x="1172" y="682"/>
                  <a:pt x="1169" y="679"/>
                  <a:pt x="1164" y="679"/>
                </a:cubicBezTo>
                <a:close/>
                <a:moveTo>
                  <a:pt x="1164" y="698"/>
                </a:moveTo>
                <a:cubicBezTo>
                  <a:pt x="1160" y="698"/>
                  <a:pt x="1157" y="701"/>
                  <a:pt x="1157" y="705"/>
                </a:cubicBezTo>
                <a:cubicBezTo>
                  <a:pt x="1157" y="708"/>
                  <a:pt x="1160" y="711"/>
                  <a:pt x="1164" y="711"/>
                </a:cubicBezTo>
                <a:cubicBezTo>
                  <a:pt x="1169" y="711"/>
                  <a:pt x="1172" y="708"/>
                  <a:pt x="1172" y="705"/>
                </a:cubicBezTo>
                <a:cubicBezTo>
                  <a:pt x="1172" y="701"/>
                  <a:pt x="1169" y="698"/>
                  <a:pt x="1164" y="698"/>
                </a:cubicBezTo>
                <a:close/>
                <a:moveTo>
                  <a:pt x="1186" y="601"/>
                </a:moveTo>
                <a:cubicBezTo>
                  <a:pt x="1182" y="601"/>
                  <a:pt x="1179" y="604"/>
                  <a:pt x="1179" y="608"/>
                </a:cubicBezTo>
                <a:cubicBezTo>
                  <a:pt x="1179" y="612"/>
                  <a:pt x="1182" y="615"/>
                  <a:pt x="1186" y="615"/>
                </a:cubicBezTo>
                <a:cubicBezTo>
                  <a:pt x="1191" y="615"/>
                  <a:pt x="1194" y="612"/>
                  <a:pt x="1194" y="608"/>
                </a:cubicBezTo>
                <a:cubicBezTo>
                  <a:pt x="1194" y="604"/>
                  <a:pt x="1191" y="601"/>
                  <a:pt x="1186" y="601"/>
                </a:cubicBezTo>
                <a:close/>
                <a:moveTo>
                  <a:pt x="1208" y="601"/>
                </a:moveTo>
                <a:cubicBezTo>
                  <a:pt x="1204" y="601"/>
                  <a:pt x="1201" y="604"/>
                  <a:pt x="1201" y="608"/>
                </a:cubicBezTo>
                <a:cubicBezTo>
                  <a:pt x="1201" y="612"/>
                  <a:pt x="1204" y="615"/>
                  <a:pt x="1208" y="615"/>
                </a:cubicBezTo>
                <a:cubicBezTo>
                  <a:pt x="1213" y="615"/>
                  <a:pt x="1216" y="612"/>
                  <a:pt x="1216" y="608"/>
                </a:cubicBezTo>
                <a:cubicBezTo>
                  <a:pt x="1216" y="604"/>
                  <a:pt x="1213" y="601"/>
                  <a:pt x="1208" y="601"/>
                </a:cubicBezTo>
                <a:close/>
                <a:moveTo>
                  <a:pt x="1186" y="620"/>
                </a:moveTo>
                <a:cubicBezTo>
                  <a:pt x="1182" y="620"/>
                  <a:pt x="1179" y="623"/>
                  <a:pt x="1179" y="627"/>
                </a:cubicBezTo>
                <a:cubicBezTo>
                  <a:pt x="1179" y="631"/>
                  <a:pt x="1182" y="634"/>
                  <a:pt x="1186" y="634"/>
                </a:cubicBezTo>
                <a:cubicBezTo>
                  <a:pt x="1191" y="634"/>
                  <a:pt x="1194" y="631"/>
                  <a:pt x="1194" y="627"/>
                </a:cubicBezTo>
                <a:cubicBezTo>
                  <a:pt x="1194" y="623"/>
                  <a:pt x="1191" y="620"/>
                  <a:pt x="1186" y="620"/>
                </a:cubicBezTo>
                <a:close/>
                <a:moveTo>
                  <a:pt x="1208" y="620"/>
                </a:moveTo>
                <a:cubicBezTo>
                  <a:pt x="1204" y="620"/>
                  <a:pt x="1201" y="623"/>
                  <a:pt x="1201" y="627"/>
                </a:cubicBezTo>
                <a:cubicBezTo>
                  <a:pt x="1201" y="631"/>
                  <a:pt x="1204" y="634"/>
                  <a:pt x="1208" y="634"/>
                </a:cubicBezTo>
                <a:cubicBezTo>
                  <a:pt x="1213" y="634"/>
                  <a:pt x="1216" y="631"/>
                  <a:pt x="1216" y="627"/>
                </a:cubicBezTo>
                <a:cubicBezTo>
                  <a:pt x="1216" y="623"/>
                  <a:pt x="1213" y="620"/>
                  <a:pt x="1208" y="620"/>
                </a:cubicBezTo>
                <a:close/>
                <a:moveTo>
                  <a:pt x="1186" y="640"/>
                </a:moveTo>
                <a:cubicBezTo>
                  <a:pt x="1182" y="640"/>
                  <a:pt x="1179" y="643"/>
                  <a:pt x="1179" y="647"/>
                </a:cubicBezTo>
                <a:cubicBezTo>
                  <a:pt x="1179" y="650"/>
                  <a:pt x="1182" y="653"/>
                  <a:pt x="1186" y="653"/>
                </a:cubicBezTo>
                <a:cubicBezTo>
                  <a:pt x="1191" y="653"/>
                  <a:pt x="1194" y="650"/>
                  <a:pt x="1194" y="647"/>
                </a:cubicBezTo>
                <a:cubicBezTo>
                  <a:pt x="1194" y="643"/>
                  <a:pt x="1191" y="640"/>
                  <a:pt x="1186" y="640"/>
                </a:cubicBezTo>
                <a:close/>
                <a:moveTo>
                  <a:pt x="1208" y="640"/>
                </a:moveTo>
                <a:cubicBezTo>
                  <a:pt x="1204" y="640"/>
                  <a:pt x="1201" y="643"/>
                  <a:pt x="1201" y="647"/>
                </a:cubicBezTo>
                <a:cubicBezTo>
                  <a:pt x="1201" y="650"/>
                  <a:pt x="1204" y="653"/>
                  <a:pt x="1208" y="653"/>
                </a:cubicBezTo>
                <a:cubicBezTo>
                  <a:pt x="1213" y="653"/>
                  <a:pt x="1216" y="650"/>
                  <a:pt x="1216" y="647"/>
                </a:cubicBezTo>
                <a:cubicBezTo>
                  <a:pt x="1216" y="643"/>
                  <a:pt x="1213" y="640"/>
                  <a:pt x="1208" y="640"/>
                </a:cubicBezTo>
                <a:close/>
                <a:moveTo>
                  <a:pt x="1186" y="659"/>
                </a:moveTo>
                <a:cubicBezTo>
                  <a:pt x="1182" y="659"/>
                  <a:pt x="1179" y="662"/>
                  <a:pt x="1179" y="666"/>
                </a:cubicBezTo>
                <a:cubicBezTo>
                  <a:pt x="1179" y="670"/>
                  <a:pt x="1182" y="673"/>
                  <a:pt x="1186" y="673"/>
                </a:cubicBezTo>
                <a:cubicBezTo>
                  <a:pt x="1191" y="673"/>
                  <a:pt x="1194" y="670"/>
                  <a:pt x="1194" y="666"/>
                </a:cubicBezTo>
                <a:cubicBezTo>
                  <a:pt x="1194" y="662"/>
                  <a:pt x="1191" y="659"/>
                  <a:pt x="1186" y="659"/>
                </a:cubicBezTo>
                <a:close/>
                <a:moveTo>
                  <a:pt x="1208" y="659"/>
                </a:moveTo>
                <a:cubicBezTo>
                  <a:pt x="1204" y="659"/>
                  <a:pt x="1201" y="662"/>
                  <a:pt x="1201" y="666"/>
                </a:cubicBezTo>
                <a:cubicBezTo>
                  <a:pt x="1201" y="670"/>
                  <a:pt x="1204" y="673"/>
                  <a:pt x="1208" y="673"/>
                </a:cubicBezTo>
                <a:cubicBezTo>
                  <a:pt x="1213" y="673"/>
                  <a:pt x="1216" y="670"/>
                  <a:pt x="1216" y="666"/>
                </a:cubicBezTo>
                <a:cubicBezTo>
                  <a:pt x="1216" y="662"/>
                  <a:pt x="1213" y="659"/>
                  <a:pt x="1208" y="659"/>
                </a:cubicBezTo>
                <a:close/>
                <a:moveTo>
                  <a:pt x="1186" y="679"/>
                </a:moveTo>
                <a:cubicBezTo>
                  <a:pt x="1182" y="679"/>
                  <a:pt x="1179" y="682"/>
                  <a:pt x="1179" y="686"/>
                </a:cubicBezTo>
                <a:cubicBezTo>
                  <a:pt x="1179" y="689"/>
                  <a:pt x="1182" y="692"/>
                  <a:pt x="1186" y="692"/>
                </a:cubicBezTo>
                <a:cubicBezTo>
                  <a:pt x="1191" y="692"/>
                  <a:pt x="1194" y="689"/>
                  <a:pt x="1194" y="686"/>
                </a:cubicBezTo>
                <a:cubicBezTo>
                  <a:pt x="1194" y="682"/>
                  <a:pt x="1191" y="679"/>
                  <a:pt x="1186" y="679"/>
                </a:cubicBezTo>
                <a:close/>
                <a:moveTo>
                  <a:pt x="1208" y="679"/>
                </a:moveTo>
                <a:cubicBezTo>
                  <a:pt x="1204" y="679"/>
                  <a:pt x="1201" y="682"/>
                  <a:pt x="1201" y="686"/>
                </a:cubicBezTo>
                <a:cubicBezTo>
                  <a:pt x="1201" y="689"/>
                  <a:pt x="1204" y="692"/>
                  <a:pt x="1208" y="692"/>
                </a:cubicBezTo>
                <a:cubicBezTo>
                  <a:pt x="1213" y="692"/>
                  <a:pt x="1216" y="689"/>
                  <a:pt x="1216" y="686"/>
                </a:cubicBezTo>
                <a:cubicBezTo>
                  <a:pt x="1216" y="682"/>
                  <a:pt x="1213" y="679"/>
                  <a:pt x="1208" y="679"/>
                </a:cubicBezTo>
                <a:close/>
                <a:moveTo>
                  <a:pt x="1186" y="698"/>
                </a:moveTo>
                <a:cubicBezTo>
                  <a:pt x="1182" y="698"/>
                  <a:pt x="1179" y="701"/>
                  <a:pt x="1179" y="705"/>
                </a:cubicBezTo>
                <a:cubicBezTo>
                  <a:pt x="1179" y="708"/>
                  <a:pt x="1182" y="711"/>
                  <a:pt x="1186" y="711"/>
                </a:cubicBezTo>
                <a:cubicBezTo>
                  <a:pt x="1191" y="711"/>
                  <a:pt x="1194" y="708"/>
                  <a:pt x="1194" y="705"/>
                </a:cubicBezTo>
                <a:cubicBezTo>
                  <a:pt x="1194" y="701"/>
                  <a:pt x="1191" y="698"/>
                  <a:pt x="1186" y="698"/>
                </a:cubicBezTo>
                <a:close/>
                <a:moveTo>
                  <a:pt x="1208" y="698"/>
                </a:moveTo>
                <a:cubicBezTo>
                  <a:pt x="1204" y="698"/>
                  <a:pt x="1201" y="701"/>
                  <a:pt x="1201" y="705"/>
                </a:cubicBezTo>
                <a:cubicBezTo>
                  <a:pt x="1201" y="708"/>
                  <a:pt x="1204" y="711"/>
                  <a:pt x="1208" y="711"/>
                </a:cubicBezTo>
                <a:cubicBezTo>
                  <a:pt x="1213" y="711"/>
                  <a:pt x="1216" y="708"/>
                  <a:pt x="1216" y="705"/>
                </a:cubicBezTo>
                <a:cubicBezTo>
                  <a:pt x="1216" y="701"/>
                  <a:pt x="1213" y="698"/>
                  <a:pt x="1208" y="698"/>
                </a:cubicBezTo>
                <a:close/>
                <a:moveTo>
                  <a:pt x="1208" y="717"/>
                </a:moveTo>
                <a:cubicBezTo>
                  <a:pt x="1204" y="717"/>
                  <a:pt x="1201" y="720"/>
                  <a:pt x="1201" y="724"/>
                </a:cubicBezTo>
                <a:cubicBezTo>
                  <a:pt x="1201" y="727"/>
                  <a:pt x="1204" y="730"/>
                  <a:pt x="1208" y="730"/>
                </a:cubicBezTo>
                <a:cubicBezTo>
                  <a:pt x="1213" y="730"/>
                  <a:pt x="1216" y="727"/>
                  <a:pt x="1216" y="724"/>
                </a:cubicBezTo>
                <a:cubicBezTo>
                  <a:pt x="1216" y="720"/>
                  <a:pt x="1213" y="717"/>
                  <a:pt x="1208" y="717"/>
                </a:cubicBezTo>
                <a:close/>
                <a:moveTo>
                  <a:pt x="1208" y="736"/>
                </a:moveTo>
                <a:cubicBezTo>
                  <a:pt x="1204" y="736"/>
                  <a:pt x="1201" y="739"/>
                  <a:pt x="1201" y="743"/>
                </a:cubicBezTo>
                <a:cubicBezTo>
                  <a:pt x="1201" y="747"/>
                  <a:pt x="1204" y="750"/>
                  <a:pt x="1208" y="750"/>
                </a:cubicBezTo>
                <a:cubicBezTo>
                  <a:pt x="1213" y="750"/>
                  <a:pt x="1216" y="747"/>
                  <a:pt x="1216" y="743"/>
                </a:cubicBezTo>
                <a:cubicBezTo>
                  <a:pt x="1216" y="739"/>
                  <a:pt x="1213" y="736"/>
                  <a:pt x="1208" y="736"/>
                </a:cubicBezTo>
                <a:close/>
                <a:moveTo>
                  <a:pt x="1208" y="757"/>
                </a:moveTo>
                <a:cubicBezTo>
                  <a:pt x="1204" y="757"/>
                  <a:pt x="1201" y="759"/>
                  <a:pt x="1201" y="763"/>
                </a:cubicBezTo>
                <a:cubicBezTo>
                  <a:pt x="1201" y="766"/>
                  <a:pt x="1204" y="769"/>
                  <a:pt x="1208" y="769"/>
                </a:cubicBezTo>
                <a:cubicBezTo>
                  <a:pt x="1213" y="769"/>
                  <a:pt x="1216" y="766"/>
                  <a:pt x="1216" y="763"/>
                </a:cubicBezTo>
                <a:cubicBezTo>
                  <a:pt x="1216" y="759"/>
                  <a:pt x="1213" y="757"/>
                  <a:pt x="1208" y="757"/>
                </a:cubicBezTo>
                <a:close/>
                <a:moveTo>
                  <a:pt x="1208" y="833"/>
                </a:moveTo>
                <a:cubicBezTo>
                  <a:pt x="1204" y="833"/>
                  <a:pt x="1201" y="837"/>
                  <a:pt x="1201" y="840"/>
                </a:cubicBezTo>
                <a:cubicBezTo>
                  <a:pt x="1201" y="844"/>
                  <a:pt x="1204" y="847"/>
                  <a:pt x="1208" y="847"/>
                </a:cubicBezTo>
                <a:cubicBezTo>
                  <a:pt x="1213" y="847"/>
                  <a:pt x="1216" y="844"/>
                  <a:pt x="1216" y="840"/>
                </a:cubicBezTo>
                <a:cubicBezTo>
                  <a:pt x="1216" y="837"/>
                  <a:pt x="1213" y="833"/>
                  <a:pt x="1208" y="833"/>
                </a:cubicBezTo>
                <a:close/>
                <a:moveTo>
                  <a:pt x="1208" y="853"/>
                </a:moveTo>
                <a:cubicBezTo>
                  <a:pt x="1204" y="853"/>
                  <a:pt x="1201" y="856"/>
                  <a:pt x="1201" y="860"/>
                </a:cubicBezTo>
                <a:cubicBezTo>
                  <a:pt x="1201" y="864"/>
                  <a:pt x="1204" y="867"/>
                  <a:pt x="1208" y="867"/>
                </a:cubicBezTo>
                <a:cubicBezTo>
                  <a:pt x="1213" y="867"/>
                  <a:pt x="1216" y="864"/>
                  <a:pt x="1216" y="860"/>
                </a:cubicBezTo>
                <a:cubicBezTo>
                  <a:pt x="1216" y="856"/>
                  <a:pt x="1213" y="853"/>
                  <a:pt x="1208" y="853"/>
                </a:cubicBezTo>
                <a:close/>
                <a:moveTo>
                  <a:pt x="1208" y="873"/>
                </a:moveTo>
                <a:cubicBezTo>
                  <a:pt x="1204" y="873"/>
                  <a:pt x="1201" y="876"/>
                  <a:pt x="1201" y="879"/>
                </a:cubicBezTo>
                <a:cubicBezTo>
                  <a:pt x="1201" y="883"/>
                  <a:pt x="1204" y="885"/>
                  <a:pt x="1208" y="885"/>
                </a:cubicBezTo>
                <a:cubicBezTo>
                  <a:pt x="1213" y="885"/>
                  <a:pt x="1216" y="883"/>
                  <a:pt x="1216" y="879"/>
                </a:cubicBezTo>
                <a:cubicBezTo>
                  <a:pt x="1216" y="876"/>
                  <a:pt x="1213" y="873"/>
                  <a:pt x="1208" y="873"/>
                </a:cubicBezTo>
                <a:close/>
                <a:moveTo>
                  <a:pt x="1232" y="601"/>
                </a:moveTo>
                <a:cubicBezTo>
                  <a:pt x="1228" y="601"/>
                  <a:pt x="1224" y="604"/>
                  <a:pt x="1224" y="608"/>
                </a:cubicBezTo>
                <a:cubicBezTo>
                  <a:pt x="1224" y="612"/>
                  <a:pt x="1228" y="615"/>
                  <a:pt x="1232" y="615"/>
                </a:cubicBezTo>
                <a:cubicBezTo>
                  <a:pt x="1236" y="615"/>
                  <a:pt x="1240" y="612"/>
                  <a:pt x="1240" y="608"/>
                </a:cubicBezTo>
                <a:cubicBezTo>
                  <a:pt x="1240" y="604"/>
                  <a:pt x="1236" y="601"/>
                  <a:pt x="1232" y="601"/>
                </a:cubicBezTo>
                <a:close/>
                <a:moveTo>
                  <a:pt x="1255" y="601"/>
                </a:moveTo>
                <a:cubicBezTo>
                  <a:pt x="1251" y="601"/>
                  <a:pt x="1247" y="604"/>
                  <a:pt x="1247" y="608"/>
                </a:cubicBezTo>
                <a:cubicBezTo>
                  <a:pt x="1247" y="612"/>
                  <a:pt x="1251" y="615"/>
                  <a:pt x="1255" y="615"/>
                </a:cubicBezTo>
                <a:cubicBezTo>
                  <a:pt x="1259" y="615"/>
                  <a:pt x="1263" y="612"/>
                  <a:pt x="1263" y="608"/>
                </a:cubicBezTo>
                <a:cubicBezTo>
                  <a:pt x="1263" y="604"/>
                  <a:pt x="1259" y="601"/>
                  <a:pt x="1255" y="601"/>
                </a:cubicBezTo>
                <a:close/>
                <a:moveTo>
                  <a:pt x="1232" y="620"/>
                </a:moveTo>
                <a:cubicBezTo>
                  <a:pt x="1228" y="620"/>
                  <a:pt x="1224" y="623"/>
                  <a:pt x="1224" y="627"/>
                </a:cubicBezTo>
                <a:cubicBezTo>
                  <a:pt x="1224" y="631"/>
                  <a:pt x="1228" y="634"/>
                  <a:pt x="1232" y="634"/>
                </a:cubicBezTo>
                <a:cubicBezTo>
                  <a:pt x="1236" y="634"/>
                  <a:pt x="1240" y="631"/>
                  <a:pt x="1240" y="627"/>
                </a:cubicBezTo>
                <a:cubicBezTo>
                  <a:pt x="1240" y="623"/>
                  <a:pt x="1236" y="620"/>
                  <a:pt x="1232" y="620"/>
                </a:cubicBezTo>
                <a:close/>
                <a:moveTo>
                  <a:pt x="1255" y="620"/>
                </a:moveTo>
                <a:cubicBezTo>
                  <a:pt x="1251" y="620"/>
                  <a:pt x="1247" y="623"/>
                  <a:pt x="1247" y="627"/>
                </a:cubicBezTo>
                <a:cubicBezTo>
                  <a:pt x="1247" y="631"/>
                  <a:pt x="1251" y="634"/>
                  <a:pt x="1255" y="634"/>
                </a:cubicBezTo>
                <a:cubicBezTo>
                  <a:pt x="1259" y="634"/>
                  <a:pt x="1263" y="631"/>
                  <a:pt x="1263" y="627"/>
                </a:cubicBezTo>
                <a:cubicBezTo>
                  <a:pt x="1263" y="623"/>
                  <a:pt x="1259" y="620"/>
                  <a:pt x="1255" y="620"/>
                </a:cubicBezTo>
                <a:close/>
                <a:moveTo>
                  <a:pt x="1232" y="640"/>
                </a:moveTo>
                <a:cubicBezTo>
                  <a:pt x="1228" y="640"/>
                  <a:pt x="1224" y="643"/>
                  <a:pt x="1224" y="647"/>
                </a:cubicBezTo>
                <a:cubicBezTo>
                  <a:pt x="1224" y="650"/>
                  <a:pt x="1228" y="653"/>
                  <a:pt x="1232" y="653"/>
                </a:cubicBezTo>
                <a:cubicBezTo>
                  <a:pt x="1236" y="653"/>
                  <a:pt x="1240" y="650"/>
                  <a:pt x="1240" y="647"/>
                </a:cubicBezTo>
                <a:cubicBezTo>
                  <a:pt x="1240" y="643"/>
                  <a:pt x="1236" y="640"/>
                  <a:pt x="1232" y="640"/>
                </a:cubicBezTo>
                <a:close/>
                <a:moveTo>
                  <a:pt x="1255" y="640"/>
                </a:moveTo>
                <a:cubicBezTo>
                  <a:pt x="1251" y="640"/>
                  <a:pt x="1247" y="643"/>
                  <a:pt x="1247" y="647"/>
                </a:cubicBezTo>
                <a:cubicBezTo>
                  <a:pt x="1247" y="650"/>
                  <a:pt x="1251" y="653"/>
                  <a:pt x="1255" y="653"/>
                </a:cubicBezTo>
                <a:cubicBezTo>
                  <a:pt x="1259" y="653"/>
                  <a:pt x="1263" y="650"/>
                  <a:pt x="1263" y="647"/>
                </a:cubicBezTo>
                <a:cubicBezTo>
                  <a:pt x="1263" y="643"/>
                  <a:pt x="1259" y="640"/>
                  <a:pt x="1255" y="640"/>
                </a:cubicBezTo>
                <a:close/>
                <a:moveTo>
                  <a:pt x="1232" y="659"/>
                </a:moveTo>
                <a:cubicBezTo>
                  <a:pt x="1228" y="659"/>
                  <a:pt x="1224" y="662"/>
                  <a:pt x="1224" y="666"/>
                </a:cubicBezTo>
                <a:cubicBezTo>
                  <a:pt x="1224" y="670"/>
                  <a:pt x="1228" y="673"/>
                  <a:pt x="1232" y="673"/>
                </a:cubicBezTo>
                <a:cubicBezTo>
                  <a:pt x="1236" y="673"/>
                  <a:pt x="1240" y="670"/>
                  <a:pt x="1240" y="666"/>
                </a:cubicBezTo>
                <a:cubicBezTo>
                  <a:pt x="1240" y="662"/>
                  <a:pt x="1236" y="659"/>
                  <a:pt x="1232" y="659"/>
                </a:cubicBezTo>
                <a:close/>
                <a:moveTo>
                  <a:pt x="1255" y="659"/>
                </a:moveTo>
                <a:cubicBezTo>
                  <a:pt x="1251" y="659"/>
                  <a:pt x="1247" y="662"/>
                  <a:pt x="1247" y="666"/>
                </a:cubicBezTo>
                <a:cubicBezTo>
                  <a:pt x="1247" y="670"/>
                  <a:pt x="1251" y="673"/>
                  <a:pt x="1255" y="673"/>
                </a:cubicBezTo>
                <a:cubicBezTo>
                  <a:pt x="1259" y="673"/>
                  <a:pt x="1263" y="670"/>
                  <a:pt x="1263" y="666"/>
                </a:cubicBezTo>
                <a:cubicBezTo>
                  <a:pt x="1263" y="662"/>
                  <a:pt x="1259" y="659"/>
                  <a:pt x="1255" y="659"/>
                </a:cubicBezTo>
                <a:close/>
                <a:moveTo>
                  <a:pt x="1232" y="679"/>
                </a:moveTo>
                <a:cubicBezTo>
                  <a:pt x="1228" y="679"/>
                  <a:pt x="1224" y="682"/>
                  <a:pt x="1224" y="686"/>
                </a:cubicBezTo>
                <a:cubicBezTo>
                  <a:pt x="1224" y="689"/>
                  <a:pt x="1228" y="692"/>
                  <a:pt x="1232" y="692"/>
                </a:cubicBezTo>
                <a:cubicBezTo>
                  <a:pt x="1236" y="692"/>
                  <a:pt x="1240" y="689"/>
                  <a:pt x="1240" y="686"/>
                </a:cubicBezTo>
                <a:cubicBezTo>
                  <a:pt x="1240" y="682"/>
                  <a:pt x="1236" y="679"/>
                  <a:pt x="1232" y="679"/>
                </a:cubicBezTo>
                <a:close/>
                <a:moveTo>
                  <a:pt x="1255" y="679"/>
                </a:moveTo>
                <a:cubicBezTo>
                  <a:pt x="1251" y="679"/>
                  <a:pt x="1247" y="682"/>
                  <a:pt x="1247" y="686"/>
                </a:cubicBezTo>
                <a:cubicBezTo>
                  <a:pt x="1247" y="689"/>
                  <a:pt x="1251" y="692"/>
                  <a:pt x="1255" y="692"/>
                </a:cubicBezTo>
                <a:cubicBezTo>
                  <a:pt x="1259" y="692"/>
                  <a:pt x="1263" y="689"/>
                  <a:pt x="1263" y="686"/>
                </a:cubicBezTo>
                <a:cubicBezTo>
                  <a:pt x="1263" y="682"/>
                  <a:pt x="1259" y="679"/>
                  <a:pt x="1255" y="679"/>
                </a:cubicBezTo>
                <a:close/>
                <a:moveTo>
                  <a:pt x="1232" y="698"/>
                </a:moveTo>
                <a:cubicBezTo>
                  <a:pt x="1228" y="698"/>
                  <a:pt x="1224" y="701"/>
                  <a:pt x="1224" y="705"/>
                </a:cubicBezTo>
                <a:cubicBezTo>
                  <a:pt x="1224" y="708"/>
                  <a:pt x="1228" y="711"/>
                  <a:pt x="1232" y="711"/>
                </a:cubicBezTo>
                <a:cubicBezTo>
                  <a:pt x="1236" y="711"/>
                  <a:pt x="1240" y="708"/>
                  <a:pt x="1240" y="705"/>
                </a:cubicBezTo>
                <a:cubicBezTo>
                  <a:pt x="1240" y="701"/>
                  <a:pt x="1236" y="698"/>
                  <a:pt x="1232" y="698"/>
                </a:cubicBezTo>
                <a:close/>
                <a:moveTo>
                  <a:pt x="1255" y="698"/>
                </a:moveTo>
                <a:cubicBezTo>
                  <a:pt x="1251" y="698"/>
                  <a:pt x="1247" y="701"/>
                  <a:pt x="1247" y="705"/>
                </a:cubicBezTo>
                <a:cubicBezTo>
                  <a:pt x="1247" y="708"/>
                  <a:pt x="1251" y="711"/>
                  <a:pt x="1255" y="711"/>
                </a:cubicBezTo>
                <a:cubicBezTo>
                  <a:pt x="1259" y="711"/>
                  <a:pt x="1263" y="708"/>
                  <a:pt x="1263" y="705"/>
                </a:cubicBezTo>
                <a:cubicBezTo>
                  <a:pt x="1263" y="701"/>
                  <a:pt x="1259" y="698"/>
                  <a:pt x="1255" y="698"/>
                </a:cubicBezTo>
                <a:close/>
                <a:moveTo>
                  <a:pt x="1232" y="717"/>
                </a:moveTo>
                <a:cubicBezTo>
                  <a:pt x="1228" y="717"/>
                  <a:pt x="1224" y="720"/>
                  <a:pt x="1224" y="724"/>
                </a:cubicBezTo>
                <a:cubicBezTo>
                  <a:pt x="1224" y="727"/>
                  <a:pt x="1228" y="730"/>
                  <a:pt x="1232" y="730"/>
                </a:cubicBezTo>
                <a:cubicBezTo>
                  <a:pt x="1236" y="730"/>
                  <a:pt x="1240" y="727"/>
                  <a:pt x="1240" y="724"/>
                </a:cubicBezTo>
                <a:cubicBezTo>
                  <a:pt x="1240" y="720"/>
                  <a:pt x="1236" y="717"/>
                  <a:pt x="1232" y="717"/>
                </a:cubicBezTo>
                <a:close/>
                <a:moveTo>
                  <a:pt x="1255" y="717"/>
                </a:moveTo>
                <a:cubicBezTo>
                  <a:pt x="1251" y="717"/>
                  <a:pt x="1247" y="720"/>
                  <a:pt x="1247" y="724"/>
                </a:cubicBezTo>
                <a:cubicBezTo>
                  <a:pt x="1247" y="727"/>
                  <a:pt x="1251" y="730"/>
                  <a:pt x="1255" y="730"/>
                </a:cubicBezTo>
                <a:cubicBezTo>
                  <a:pt x="1259" y="730"/>
                  <a:pt x="1263" y="727"/>
                  <a:pt x="1263" y="724"/>
                </a:cubicBezTo>
                <a:cubicBezTo>
                  <a:pt x="1263" y="720"/>
                  <a:pt x="1259" y="717"/>
                  <a:pt x="1255" y="717"/>
                </a:cubicBezTo>
                <a:close/>
                <a:moveTo>
                  <a:pt x="1232" y="736"/>
                </a:moveTo>
                <a:cubicBezTo>
                  <a:pt x="1228" y="736"/>
                  <a:pt x="1224" y="739"/>
                  <a:pt x="1224" y="743"/>
                </a:cubicBezTo>
                <a:cubicBezTo>
                  <a:pt x="1224" y="747"/>
                  <a:pt x="1228" y="750"/>
                  <a:pt x="1232" y="750"/>
                </a:cubicBezTo>
                <a:cubicBezTo>
                  <a:pt x="1236" y="750"/>
                  <a:pt x="1240" y="747"/>
                  <a:pt x="1240" y="743"/>
                </a:cubicBezTo>
                <a:cubicBezTo>
                  <a:pt x="1240" y="739"/>
                  <a:pt x="1236" y="736"/>
                  <a:pt x="1232" y="736"/>
                </a:cubicBezTo>
                <a:close/>
                <a:moveTo>
                  <a:pt x="1255" y="736"/>
                </a:moveTo>
                <a:cubicBezTo>
                  <a:pt x="1251" y="736"/>
                  <a:pt x="1247" y="739"/>
                  <a:pt x="1247" y="743"/>
                </a:cubicBezTo>
                <a:cubicBezTo>
                  <a:pt x="1247" y="747"/>
                  <a:pt x="1251" y="750"/>
                  <a:pt x="1255" y="750"/>
                </a:cubicBezTo>
                <a:cubicBezTo>
                  <a:pt x="1259" y="750"/>
                  <a:pt x="1263" y="747"/>
                  <a:pt x="1263" y="743"/>
                </a:cubicBezTo>
                <a:cubicBezTo>
                  <a:pt x="1263" y="739"/>
                  <a:pt x="1259" y="736"/>
                  <a:pt x="1255" y="736"/>
                </a:cubicBezTo>
                <a:close/>
                <a:moveTo>
                  <a:pt x="1277" y="601"/>
                </a:moveTo>
                <a:cubicBezTo>
                  <a:pt x="1273" y="601"/>
                  <a:pt x="1269" y="604"/>
                  <a:pt x="1269" y="608"/>
                </a:cubicBezTo>
                <a:cubicBezTo>
                  <a:pt x="1269" y="612"/>
                  <a:pt x="1273" y="615"/>
                  <a:pt x="1277" y="615"/>
                </a:cubicBezTo>
                <a:cubicBezTo>
                  <a:pt x="1281" y="615"/>
                  <a:pt x="1285" y="612"/>
                  <a:pt x="1285" y="608"/>
                </a:cubicBezTo>
                <a:cubicBezTo>
                  <a:pt x="1285" y="604"/>
                  <a:pt x="1281" y="601"/>
                  <a:pt x="1277" y="601"/>
                </a:cubicBezTo>
                <a:close/>
                <a:moveTo>
                  <a:pt x="1299" y="601"/>
                </a:moveTo>
                <a:cubicBezTo>
                  <a:pt x="1295" y="601"/>
                  <a:pt x="1291" y="604"/>
                  <a:pt x="1291" y="608"/>
                </a:cubicBezTo>
                <a:cubicBezTo>
                  <a:pt x="1291" y="612"/>
                  <a:pt x="1295" y="615"/>
                  <a:pt x="1299" y="615"/>
                </a:cubicBezTo>
                <a:cubicBezTo>
                  <a:pt x="1303" y="615"/>
                  <a:pt x="1307" y="612"/>
                  <a:pt x="1307" y="608"/>
                </a:cubicBezTo>
                <a:cubicBezTo>
                  <a:pt x="1307" y="604"/>
                  <a:pt x="1303" y="601"/>
                  <a:pt x="1299" y="601"/>
                </a:cubicBezTo>
                <a:close/>
                <a:moveTo>
                  <a:pt x="1277" y="620"/>
                </a:moveTo>
                <a:cubicBezTo>
                  <a:pt x="1273" y="620"/>
                  <a:pt x="1269" y="623"/>
                  <a:pt x="1269" y="627"/>
                </a:cubicBezTo>
                <a:cubicBezTo>
                  <a:pt x="1269" y="631"/>
                  <a:pt x="1273" y="634"/>
                  <a:pt x="1277" y="634"/>
                </a:cubicBezTo>
                <a:cubicBezTo>
                  <a:pt x="1281" y="634"/>
                  <a:pt x="1285" y="631"/>
                  <a:pt x="1285" y="627"/>
                </a:cubicBezTo>
                <a:cubicBezTo>
                  <a:pt x="1285" y="623"/>
                  <a:pt x="1281" y="620"/>
                  <a:pt x="1277" y="620"/>
                </a:cubicBezTo>
                <a:close/>
                <a:moveTo>
                  <a:pt x="1299" y="620"/>
                </a:moveTo>
                <a:cubicBezTo>
                  <a:pt x="1295" y="620"/>
                  <a:pt x="1291" y="623"/>
                  <a:pt x="1291" y="627"/>
                </a:cubicBezTo>
                <a:cubicBezTo>
                  <a:pt x="1291" y="631"/>
                  <a:pt x="1295" y="634"/>
                  <a:pt x="1299" y="634"/>
                </a:cubicBezTo>
                <a:cubicBezTo>
                  <a:pt x="1303" y="634"/>
                  <a:pt x="1307" y="631"/>
                  <a:pt x="1307" y="627"/>
                </a:cubicBezTo>
                <a:cubicBezTo>
                  <a:pt x="1307" y="623"/>
                  <a:pt x="1303" y="620"/>
                  <a:pt x="1299" y="620"/>
                </a:cubicBezTo>
                <a:close/>
                <a:moveTo>
                  <a:pt x="1277" y="640"/>
                </a:moveTo>
                <a:cubicBezTo>
                  <a:pt x="1273" y="640"/>
                  <a:pt x="1269" y="643"/>
                  <a:pt x="1269" y="647"/>
                </a:cubicBezTo>
                <a:cubicBezTo>
                  <a:pt x="1269" y="650"/>
                  <a:pt x="1273" y="653"/>
                  <a:pt x="1277" y="653"/>
                </a:cubicBezTo>
                <a:cubicBezTo>
                  <a:pt x="1281" y="653"/>
                  <a:pt x="1285" y="650"/>
                  <a:pt x="1285" y="647"/>
                </a:cubicBezTo>
                <a:cubicBezTo>
                  <a:pt x="1285" y="643"/>
                  <a:pt x="1281" y="640"/>
                  <a:pt x="1277" y="640"/>
                </a:cubicBezTo>
                <a:close/>
                <a:moveTo>
                  <a:pt x="1299" y="640"/>
                </a:moveTo>
                <a:cubicBezTo>
                  <a:pt x="1295" y="640"/>
                  <a:pt x="1291" y="643"/>
                  <a:pt x="1291" y="647"/>
                </a:cubicBezTo>
                <a:cubicBezTo>
                  <a:pt x="1291" y="650"/>
                  <a:pt x="1295" y="653"/>
                  <a:pt x="1299" y="653"/>
                </a:cubicBezTo>
                <a:cubicBezTo>
                  <a:pt x="1303" y="653"/>
                  <a:pt x="1307" y="650"/>
                  <a:pt x="1307" y="647"/>
                </a:cubicBezTo>
                <a:cubicBezTo>
                  <a:pt x="1307" y="643"/>
                  <a:pt x="1303" y="640"/>
                  <a:pt x="1299" y="640"/>
                </a:cubicBezTo>
                <a:close/>
                <a:moveTo>
                  <a:pt x="1277" y="659"/>
                </a:moveTo>
                <a:cubicBezTo>
                  <a:pt x="1273" y="659"/>
                  <a:pt x="1269" y="662"/>
                  <a:pt x="1269" y="666"/>
                </a:cubicBezTo>
                <a:cubicBezTo>
                  <a:pt x="1269" y="670"/>
                  <a:pt x="1273" y="673"/>
                  <a:pt x="1277" y="673"/>
                </a:cubicBezTo>
                <a:cubicBezTo>
                  <a:pt x="1281" y="673"/>
                  <a:pt x="1285" y="670"/>
                  <a:pt x="1285" y="666"/>
                </a:cubicBezTo>
                <a:cubicBezTo>
                  <a:pt x="1285" y="662"/>
                  <a:pt x="1281" y="659"/>
                  <a:pt x="1277" y="659"/>
                </a:cubicBezTo>
                <a:close/>
                <a:moveTo>
                  <a:pt x="1299" y="659"/>
                </a:moveTo>
                <a:cubicBezTo>
                  <a:pt x="1295" y="659"/>
                  <a:pt x="1291" y="662"/>
                  <a:pt x="1291" y="666"/>
                </a:cubicBezTo>
                <a:cubicBezTo>
                  <a:pt x="1291" y="670"/>
                  <a:pt x="1295" y="673"/>
                  <a:pt x="1299" y="673"/>
                </a:cubicBezTo>
                <a:cubicBezTo>
                  <a:pt x="1303" y="673"/>
                  <a:pt x="1307" y="670"/>
                  <a:pt x="1307" y="666"/>
                </a:cubicBezTo>
                <a:cubicBezTo>
                  <a:pt x="1307" y="662"/>
                  <a:pt x="1303" y="659"/>
                  <a:pt x="1299" y="659"/>
                </a:cubicBezTo>
                <a:close/>
                <a:moveTo>
                  <a:pt x="1277" y="679"/>
                </a:moveTo>
                <a:cubicBezTo>
                  <a:pt x="1273" y="679"/>
                  <a:pt x="1269" y="682"/>
                  <a:pt x="1269" y="686"/>
                </a:cubicBezTo>
                <a:cubicBezTo>
                  <a:pt x="1269" y="689"/>
                  <a:pt x="1273" y="692"/>
                  <a:pt x="1277" y="692"/>
                </a:cubicBezTo>
                <a:cubicBezTo>
                  <a:pt x="1281" y="692"/>
                  <a:pt x="1285" y="689"/>
                  <a:pt x="1285" y="686"/>
                </a:cubicBezTo>
                <a:cubicBezTo>
                  <a:pt x="1285" y="682"/>
                  <a:pt x="1281" y="679"/>
                  <a:pt x="1277" y="679"/>
                </a:cubicBezTo>
                <a:close/>
                <a:moveTo>
                  <a:pt x="1299" y="679"/>
                </a:moveTo>
                <a:cubicBezTo>
                  <a:pt x="1295" y="679"/>
                  <a:pt x="1291" y="682"/>
                  <a:pt x="1291" y="686"/>
                </a:cubicBezTo>
                <a:cubicBezTo>
                  <a:pt x="1291" y="689"/>
                  <a:pt x="1295" y="692"/>
                  <a:pt x="1299" y="692"/>
                </a:cubicBezTo>
                <a:cubicBezTo>
                  <a:pt x="1303" y="692"/>
                  <a:pt x="1307" y="689"/>
                  <a:pt x="1307" y="686"/>
                </a:cubicBezTo>
                <a:cubicBezTo>
                  <a:pt x="1307" y="682"/>
                  <a:pt x="1303" y="679"/>
                  <a:pt x="1299" y="679"/>
                </a:cubicBezTo>
                <a:close/>
                <a:moveTo>
                  <a:pt x="1277" y="698"/>
                </a:moveTo>
                <a:cubicBezTo>
                  <a:pt x="1273" y="698"/>
                  <a:pt x="1269" y="701"/>
                  <a:pt x="1269" y="705"/>
                </a:cubicBezTo>
                <a:cubicBezTo>
                  <a:pt x="1269" y="708"/>
                  <a:pt x="1273" y="711"/>
                  <a:pt x="1277" y="711"/>
                </a:cubicBezTo>
                <a:cubicBezTo>
                  <a:pt x="1281" y="711"/>
                  <a:pt x="1285" y="708"/>
                  <a:pt x="1285" y="705"/>
                </a:cubicBezTo>
                <a:cubicBezTo>
                  <a:pt x="1285" y="701"/>
                  <a:pt x="1281" y="698"/>
                  <a:pt x="1277" y="698"/>
                </a:cubicBezTo>
                <a:close/>
                <a:moveTo>
                  <a:pt x="1299" y="698"/>
                </a:moveTo>
                <a:cubicBezTo>
                  <a:pt x="1295" y="698"/>
                  <a:pt x="1291" y="701"/>
                  <a:pt x="1291" y="705"/>
                </a:cubicBezTo>
                <a:cubicBezTo>
                  <a:pt x="1291" y="708"/>
                  <a:pt x="1295" y="711"/>
                  <a:pt x="1299" y="711"/>
                </a:cubicBezTo>
                <a:cubicBezTo>
                  <a:pt x="1303" y="711"/>
                  <a:pt x="1307" y="708"/>
                  <a:pt x="1307" y="705"/>
                </a:cubicBezTo>
                <a:cubicBezTo>
                  <a:pt x="1307" y="701"/>
                  <a:pt x="1303" y="698"/>
                  <a:pt x="1299" y="698"/>
                </a:cubicBezTo>
                <a:close/>
                <a:moveTo>
                  <a:pt x="1277" y="717"/>
                </a:moveTo>
                <a:cubicBezTo>
                  <a:pt x="1273" y="717"/>
                  <a:pt x="1269" y="720"/>
                  <a:pt x="1269" y="724"/>
                </a:cubicBezTo>
                <a:cubicBezTo>
                  <a:pt x="1269" y="727"/>
                  <a:pt x="1273" y="730"/>
                  <a:pt x="1277" y="730"/>
                </a:cubicBezTo>
                <a:cubicBezTo>
                  <a:pt x="1281" y="730"/>
                  <a:pt x="1285" y="727"/>
                  <a:pt x="1285" y="724"/>
                </a:cubicBezTo>
                <a:cubicBezTo>
                  <a:pt x="1285" y="720"/>
                  <a:pt x="1281" y="717"/>
                  <a:pt x="1277" y="717"/>
                </a:cubicBezTo>
                <a:close/>
                <a:moveTo>
                  <a:pt x="1299" y="717"/>
                </a:moveTo>
                <a:cubicBezTo>
                  <a:pt x="1295" y="717"/>
                  <a:pt x="1291" y="720"/>
                  <a:pt x="1291" y="724"/>
                </a:cubicBezTo>
                <a:cubicBezTo>
                  <a:pt x="1291" y="727"/>
                  <a:pt x="1295" y="730"/>
                  <a:pt x="1299" y="730"/>
                </a:cubicBezTo>
                <a:cubicBezTo>
                  <a:pt x="1303" y="730"/>
                  <a:pt x="1307" y="727"/>
                  <a:pt x="1307" y="724"/>
                </a:cubicBezTo>
                <a:cubicBezTo>
                  <a:pt x="1307" y="720"/>
                  <a:pt x="1303" y="717"/>
                  <a:pt x="1299" y="717"/>
                </a:cubicBezTo>
                <a:close/>
                <a:moveTo>
                  <a:pt x="1277" y="736"/>
                </a:moveTo>
                <a:cubicBezTo>
                  <a:pt x="1273" y="736"/>
                  <a:pt x="1269" y="739"/>
                  <a:pt x="1269" y="743"/>
                </a:cubicBezTo>
                <a:cubicBezTo>
                  <a:pt x="1269" y="747"/>
                  <a:pt x="1273" y="750"/>
                  <a:pt x="1277" y="750"/>
                </a:cubicBezTo>
                <a:cubicBezTo>
                  <a:pt x="1281" y="750"/>
                  <a:pt x="1285" y="747"/>
                  <a:pt x="1285" y="743"/>
                </a:cubicBezTo>
                <a:cubicBezTo>
                  <a:pt x="1285" y="739"/>
                  <a:pt x="1281" y="736"/>
                  <a:pt x="1277" y="736"/>
                </a:cubicBezTo>
                <a:close/>
                <a:moveTo>
                  <a:pt x="1299" y="736"/>
                </a:moveTo>
                <a:cubicBezTo>
                  <a:pt x="1295" y="736"/>
                  <a:pt x="1291" y="739"/>
                  <a:pt x="1291" y="743"/>
                </a:cubicBezTo>
                <a:cubicBezTo>
                  <a:pt x="1291" y="747"/>
                  <a:pt x="1295" y="750"/>
                  <a:pt x="1299" y="750"/>
                </a:cubicBezTo>
                <a:cubicBezTo>
                  <a:pt x="1303" y="750"/>
                  <a:pt x="1307" y="747"/>
                  <a:pt x="1307" y="743"/>
                </a:cubicBezTo>
                <a:cubicBezTo>
                  <a:pt x="1307" y="739"/>
                  <a:pt x="1303" y="736"/>
                  <a:pt x="1299" y="736"/>
                </a:cubicBezTo>
                <a:close/>
                <a:moveTo>
                  <a:pt x="1321" y="601"/>
                </a:moveTo>
                <a:cubicBezTo>
                  <a:pt x="1317" y="601"/>
                  <a:pt x="1313" y="604"/>
                  <a:pt x="1313" y="608"/>
                </a:cubicBezTo>
                <a:cubicBezTo>
                  <a:pt x="1313" y="612"/>
                  <a:pt x="1317" y="615"/>
                  <a:pt x="1321" y="615"/>
                </a:cubicBezTo>
                <a:cubicBezTo>
                  <a:pt x="1325" y="615"/>
                  <a:pt x="1328" y="612"/>
                  <a:pt x="1328" y="608"/>
                </a:cubicBezTo>
                <a:cubicBezTo>
                  <a:pt x="1328" y="604"/>
                  <a:pt x="1325" y="601"/>
                  <a:pt x="1321" y="601"/>
                </a:cubicBezTo>
                <a:close/>
                <a:moveTo>
                  <a:pt x="1344" y="601"/>
                </a:moveTo>
                <a:cubicBezTo>
                  <a:pt x="1339" y="601"/>
                  <a:pt x="1336" y="604"/>
                  <a:pt x="1336" y="608"/>
                </a:cubicBezTo>
                <a:cubicBezTo>
                  <a:pt x="1336" y="612"/>
                  <a:pt x="1339" y="615"/>
                  <a:pt x="1344" y="615"/>
                </a:cubicBezTo>
                <a:cubicBezTo>
                  <a:pt x="1348" y="615"/>
                  <a:pt x="1351" y="612"/>
                  <a:pt x="1351" y="608"/>
                </a:cubicBezTo>
                <a:cubicBezTo>
                  <a:pt x="1351" y="604"/>
                  <a:pt x="1348" y="601"/>
                  <a:pt x="1344" y="601"/>
                </a:cubicBezTo>
                <a:close/>
                <a:moveTo>
                  <a:pt x="1321" y="620"/>
                </a:moveTo>
                <a:cubicBezTo>
                  <a:pt x="1317" y="620"/>
                  <a:pt x="1313" y="623"/>
                  <a:pt x="1313" y="627"/>
                </a:cubicBezTo>
                <a:cubicBezTo>
                  <a:pt x="1313" y="631"/>
                  <a:pt x="1317" y="634"/>
                  <a:pt x="1321" y="634"/>
                </a:cubicBezTo>
                <a:cubicBezTo>
                  <a:pt x="1325" y="634"/>
                  <a:pt x="1328" y="631"/>
                  <a:pt x="1328" y="627"/>
                </a:cubicBezTo>
                <a:cubicBezTo>
                  <a:pt x="1328" y="623"/>
                  <a:pt x="1325" y="620"/>
                  <a:pt x="1321" y="620"/>
                </a:cubicBezTo>
                <a:close/>
                <a:moveTo>
                  <a:pt x="1344" y="620"/>
                </a:moveTo>
                <a:cubicBezTo>
                  <a:pt x="1339" y="620"/>
                  <a:pt x="1336" y="623"/>
                  <a:pt x="1336" y="627"/>
                </a:cubicBezTo>
                <a:cubicBezTo>
                  <a:pt x="1336" y="631"/>
                  <a:pt x="1339" y="634"/>
                  <a:pt x="1344" y="634"/>
                </a:cubicBezTo>
                <a:cubicBezTo>
                  <a:pt x="1348" y="634"/>
                  <a:pt x="1351" y="631"/>
                  <a:pt x="1351" y="627"/>
                </a:cubicBezTo>
                <a:cubicBezTo>
                  <a:pt x="1351" y="623"/>
                  <a:pt x="1348" y="620"/>
                  <a:pt x="1344" y="620"/>
                </a:cubicBezTo>
                <a:close/>
                <a:moveTo>
                  <a:pt x="1321" y="640"/>
                </a:moveTo>
                <a:cubicBezTo>
                  <a:pt x="1317" y="640"/>
                  <a:pt x="1313" y="643"/>
                  <a:pt x="1313" y="647"/>
                </a:cubicBezTo>
                <a:cubicBezTo>
                  <a:pt x="1313" y="650"/>
                  <a:pt x="1317" y="653"/>
                  <a:pt x="1321" y="653"/>
                </a:cubicBezTo>
                <a:cubicBezTo>
                  <a:pt x="1325" y="653"/>
                  <a:pt x="1328" y="650"/>
                  <a:pt x="1328" y="647"/>
                </a:cubicBezTo>
                <a:cubicBezTo>
                  <a:pt x="1328" y="643"/>
                  <a:pt x="1325" y="640"/>
                  <a:pt x="1321" y="640"/>
                </a:cubicBezTo>
                <a:close/>
                <a:moveTo>
                  <a:pt x="1344" y="640"/>
                </a:moveTo>
                <a:cubicBezTo>
                  <a:pt x="1339" y="640"/>
                  <a:pt x="1336" y="643"/>
                  <a:pt x="1336" y="647"/>
                </a:cubicBezTo>
                <a:cubicBezTo>
                  <a:pt x="1336" y="650"/>
                  <a:pt x="1339" y="653"/>
                  <a:pt x="1344" y="653"/>
                </a:cubicBezTo>
                <a:cubicBezTo>
                  <a:pt x="1348" y="653"/>
                  <a:pt x="1351" y="650"/>
                  <a:pt x="1351" y="647"/>
                </a:cubicBezTo>
                <a:cubicBezTo>
                  <a:pt x="1351" y="643"/>
                  <a:pt x="1348" y="640"/>
                  <a:pt x="1344" y="640"/>
                </a:cubicBezTo>
                <a:close/>
                <a:moveTo>
                  <a:pt x="1321" y="659"/>
                </a:moveTo>
                <a:cubicBezTo>
                  <a:pt x="1317" y="659"/>
                  <a:pt x="1313" y="662"/>
                  <a:pt x="1313" y="666"/>
                </a:cubicBezTo>
                <a:cubicBezTo>
                  <a:pt x="1313" y="670"/>
                  <a:pt x="1317" y="673"/>
                  <a:pt x="1321" y="673"/>
                </a:cubicBezTo>
                <a:cubicBezTo>
                  <a:pt x="1325" y="673"/>
                  <a:pt x="1328" y="670"/>
                  <a:pt x="1328" y="666"/>
                </a:cubicBezTo>
                <a:cubicBezTo>
                  <a:pt x="1328" y="662"/>
                  <a:pt x="1325" y="659"/>
                  <a:pt x="1321" y="659"/>
                </a:cubicBezTo>
                <a:close/>
                <a:moveTo>
                  <a:pt x="1344" y="659"/>
                </a:moveTo>
                <a:cubicBezTo>
                  <a:pt x="1339" y="659"/>
                  <a:pt x="1336" y="662"/>
                  <a:pt x="1336" y="666"/>
                </a:cubicBezTo>
                <a:cubicBezTo>
                  <a:pt x="1336" y="670"/>
                  <a:pt x="1339" y="673"/>
                  <a:pt x="1344" y="673"/>
                </a:cubicBezTo>
                <a:cubicBezTo>
                  <a:pt x="1348" y="673"/>
                  <a:pt x="1351" y="670"/>
                  <a:pt x="1351" y="666"/>
                </a:cubicBezTo>
                <a:cubicBezTo>
                  <a:pt x="1351" y="662"/>
                  <a:pt x="1348" y="659"/>
                  <a:pt x="1344" y="659"/>
                </a:cubicBezTo>
                <a:close/>
                <a:moveTo>
                  <a:pt x="1321" y="679"/>
                </a:moveTo>
                <a:cubicBezTo>
                  <a:pt x="1317" y="679"/>
                  <a:pt x="1313" y="682"/>
                  <a:pt x="1313" y="686"/>
                </a:cubicBezTo>
                <a:cubicBezTo>
                  <a:pt x="1313" y="689"/>
                  <a:pt x="1317" y="692"/>
                  <a:pt x="1321" y="692"/>
                </a:cubicBezTo>
                <a:cubicBezTo>
                  <a:pt x="1325" y="692"/>
                  <a:pt x="1328" y="689"/>
                  <a:pt x="1328" y="686"/>
                </a:cubicBezTo>
                <a:cubicBezTo>
                  <a:pt x="1328" y="682"/>
                  <a:pt x="1325" y="679"/>
                  <a:pt x="1321" y="679"/>
                </a:cubicBezTo>
                <a:close/>
                <a:moveTo>
                  <a:pt x="1344" y="679"/>
                </a:moveTo>
                <a:cubicBezTo>
                  <a:pt x="1339" y="679"/>
                  <a:pt x="1336" y="682"/>
                  <a:pt x="1336" y="686"/>
                </a:cubicBezTo>
                <a:cubicBezTo>
                  <a:pt x="1336" y="689"/>
                  <a:pt x="1339" y="692"/>
                  <a:pt x="1344" y="692"/>
                </a:cubicBezTo>
                <a:cubicBezTo>
                  <a:pt x="1348" y="692"/>
                  <a:pt x="1351" y="689"/>
                  <a:pt x="1351" y="686"/>
                </a:cubicBezTo>
                <a:cubicBezTo>
                  <a:pt x="1351" y="682"/>
                  <a:pt x="1348" y="679"/>
                  <a:pt x="1344" y="679"/>
                </a:cubicBezTo>
                <a:close/>
                <a:moveTo>
                  <a:pt x="1321" y="698"/>
                </a:moveTo>
                <a:cubicBezTo>
                  <a:pt x="1317" y="698"/>
                  <a:pt x="1313" y="701"/>
                  <a:pt x="1313" y="705"/>
                </a:cubicBezTo>
                <a:cubicBezTo>
                  <a:pt x="1313" y="708"/>
                  <a:pt x="1317" y="711"/>
                  <a:pt x="1321" y="711"/>
                </a:cubicBezTo>
                <a:cubicBezTo>
                  <a:pt x="1325" y="711"/>
                  <a:pt x="1328" y="708"/>
                  <a:pt x="1328" y="705"/>
                </a:cubicBezTo>
                <a:cubicBezTo>
                  <a:pt x="1328" y="701"/>
                  <a:pt x="1325" y="698"/>
                  <a:pt x="1321" y="698"/>
                </a:cubicBezTo>
                <a:close/>
                <a:moveTo>
                  <a:pt x="1344" y="698"/>
                </a:moveTo>
                <a:cubicBezTo>
                  <a:pt x="1339" y="698"/>
                  <a:pt x="1336" y="701"/>
                  <a:pt x="1336" y="705"/>
                </a:cubicBezTo>
                <a:cubicBezTo>
                  <a:pt x="1336" y="708"/>
                  <a:pt x="1339" y="711"/>
                  <a:pt x="1344" y="711"/>
                </a:cubicBezTo>
                <a:cubicBezTo>
                  <a:pt x="1348" y="711"/>
                  <a:pt x="1351" y="708"/>
                  <a:pt x="1351" y="705"/>
                </a:cubicBezTo>
                <a:cubicBezTo>
                  <a:pt x="1351" y="701"/>
                  <a:pt x="1348" y="698"/>
                  <a:pt x="1344" y="698"/>
                </a:cubicBezTo>
                <a:close/>
                <a:moveTo>
                  <a:pt x="1321" y="717"/>
                </a:moveTo>
                <a:cubicBezTo>
                  <a:pt x="1317" y="717"/>
                  <a:pt x="1313" y="720"/>
                  <a:pt x="1313" y="724"/>
                </a:cubicBezTo>
                <a:cubicBezTo>
                  <a:pt x="1313" y="727"/>
                  <a:pt x="1317" y="730"/>
                  <a:pt x="1321" y="730"/>
                </a:cubicBezTo>
                <a:cubicBezTo>
                  <a:pt x="1325" y="730"/>
                  <a:pt x="1328" y="727"/>
                  <a:pt x="1328" y="724"/>
                </a:cubicBezTo>
                <a:cubicBezTo>
                  <a:pt x="1328" y="720"/>
                  <a:pt x="1325" y="717"/>
                  <a:pt x="1321" y="717"/>
                </a:cubicBezTo>
                <a:close/>
                <a:moveTo>
                  <a:pt x="1344" y="717"/>
                </a:moveTo>
                <a:cubicBezTo>
                  <a:pt x="1339" y="717"/>
                  <a:pt x="1336" y="720"/>
                  <a:pt x="1336" y="724"/>
                </a:cubicBezTo>
                <a:cubicBezTo>
                  <a:pt x="1336" y="727"/>
                  <a:pt x="1339" y="730"/>
                  <a:pt x="1344" y="730"/>
                </a:cubicBezTo>
                <a:cubicBezTo>
                  <a:pt x="1348" y="730"/>
                  <a:pt x="1351" y="727"/>
                  <a:pt x="1351" y="724"/>
                </a:cubicBezTo>
                <a:cubicBezTo>
                  <a:pt x="1351" y="720"/>
                  <a:pt x="1348" y="717"/>
                  <a:pt x="1344" y="717"/>
                </a:cubicBezTo>
                <a:close/>
                <a:moveTo>
                  <a:pt x="1321" y="736"/>
                </a:moveTo>
                <a:cubicBezTo>
                  <a:pt x="1317" y="736"/>
                  <a:pt x="1313" y="739"/>
                  <a:pt x="1313" y="743"/>
                </a:cubicBezTo>
                <a:cubicBezTo>
                  <a:pt x="1313" y="747"/>
                  <a:pt x="1317" y="750"/>
                  <a:pt x="1321" y="750"/>
                </a:cubicBezTo>
                <a:cubicBezTo>
                  <a:pt x="1325" y="750"/>
                  <a:pt x="1328" y="747"/>
                  <a:pt x="1328" y="743"/>
                </a:cubicBezTo>
                <a:cubicBezTo>
                  <a:pt x="1328" y="739"/>
                  <a:pt x="1325" y="736"/>
                  <a:pt x="1321" y="736"/>
                </a:cubicBezTo>
                <a:close/>
                <a:moveTo>
                  <a:pt x="1344" y="736"/>
                </a:moveTo>
                <a:cubicBezTo>
                  <a:pt x="1339" y="736"/>
                  <a:pt x="1336" y="739"/>
                  <a:pt x="1336" y="743"/>
                </a:cubicBezTo>
                <a:cubicBezTo>
                  <a:pt x="1336" y="747"/>
                  <a:pt x="1339" y="750"/>
                  <a:pt x="1344" y="750"/>
                </a:cubicBezTo>
                <a:cubicBezTo>
                  <a:pt x="1348" y="750"/>
                  <a:pt x="1351" y="747"/>
                  <a:pt x="1351" y="743"/>
                </a:cubicBezTo>
                <a:cubicBezTo>
                  <a:pt x="1351" y="739"/>
                  <a:pt x="1348" y="736"/>
                  <a:pt x="1344" y="736"/>
                </a:cubicBezTo>
                <a:close/>
                <a:moveTo>
                  <a:pt x="1366" y="601"/>
                </a:moveTo>
                <a:cubicBezTo>
                  <a:pt x="1362" y="601"/>
                  <a:pt x="1358" y="604"/>
                  <a:pt x="1358" y="608"/>
                </a:cubicBezTo>
                <a:cubicBezTo>
                  <a:pt x="1358" y="612"/>
                  <a:pt x="1362" y="615"/>
                  <a:pt x="1366" y="615"/>
                </a:cubicBezTo>
                <a:cubicBezTo>
                  <a:pt x="1370" y="615"/>
                  <a:pt x="1373" y="612"/>
                  <a:pt x="1373" y="608"/>
                </a:cubicBezTo>
                <a:cubicBezTo>
                  <a:pt x="1373" y="604"/>
                  <a:pt x="1370" y="601"/>
                  <a:pt x="1366" y="601"/>
                </a:cubicBezTo>
                <a:close/>
                <a:moveTo>
                  <a:pt x="1366" y="620"/>
                </a:moveTo>
                <a:cubicBezTo>
                  <a:pt x="1362" y="620"/>
                  <a:pt x="1358" y="623"/>
                  <a:pt x="1358" y="627"/>
                </a:cubicBezTo>
                <a:cubicBezTo>
                  <a:pt x="1358" y="631"/>
                  <a:pt x="1362" y="634"/>
                  <a:pt x="1366" y="634"/>
                </a:cubicBezTo>
                <a:cubicBezTo>
                  <a:pt x="1370" y="634"/>
                  <a:pt x="1373" y="631"/>
                  <a:pt x="1373" y="627"/>
                </a:cubicBezTo>
                <a:cubicBezTo>
                  <a:pt x="1373" y="623"/>
                  <a:pt x="1370" y="620"/>
                  <a:pt x="1366" y="620"/>
                </a:cubicBezTo>
                <a:close/>
                <a:moveTo>
                  <a:pt x="1388" y="620"/>
                </a:moveTo>
                <a:cubicBezTo>
                  <a:pt x="1384" y="620"/>
                  <a:pt x="1380" y="623"/>
                  <a:pt x="1380" y="627"/>
                </a:cubicBezTo>
                <a:cubicBezTo>
                  <a:pt x="1380" y="631"/>
                  <a:pt x="1384" y="634"/>
                  <a:pt x="1388" y="634"/>
                </a:cubicBezTo>
                <a:cubicBezTo>
                  <a:pt x="1392" y="634"/>
                  <a:pt x="1396" y="631"/>
                  <a:pt x="1396" y="627"/>
                </a:cubicBezTo>
                <a:cubicBezTo>
                  <a:pt x="1396" y="623"/>
                  <a:pt x="1392" y="620"/>
                  <a:pt x="1388" y="620"/>
                </a:cubicBezTo>
                <a:close/>
                <a:moveTo>
                  <a:pt x="1366" y="640"/>
                </a:moveTo>
                <a:cubicBezTo>
                  <a:pt x="1362" y="640"/>
                  <a:pt x="1358" y="643"/>
                  <a:pt x="1358" y="647"/>
                </a:cubicBezTo>
                <a:cubicBezTo>
                  <a:pt x="1358" y="650"/>
                  <a:pt x="1362" y="653"/>
                  <a:pt x="1366" y="653"/>
                </a:cubicBezTo>
                <a:cubicBezTo>
                  <a:pt x="1370" y="653"/>
                  <a:pt x="1373" y="650"/>
                  <a:pt x="1373" y="647"/>
                </a:cubicBezTo>
                <a:cubicBezTo>
                  <a:pt x="1373" y="643"/>
                  <a:pt x="1370" y="640"/>
                  <a:pt x="1366" y="640"/>
                </a:cubicBezTo>
                <a:close/>
                <a:moveTo>
                  <a:pt x="1388" y="640"/>
                </a:moveTo>
                <a:cubicBezTo>
                  <a:pt x="1384" y="640"/>
                  <a:pt x="1380" y="643"/>
                  <a:pt x="1380" y="647"/>
                </a:cubicBezTo>
                <a:cubicBezTo>
                  <a:pt x="1380" y="650"/>
                  <a:pt x="1384" y="653"/>
                  <a:pt x="1388" y="653"/>
                </a:cubicBezTo>
                <a:cubicBezTo>
                  <a:pt x="1392" y="653"/>
                  <a:pt x="1396" y="650"/>
                  <a:pt x="1396" y="647"/>
                </a:cubicBezTo>
                <a:cubicBezTo>
                  <a:pt x="1396" y="643"/>
                  <a:pt x="1392" y="640"/>
                  <a:pt x="1388" y="640"/>
                </a:cubicBezTo>
                <a:close/>
                <a:moveTo>
                  <a:pt x="1366" y="659"/>
                </a:moveTo>
                <a:cubicBezTo>
                  <a:pt x="1362" y="659"/>
                  <a:pt x="1358" y="662"/>
                  <a:pt x="1358" y="666"/>
                </a:cubicBezTo>
                <a:cubicBezTo>
                  <a:pt x="1358" y="670"/>
                  <a:pt x="1362" y="673"/>
                  <a:pt x="1366" y="673"/>
                </a:cubicBezTo>
                <a:cubicBezTo>
                  <a:pt x="1370" y="673"/>
                  <a:pt x="1373" y="670"/>
                  <a:pt x="1373" y="666"/>
                </a:cubicBezTo>
                <a:cubicBezTo>
                  <a:pt x="1373" y="662"/>
                  <a:pt x="1370" y="659"/>
                  <a:pt x="1366" y="659"/>
                </a:cubicBezTo>
                <a:close/>
                <a:moveTo>
                  <a:pt x="1388" y="659"/>
                </a:moveTo>
                <a:cubicBezTo>
                  <a:pt x="1384" y="659"/>
                  <a:pt x="1380" y="662"/>
                  <a:pt x="1380" y="666"/>
                </a:cubicBezTo>
                <a:cubicBezTo>
                  <a:pt x="1380" y="670"/>
                  <a:pt x="1384" y="673"/>
                  <a:pt x="1388" y="673"/>
                </a:cubicBezTo>
                <a:cubicBezTo>
                  <a:pt x="1392" y="673"/>
                  <a:pt x="1396" y="670"/>
                  <a:pt x="1396" y="666"/>
                </a:cubicBezTo>
                <a:cubicBezTo>
                  <a:pt x="1396" y="662"/>
                  <a:pt x="1392" y="659"/>
                  <a:pt x="1388" y="659"/>
                </a:cubicBezTo>
                <a:close/>
                <a:moveTo>
                  <a:pt x="1366" y="679"/>
                </a:moveTo>
                <a:cubicBezTo>
                  <a:pt x="1362" y="679"/>
                  <a:pt x="1358" y="682"/>
                  <a:pt x="1358" y="686"/>
                </a:cubicBezTo>
                <a:cubicBezTo>
                  <a:pt x="1358" y="689"/>
                  <a:pt x="1362" y="692"/>
                  <a:pt x="1366" y="692"/>
                </a:cubicBezTo>
                <a:cubicBezTo>
                  <a:pt x="1370" y="692"/>
                  <a:pt x="1373" y="689"/>
                  <a:pt x="1373" y="686"/>
                </a:cubicBezTo>
                <a:cubicBezTo>
                  <a:pt x="1373" y="682"/>
                  <a:pt x="1370" y="679"/>
                  <a:pt x="1366" y="679"/>
                </a:cubicBezTo>
                <a:close/>
                <a:moveTo>
                  <a:pt x="1388" y="679"/>
                </a:moveTo>
                <a:cubicBezTo>
                  <a:pt x="1384" y="679"/>
                  <a:pt x="1380" y="682"/>
                  <a:pt x="1380" y="686"/>
                </a:cubicBezTo>
                <a:cubicBezTo>
                  <a:pt x="1380" y="689"/>
                  <a:pt x="1384" y="692"/>
                  <a:pt x="1388" y="692"/>
                </a:cubicBezTo>
                <a:cubicBezTo>
                  <a:pt x="1392" y="692"/>
                  <a:pt x="1396" y="689"/>
                  <a:pt x="1396" y="686"/>
                </a:cubicBezTo>
                <a:cubicBezTo>
                  <a:pt x="1396" y="682"/>
                  <a:pt x="1392" y="679"/>
                  <a:pt x="1388" y="679"/>
                </a:cubicBezTo>
                <a:close/>
                <a:moveTo>
                  <a:pt x="1366" y="698"/>
                </a:moveTo>
                <a:cubicBezTo>
                  <a:pt x="1362" y="698"/>
                  <a:pt x="1358" y="701"/>
                  <a:pt x="1358" y="705"/>
                </a:cubicBezTo>
                <a:cubicBezTo>
                  <a:pt x="1358" y="708"/>
                  <a:pt x="1362" y="711"/>
                  <a:pt x="1366" y="711"/>
                </a:cubicBezTo>
                <a:cubicBezTo>
                  <a:pt x="1370" y="711"/>
                  <a:pt x="1373" y="708"/>
                  <a:pt x="1373" y="705"/>
                </a:cubicBezTo>
                <a:cubicBezTo>
                  <a:pt x="1373" y="701"/>
                  <a:pt x="1370" y="698"/>
                  <a:pt x="1366" y="698"/>
                </a:cubicBezTo>
                <a:close/>
                <a:moveTo>
                  <a:pt x="1388" y="698"/>
                </a:moveTo>
                <a:cubicBezTo>
                  <a:pt x="1384" y="698"/>
                  <a:pt x="1380" y="701"/>
                  <a:pt x="1380" y="705"/>
                </a:cubicBezTo>
                <a:cubicBezTo>
                  <a:pt x="1380" y="708"/>
                  <a:pt x="1384" y="711"/>
                  <a:pt x="1388" y="711"/>
                </a:cubicBezTo>
                <a:cubicBezTo>
                  <a:pt x="1392" y="711"/>
                  <a:pt x="1396" y="708"/>
                  <a:pt x="1396" y="705"/>
                </a:cubicBezTo>
                <a:cubicBezTo>
                  <a:pt x="1396" y="701"/>
                  <a:pt x="1392" y="698"/>
                  <a:pt x="1388" y="698"/>
                </a:cubicBezTo>
                <a:close/>
                <a:moveTo>
                  <a:pt x="1366" y="717"/>
                </a:moveTo>
                <a:cubicBezTo>
                  <a:pt x="1362" y="717"/>
                  <a:pt x="1358" y="720"/>
                  <a:pt x="1358" y="724"/>
                </a:cubicBezTo>
                <a:cubicBezTo>
                  <a:pt x="1358" y="727"/>
                  <a:pt x="1362" y="730"/>
                  <a:pt x="1366" y="730"/>
                </a:cubicBezTo>
                <a:cubicBezTo>
                  <a:pt x="1370" y="730"/>
                  <a:pt x="1373" y="727"/>
                  <a:pt x="1373" y="724"/>
                </a:cubicBezTo>
                <a:cubicBezTo>
                  <a:pt x="1373" y="720"/>
                  <a:pt x="1370" y="717"/>
                  <a:pt x="1366" y="717"/>
                </a:cubicBezTo>
                <a:close/>
                <a:moveTo>
                  <a:pt x="1388" y="717"/>
                </a:moveTo>
                <a:cubicBezTo>
                  <a:pt x="1384" y="717"/>
                  <a:pt x="1380" y="720"/>
                  <a:pt x="1380" y="724"/>
                </a:cubicBezTo>
                <a:cubicBezTo>
                  <a:pt x="1380" y="727"/>
                  <a:pt x="1384" y="730"/>
                  <a:pt x="1388" y="730"/>
                </a:cubicBezTo>
                <a:cubicBezTo>
                  <a:pt x="1392" y="730"/>
                  <a:pt x="1396" y="727"/>
                  <a:pt x="1396" y="724"/>
                </a:cubicBezTo>
                <a:cubicBezTo>
                  <a:pt x="1396" y="720"/>
                  <a:pt x="1392" y="717"/>
                  <a:pt x="1388" y="717"/>
                </a:cubicBezTo>
                <a:close/>
                <a:moveTo>
                  <a:pt x="1366" y="736"/>
                </a:moveTo>
                <a:cubicBezTo>
                  <a:pt x="1362" y="736"/>
                  <a:pt x="1358" y="739"/>
                  <a:pt x="1358" y="743"/>
                </a:cubicBezTo>
                <a:cubicBezTo>
                  <a:pt x="1358" y="747"/>
                  <a:pt x="1362" y="750"/>
                  <a:pt x="1366" y="750"/>
                </a:cubicBezTo>
                <a:cubicBezTo>
                  <a:pt x="1370" y="750"/>
                  <a:pt x="1373" y="747"/>
                  <a:pt x="1373" y="743"/>
                </a:cubicBezTo>
                <a:cubicBezTo>
                  <a:pt x="1373" y="739"/>
                  <a:pt x="1370" y="736"/>
                  <a:pt x="1366" y="736"/>
                </a:cubicBezTo>
                <a:close/>
                <a:moveTo>
                  <a:pt x="1388" y="736"/>
                </a:moveTo>
                <a:cubicBezTo>
                  <a:pt x="1384" y="736"/>
                  <a:pt x="1380" y="739"/>
                  <a:pt x="1380" y="743"/>
                </a:cubicBezTo>
                <a:cubicBezTo>
                  <a:pt x="1380" y="747"/>
                  <a:pt x="1384" y="750"/>
                  <a:pt x="1388" y="750"/>
                </a:cubicBezTo>
                <a:cubicBezTo>
                  <a:pt x="1392" y="750"/>
                  <a:pt x="1396" y="747"/>
                  <a:pt x="1396" y="743"/>
                </a:cubicBezTo>
                <a:cubicBezTo>
                  <a:pt x="1396" y="739"/>
                  <a:pt x="1392" y="736"/>
                  <a:pt x="1388" y="736"/>
                </a:cubicBezTo>
                <a:close/>
                <a:moveTo>
                  <a:pt x="1232" y="757"/>
                </a:moveTo>
                <a:cubicBezTo>
                  <a:pt x="1228" y="757"/>
                  <a:pt x="1224" y="759"/>
                  <a:pt x="1224" y="763"/>
                </a:cubicBezTo>
                <a:cubicBezTo>
                  <a:pt x="1224" y="766"/>
                  <a:pt x="1228" y="769"/>
                  <a:pt x="1232" y="769"/>
                </a:cubicBezTo>
                <a:cubicBezTo>
                  <a:pt x="1236" y="769"/>
                  <a:pt x="1240" y="766"/>
                  <a:pt x="1240" y="763"/>
                </a:cubicBezTo>
                <a:cubicBezTo>
                  <a:pt x="1240" y="759"/>
                  <a:pt x="1236" y="757"/>
                  <a:pt x="1232" y="757"/>
                </a:cubicBezTo>
                <a:close/>
                <a:moveTo>
                  <a:pt x="1255" y="757"/>
                </a:moveTo>
                <a:cubicBezTo>
                  <a:pt x="1251" y="757"/>
                  <a:pt x="1247" y="759"/>
                  <a:pt x="1247" y="763"/>
                </a:cubicBezTo>
                <a:cubicBezTo>
                  <a:pt x="1247" y="766"/>
                  <a:pt x="1251" y="769"/>
                  <a:pt x="1255" y="769"/>
                </a:cubicBezTo>
                <a:cubicBezTo>
                  <a:pt x="1259" y="769"/>
                  <a:pt x="1263" y="766"/>
                  <a:pt x="1263" y="763"/>
                </a:cubicBezTo>
                <a:cubicBezTo>
                  <a:pt x="1263" y="759"/>
                  <a:pt x="1259" y="757"/>
                  <a:pt x="1255" y="757"/>
                </a:cubicBezTo>
                <a:close/>
                <a:moveTo>
                  <a:pt x="1232" y="775"/>
                </a:moveTo>
                <a:cubicBezTo>
                  <a:pt x="1228" y="775"/>
                  <a:pt x="1224" y="778"/>
                  <a:pt x="1224" y="782"/>
                </a:cubicBezTo>
                <a:cubicBezTo>
                  <a:pt x="1224" y="786"/>
                  <a:pt x="1228" y="789"/>
                  <a:pt x="1232" y="789"/>
                </a:cubicBezTo>
                <a:cubicBezTo>
                  <a:pt x="1236" y="789"/>
                  <a:pt x="1240" y="786"/>
                  <a:pt x="1240" y="782"/>
                </a:cubicBezTo>
                <a:cubicBezTo>
                  <a:pt x="1240" y="778"/>
                  <a:pt x="1236" y="775"/>
                  <a:pt x="1232" y="775"/>
                </a:cubicBezTo>
                <a:close/>
                <a:moveTo>
                  <a:pt x="1255" y="775"/>
                </a:moveTo>
                <a:cubicBezTo>
                  <a:pt x="1251" y="775"/>
                  <a:pt x="1247" y="778"/>
                  <a:pt x="1247" y="782"/>
                </a:cubicBezTo>
                <a:cubicBezTo>
                  <a:pt x="1247" y="786"/>
                  <a:pt x="1251" y="789"/>
                  <a:pt x="1255" y="789"/>
                </a:cubicBezTo>
                <a:cubicBezTo>
                  <a:pt x="1259" y="789"/>
                  <a:pt x="1263" y="786"/>
                  <a:pt x="1263" y="782"/>
                </a:cubicBezTo>
                <a:cubicBezTo>
                  <a:pt x="1263" y="778"/>
                  <a:pt x="1259" y="775"/>
                  <a:pt x="1255" y="775"/>
                </a:cubicBezTo>
                <a:close/>
                <a:moveTo>
                  <a:pt x="1232" y="795"/>
                </a:moveTo>
                <a:cubicBezTo>
                  <a:pt x="1228" y="795"/>
                  <a:pt x="1224" y="798"/>
                  <a:pt x="1224" y="801"/>
                </a:cubicBezTo>
                <a:cubicBezTo>
                  <a:pt x="1224" y="805"/>
                  <a:pt x="1228" y="808"/>
                  <a:pt x="1232" y="808"/>
                </a:cubicBezTo>
                <a:cubicBezTo>
                  <a:pt x="1236" y="808"/>
                  <a:pt x="1240" y="805"/>
                  <a:pt x="1240" y="801"/>
                </a:cubicBezTo>
                <a:cubicBezTo>
                  <a:pt x="1240" y="798"/>
                  <a:pt x="1236" y="795"/>
                  <a:pt x="1232" y="795"/>
                </a:cubicBezTo>
                <a:close/>
                <a:moveTo>
                  <a:pt x="1255" y="795"/>
                </a:moveTo>
                <a:cubicBezTo>
                  <a:pt x="1251" y="795"/>
                  <a:pt x="1247" y="798"/>
                  <a:pt x="1247" y="801"/>
                </a:cubicBezTo>
                <a:cubicBezTo>
                  <a:pt x="1247" y="805"/>
                  <a:pt x="1251" y="808"/>
                  <a:pt x="1255" y="808"/>
                </a:cubicBezTo>
                <a:cubicBezTo>
                  <a:pt x="1259" y="808"/>
                  <a:pt x="1263" y="805"/>
                  <a:pt x="1263" y="801"/>
                </a:cubicBezTo>
                <a:cubicBezTo>
                  <a:pt x="1263" y="798"/>
                  <a:pt x="1259" y="795"/>
                  <a:pt x="1255" y="795"/>
                </a:cubicBezTo>
                <a:close/>
                <a:moveTo>
                  <a:pt x="1232" y="814"/>
                </a:moveTo>
                <a:cubicBezTo>
                  <a:pt x="1228" y="814"/>
                  <a:pt x="1224" y="817"/>
                  <a:pt x="1224" y="821"/>
                </a:cubicBezTo>
                <a:cubicBezTo>
                  <a:pt x="1224" y="825"/>
                  <a:pt x="1228" y="828"/>
                  <a:pt x="1232" y="828"/>
                </a:cubicBezTo>
                <a:cubicBezTo>
                  <a:pt x="1236" y="828"/>
                  <a:pt x="1240" y="825"/>
                  <a:pt x="1240" y="821"/>
                </a:cubicBezTo>
                <a:cubicBezTo>
                  <a:pt x="1240" y="817"/>
                  <a:pt x="1236" y="814"/>
                  <a:pt x="1232" y="814"/>
                </a:cubicBezTo>
                <a:close/>
                <a:moveTo>
                  <a:pt x="1255" y="814"/>
                </a:moveTo>
                <a:cubicBezTo>
                  <a:pt x="1251" y="814"/>
                  <a:pt x="1247" y="817"/>
                  <a:pt x="1247" y="821"/>
                </a:cubicBezTo>
                <a:cubicBezTo>
                  <a:pt x="1247" y="825"/>
                  <a:pt x="1251" y="828"/>
                  <a:pt x="1255" y="828"/>
                </a:cubicBezTo>
                <a:cubicBezTo>
                  <a:pt x="1259" y="828"/>
                  <a:pt x="1263" y="825"/>
                  <a:pt x="1263" y="821"/>
                </a:cubicBezTo>
                <a:cubicBezTo>
                  <a:pt x="1263" y="817"/>
                  <a:pt x="1259" y="814"/>
                  <a:pt x="1255" y="814"/>
                </a:cubicBezTo>
                <a:close/>
                <a:moveTo>
                  <a:pt x="1232" y="833"/>
                </a:moveTo>
                <a:cubicBezTo>
                  <a:pt x="1228" y="833"/>
                  <a:pt x="1224" y="837"/>
                  <a:pt x="1224" y="840"/>
                </a:cubicBezTo>
                <a:cubicBezTo>
                  <a:pt x="1224" y="844"/>
                  <a:pt x="1228" y="847"/>
                  <a:pt x="1232" y="847"/>
                </a:cubicBezTo>
                <a:cubicBezTo>
                  <a:pt x="1236" y="847"/>
                  <a:pt x="1240" y="844"/>
                  <a:pt x="1240" y="840"/>
                </a:cubicBezTo>
                <a:cubicBezTo>
                  <a:pt x="1240" y="837"/>
                  <a:pt x="1236" y="833"/>
                  <a:pt x="1232" y="833"/>
                </a:cubicBezTo>
                <a:close/>
                <a:moveTo>
                  <a:pt x="1255" y="833"/>
                </a:moveTo>
                <a:cubicBezTo>
                  <a:pt x="1251" y="833"/>
                  <a:pt x="1247" y="837"/>
                  <a:pt x="1247" y="840"/>
                </a:cubicBezTo>
                <a:cubicBezTo>
                  <a:pt x="1247" y="844"/>
                  <a:pt x="1251" y="847"/>
                  <a:pt x="1255" y="847"/>
                </a:cubicBezTo>
                <a:cubicBezTo>
                  <a:pt x="1259" y="847"/>
                  <a:pt x="1263" y="844"/>
                  <a:pt x="1263" y="840"/>
                </a:cubicBezTo>
                <a:cubicBezTo>
                  <a:pt x="1263" y="837"/>
                  <a:pt x="1259" y="833"/>
                  <a:pt x="1255" y="833"/>
                </a:cubicBezTo>
                <a:close/>
                <a:moveTo>
                  <a:pt x="1232" y="853"/>
                </a:moveTo>
                <a:cubicBezTo>
                  <a:pt x="1228" y="853"/>
                  <a:pt x="1224" y="856"/>
                  <a:pt x="1224" y="860"/>
                </a:cubicBezTo>
                <a:cubicBezTo>
                  <a:pt x="1224" y="864"/>
                  <a:pt x="1228" y="867"/>
                  <a:pt x="1232" y="867"/>
                </a:cubicBezTo>
                <a:cubicBezTo>
                  <a:pt x="1236" y="867"/>
                  <a:pt x="1240" y="864"/>
                  <a:pt x="1240" y="860"/>
                </a:cubicBezTo>
                <a:cubicBezTo>
                  <a:pt x="1240" y="856"/>
                  <a:pt x="1236" y="853"/>
                  <a:pt x="1232" y="853"/>
                </a:cubicBezTo>
                <a:close/>
                <a:moveTo>
                  <a:pt x="1255" y="853"/>
                </a:moveTo>
                <a:cubicBezTo>
                  <a:pt x="1251" y="853"/>
                  <a:pt x="1247" y="856"/>
                  <a:pt x="1247" y="860"/>
                </a:cubicBezTo>
                <a:cubicBezTo>
                  <a:pt x="1247" y="864"/>
                  <a:pt x="1251" y="867"/>
                  <a:pt x="1255" y="867"/>
                </a:cubicBezTo>
                <a:cubicBezTo>
                  <a:pt x="1259" y="867"/>
                  <a:pt x="1263" y="864"/>
                  <a:pt x="1263" y="860"/>
                </a:cubicBezTo>
                <a:cubicBezTo>
                  <a:pt x="1263" y="856"/>
                  <a:pt x="1259" y="853"/>
                  <a:pt x="1255" y="853"/>
                </a:cubicBezTo>
                <a:close/>
                <a:moveTo>
                  <a:pt x="1232" y="873"/>
                </a:moveTo>
                <a:cubicBezTo>
                  <a:pt x="1228" y="873"/>
                  <a:pt x="1224" y="876"/>
                  <a:pt x="1224" y="879"/>
                </a:cubicBezTo>
                <a:cubicBezTo>
                  <a:pt x="1224" y="883"/>
                  <a:pt x="1228" y="885"/>
                  <a:pt x="1232" y="885"/>
                </a:cubicBezTo>
                <a:cubicBezTo>
                  <a:pt x="1236" y="885"/>
                  <a:pt x="1240" y="883"/>
                  <a:pt x="1240" y="879"/>
                </a:cubicBezTo>
                <a:cubicBezTo>
                  <a:pt x="1240" y="876"/>
                  <a:pt x="1236" y="873"/>
                  <a:pt x="1232" y="873"/>
                </a:cubicBezTo>
                <a:close/>
                <a:moveTo>
                  <a:pt x="1255" y="873"/>
                </a:moveTo>
                <a:cubicBezTo>
                  <a:pt x="1251" y="873"/>
                  <a:pt x="1247" y="876"/>
                  <a:pt x="1247" y="879"/>
                </a:cubicBezTo>
                <a:cubicBezTo>
                  <a:pt x="1247" y="883"/>
                  <a:pt x="1251" y="885"/>
                  <a:pt x="1255" y="885"/>
                </a:cubicBezTo>
                <a:cubicBezTo>
                  <a:pt x="1259" y="885"/>
                  <a:pt x="1263" y="883"/>
                  <a:pt x="1263" y="879"/>
                </a:cubicBezTo>
                <a:cubicBezTo>
                  <a:pt x="1263" y="876"/>
                  <a:pt x="1259" y="873"/>
                  <a:pt x="1255" y="873"/>
                </a:cubicBezTo>
                <a:close/>
                <a:moveTo>
                  <a:pt x="1232" y="891"/>
                </a:moveTo>
                <a:cubicBezTo>
                  <a:pt x="1228" y="891"/>
                  <a:pt x="1224" y="894"/>
                  <a:pt x="1224" y="898"/>
                </a:cubicBezTo>
                <a:cubicBezTo>
                  <a:pt x="1224" y="902"/>
                  <a:pt x="1228" y="905"/>
                  <a:pt x="1232" y="905"/>
                </a:cubicBezTo>
                <a:cubicBezTo>
                  <a:pt x="1236" y="905"/>
                  <a:pt x="1240" y="902"/>
                  <a:pt x="1240" y="898"/>
                </a:cubicBezTo>
                <a:cubicBezTo>
                  <a:pt x="1240" y="894"/>
                  <a:pt x="1236" y="891"/>
                  <a:pt x="1232" y="891"/>
                </a:cubicBezTo>
                <a:close/>
                <a:moveTo>
                  <a:pt x="1255" y="891"/>
                </a:moveTo>
                <a:cubicBezTo>
                  <a:pt x="1251" y="891"/>
                  <a:pt x="1247" y="894"/>
                  <a:pt x="1247" y="898"/>
                </a:cubicBezTo>
                <a:cubicBezTo>
                  <a:pt x="1247" y="902"/>
                  <a:pt x="1251" y="905"/>
                  <a:pt x="1255" y="905"/>
                </a:cubicBezTo>
                <a:cubicBezTo>
                  <a:pt x="1259" y="905"/>
                  <a:pt x="1263" y="902"/>
                  <a:pt x="1263" y="898"/>
                </a:cubicBezTo>
                <a:cubicBezTo>
                  <a:pt x="1263" y="894"/>
                  <a:pt x="1259" y="891"/>
                  <a:pt x="1255" y="891"/>
                </a:cubicBezTo>
                <a:close/>
                <a:moveTo>
                  <a:pt x="1277" y="757"/>
                </a:moveTo>
                <a:cubicBezTo>
                  <a:pt x="1273" y="757"/>
                  <a:pt x="1269" y="759"/>
                  <a:pt x="1269" y="763"/>
                </a:cubicBezTo>
                <a:cubicBezTo>
                  <a:pt x="1269" y="766"/>
                  <a:pt x="1273" y="769"/>
                  <a:pt x="1277" y="769"/>
                </a:cubicBezTo>
                <a:cubicBezTo>
                  <a:pt x="1281" y="769"/>
                  <a:pt x="1285" y="766"/>
                  <a:pt x="1285" y="763"/>
                </a:cubicBezTo>
                <a:cubicBezTo>
                  <a:pt x="1285" y="759"/>
                  <a:pt x="1281" y="757"/>
                  <a:pt x="1277" y="757"/>
                </a:cubicBezTo>
                <a:close/>
                <a:moveTo>
                  <a:pt x="1299" y="757"/>
                </a:moveTo>
                <a:cubicBezTo>
                  <a:pt x="1295" y="757"/>
                  <a:pt x="1291" y="759"/>
                  <a:pt x="1291" y="763"/>
                </a:cubicBezTo>
                <a:cubicBezTo>
                  <a:pt x="1291" y="766"/>
                  <a:pt x="1295" y="769"/>
                  <a:pt x="1299" y="769"/>
                </a:cubicBezTo>
                <a:cubicBezTo>
                  <a:pt x="1303" y="769"/>
                  <a:pt x="1307" y="766"/>
                  <a:pt x="1307" y="763"/>
                </a:cubicBezTo>
                <a:cubicBezTo>
                  <a:pt x="1307" y="759"/>
                  <a:pt x="1303" y="757"/>
                  <a:pt x="1299" y="757"/>
                </a:cubicBezTo>
                <a:close/>
                <a:moveTo>
                  <a:pt x="1277" y="775"/>
                </a:moveTo>
                <a:cubicBezTo>
                  <a:pt x="1273" y="775"/>
                  <a:pt x="1269" y="778"/>
                  <a:pt x="1269" y="782"/>
                </a:cubicBezTo>
                <a:cubicBezTo>
                  <a:pt x="1269" y="786"/>
                  <a:pt x="1273" y="789"/>
                  <a:pt x="1277" y="789"/>
                </a:cubicBezTo>
                <a:cubicBezTo>
                  <a:pt x="1281" y="789"/>
                  <a:pt x="1285" y="786"/>
                  <a:pt x="1285" y="782"/>
                </a:cubicBezTo>
                <a:cubicBezTo>
                  <a:pt x="1285" y="778"/>
                  <a:pt x="1281" y="775"/>
                  <a:pt x="1277" y="775"/>
                </a:cubicBezTo>
                <a:close/>
                <a:moveTo>
                  <a:pt x="1299" y="775"/>
                </a:moveTo>
                <a:cubicBezTo>
                  <a:pt x="1295" y="775"/>
                  <a:pt x="1291" y="778"/>
                  <a:pt x="1291" y="782"/>
                </a:cubicBezTo>
                <a:cubicBezTo>
                  <a:pt x="1291" y="786"/>
                  <a:pt x="1295" y="789"/>
                  <a:pt x="1299" y="789"/>
                </a:cubicBezTo>
                <a:cubicBezTo>
                  <a:pt x="1303" y="789"/>
                  <a:pt x="1307" y="786"/>
                  <a:pt x="1307" y="782"/>
                </a:cubicBezTo>
                <a:cubicBezTo>
                  <a:pt x="1307" y="778"/>
                  <a:pt x="1303" y="775"/>
                  <a:pt x="1299" y="775"/>
                </a:cubicBezTo>
                <a:close/>
                <a:moveTo>
                  <a:pt x="1277" y="795"/>
                </a:moveTo>
                <a:cubicBezTo>
                  <a:pt x="1273" y="795"/>
                  <a:pt x="1269" y="798"/>
                  <a:pt x="1269" y="801"/>
                </a:cubicBezTo>
                <a:cubicBezTo>
                  <a:pt x="1269" y="805"/>
                  <a:pt x="1273" y="808"/>
                  <a:pt x="1277" y="808"/>
                </a:cubicBezTo>
                <a:cubicBezTo>
                  <a:pt x="1281" y="808"/>
                  <a:pt x="1285" y="805"/>
                  <a:pt x="1285" y="801"/>
                </a:cubicBezTo>
                <a:cubicBezTo>
                  <a:pt x="1285" y="798"/>
                  <a:pt x="1281" y="795"/>
                  <a:pt x="1277" y="795"/>
                </a:cubicBezTo>
                <a:close/>
                <a:moveTo>
                  <a:pt x="1299" y="795"/>
                </a:moveTo>
                <a:cubicBezTo>
                  <a:pt x="1295" y="795"/>
                  <a:pt x="1291" y="798"/>
                  <a:pt x="1291" y="801"/>
                </a:cubicBezTo>
                <a:cubicBezTo>
                  <a:pt x="1291" y="805"/>
                  <a:pt x="1295" y="808"/>
                  <a:pt x="1299" y="808"/>
                </a:cubicBezTo>
                <a:cubicBezTo>
                  <a:pt x="1303" y="808"/>
                  <a:pt x="1307" y="805"/>
                  <a:pt x="1307" y="801"/>
                </a:cubicBezTo>
                <a:cubicBezTo>
                  <a:pt x="1307" y="798"/>
                  <a:pt x="1303" y="795"/>
                  <a:pt x="1299" y="795"/>
                </a:cubicBezTo>
                <a:close/>
                <a:moveTo>
                  <a:pt x="1277" y="814"/>
                </a:moveTo>
                <a:cubicBezTo>
                  <a:pt x="1273" y="814"/>
                  <a:pt x="1269" y="817"/>
                  <a:pt x="1269" y="821"/>
                </a:cubicBezTo>
                <a:cubicBezTo>
                  <a:pt x="1269" y="825"/>
                  <a:pt x="1273" y="828"/>
                  <a:pt x="1277" y="828"/>
                </a:cubicBezTo>
                <a:cubicBezTo>
                  <a:pt x="1281" y="828"/>
                  <a:pt x="1285" y="825"/>
                  <a:pt x="1285" y="821"/>
                </a:cubicBezTo>
                <a:cubicBezTo>
                  <a:pt x="1285" y="817"/>
                  <a:pt x="1281" y="814"/>
                  <a:pt x="1277" y="814"/>
                </a:cubicBezTo>
                <a:close/>
                <a:moveTo>
                  <a:pt x="1299" y="814"/>
                </a:moveTo>
                <a:cubicBezTo>
                  <a:pt x="1295" y="814"/>
                  <a:pt x="1291" y="817"/>
                  <a:pt x="1291" y="821"/>
                </a:cubicBezTo>
                <a:cubicBezTo>
                  <a:pt x="1291" y="825"/>
                  <a:pt x="1295" y="828"/>
                  <a:pt x="1299" y="828"/>
                </a:cubicBezTo>
                <a:cubicBezTo>
                  <a:pt x="1303" y="828"/>
                  <a:pt x="1307" y="825"/>
                  <a:pt x="1307" y="821"/>
                </a:cubicBezTo>
                <a:cubicBezTo>
                  <a:pt x="1307" y="817"/>
                  <a:pt x="1303" y="814"/>
                  <a:pt x="1299" y="814"/>
                </a:cubicBezTo>
                <a:close/>
                <a:moveTo>
                  <a:pt x="1277" y="833"/>
                </a:moveTo>
                <a:cubicBezTo>
                  <a:pt x="1273" y="833"/>
                  <a:pt x="1269" y="837"/>
                  <a:pt x="1269" y="840"/>
                </a:cubicBezTo>
                <a:cubicBezTo>
                  <a:pt x="1269" y="844"/>
                  <a:pt x="1273" y="847"/>
                  <a:pt x="1277" y="847"/>
                </a:cubicBezTo>
                <a:cubicBezTo>
                  <a:pt x="1281" y="847"/>
                  <a:pt x="1285" y="844"/>
                  <a:pt x="1285" y="840"/>
                </a:cubicBezTo>
                <a:cubicBezTo>
                  <a:pt x="1285" y="837"/>
                  <a:pt x="1281" y="833"/>
                  <a:pt x="1277" y="833"/>
                </a:cubicBezTo>
                <a:close/>
                <a:moveTo>
                  <a:pt x="1299" y="833"/>
                </a:moveTo>
                <a:cubicBezTo>
                  <a:pt x="1295" y="833"/>
                  <a:pt x="1291" y="837"/>
                  <a:pt x="1291" y="840"/>
                </a:cubicBezTo>
                <a:cubicBezTo>
                  <a:pt x="1291" y="844"/>
                  <a:pt x="1295" y="847"/>
                  <a:pt x="1299" y="847"/>
                </a:cubicBezTo>
                <a:cubicBezTo>
                  <a:pt x="1303" y="847"/>
                  <a:pt x="1307" y="844"/>
                  <a:pt x="1307" y="840"/>
                </a:cubicBezTo>
                <a:cubicBezTo>
                  <a:pt x="1307" y="837"/>
                  <a:pt x="1303" y="833"/>
                  <a:pt x="1299" y="833"/>
                </a:cubicBezTo>
                <a:close/>
                <a:moveTo>
                  <a:pt x="1277" y="853"/>
                </a:moveTo>
                <a:cubicBezTo>
                  <a:pt x="1273" y="853"/>
                  <a:pt x="1269" y="856"/>
                  <a:pt x="1269" y="860"/>
                </a:cubicBezTo>
                <a:cubicBezTo>
                  <a:pt x="1269" y="864"/>
                  <a:pt x="1273" y="867"/>
                  <a:pt x="1277" y="867"/>
                </a:cubicBezTo>
                <a:cubicBezTo>
                  <a:pt x="1281" y="867"/>
                  <a:pt x="1285" y="864"/>
                  <a:pt x="1285" y="860"/>
                </a:cubicBezTo>
                <a:cubicBezTo>
                  <a:pt x="1285" y="856"/>
                  <a:pt x="1281" y="853"/>
                  <a:pt x="1277" y="853"/>
                </a:cubicBezTo>
                <a:close/>
                <a:moveTo>
                  <a:pt x="1299" y="853"/>
                </a:moveTo>
                <a:cubicBezTo>
                  <a:pt x="1295" y="853"/>
                  <a:pt x="1291" y="856"/>
                  <a:pt x="1291" y="860"/>
                </a:cubicBezTo>
                <a:cubicBezTo>
                  <a:pt x="1291" y="864"/>
                  <a:pt x="1295" y="867"/>
                  <a:pt x="1299" y="867"/>
                </a:cubicBezTo>
                <a:cubicBezTo>
                  <a:pt x="1303" y="867"/>
                  <a:pt x="1307" y="864"/>
                  <a:pt x="1307" y="860"/>
                </a:cubicBezTo>
                <a:cubicBezTo>
                  <a:pt x="1307" y="856"/>
                  <a:pt x="1303" y="853"/>
                  <a:pt x="1299" y="853"/>
                </a:cubicBezTo>
                <a:close/>
                <a:moveTo>
                  <a:pt x="1277" y="873"/>
                </a:moveTo>
                <a:cubicBezTo>
                  <a:pt x="1273" y="873"/>
                  <a:pt x="1269" y="876"/>
                  <a:pt x="1269" y="879"/>
                </a:cubicBezTo>
                <a:cubicBezTo>
                  <a:pt x="1269" y="883"/>
                  <a:pt x="1273" y="885"/>
                  <a:pt x="1277" y="885"/>
                </a:cubicBezTo>
                <a:cubicBezTo>
                  <a:pt x="1281" y="885"/>
                  <a:pt x="1285" y="883"/>
                  <a:pt x="1285" y="879"/>
                </a:cubicBezTo>
                <a:cubicBezTo>
                  <a:pt x="1285" y="876"/>
                  <a:pt x="1281" y="873"/>
                  <a:pt x="1277" y="873"/>
                </a:cubicBezTo>
                <a:close/>
                <a:moveTo>
                  <a:pt x="1299" y="873"/>
                </a:moveTo>
                <a:cubicBezTo>
                  <a:pt x="1295" y="873"/>
                  <a:pt x="1291" y="876"/>
                  <a:pt x="1291" y="879"/>
                </a:cubicBezTo>
                <a:cubicBezTo>
                  <a:pt x="1291" y="883"/>
                  <a:pt x="1295" y="885"/>
                  <a:pt x="1299" y="885"/>
                </a:cubicBezTo>
                <a:cubicBezTo>
                  <a:pt x="1303" y="885"/>
                  <a:pt x="1307" y="883"/>
                  <a:pt x="1307" y="879"/>
                </a:cubicBezTo>
                <a:cubicBezTo>
                  <a:pt x="1307" y="876"/>
                  <a:pt x="1303" y="873"/>
                  <a:pt x="1299" y="873"/>
                </a:cubicBezTo>
                <a:close/>
                <a:moveTo>
                  <a:pt x="1277" y="891"/>
                </a:moveTo>
                <a:cubicBezTo>
                  <a:pt x="1273" y="891"/>
                  <a:pt x="1269" y="894"/>
                  <a:pt x="1269" y="898"/>
                </a:cubicBezTo>
                <a:cubicBezTo>
                  <a:pt x="1269" y="902"/>
                  <a:pt x="1273" y="905"/>
                  <a:pt x="1277" y="905"/>
                </a:cubicBezTo>
                <a:cubicBezTo>
                  <a:pt x="1281" y="905"/>
                  <a:pt x="1285" y="902"/>
                  <a:pt x="1285" y="898"/>
                </a:cubicBezTo>
                <a:cubicBezTo>
                  <a:pt x="1285" y="894"/>
                  <a:pt x="1281" y="891"/>
                  <a:pt x="1277" y="891"/>
                </a:cubicBezTo>
                <a:close/>
                <a:moveTo>
                  <a:pt x="1299" y="891"/>
                </a:moveTo>
                <a:cubicBezTo>
                  <a:pt x="1295" y="891"/>
                  <a:pt x="1291" y="894"/>
                  <a:pt x="1291" y="898"/>
                </a:cubicBezTo>
                <a:cubicBezTo>
                  <a:pt x="1291" y="902"/>
                  <a:pt x="1295" y="905"/>
                  <a:pt x="1299" y="905"/>
                </a:cubicBezTo>
                <a:cubicBezTo>
                  <a:pt x="1303" y="905"/>
                  <a:pt x="1307" y="902"/>
                  <a:pt x="1307" y="898"/>
                </a:cubicBezTo>
                <a:cubicBezTo>
                  <a:pt x="1307" y="894"/>
                  <a:pt x="1303" y="891"/>
                  <a:pt x="1299" y="891"/>
                </a:cubicBezTo>
                <a:close/>
                <a:moveTo>
                  <a:pt x="1321" y="757"/>
                </a:moveTo>
                <a:cubicBezTo>
                  <a:pt x="1317" y="757"/>
                  <a:pt x="1313" y="759"/>
                  <a:pt x="1313" y="763"/>
                </a:cubicBezTo>
                <a:cubicBezTo>
                  <a:pt x="1313" y="766"/>
                  <a:pt x="1317" y="769"/>
                  <a:pt x="1321" y="769"/>
                </a:cubicBezTo>
                <a:cubicBezTo>
                  <a:pt x="1325" y="769"/>
                  <a:pt x="1328" y="766"/>
                  <a:pt x="1328" y="763"/>
                </a:cubicBezTo>
                <a:cubicBezTo>
                  <a:pt x="1328" y="759"/>
                  <a:pt x="1325" y="757"/>
                  <a:pt x="1321" y="757"/>
                </a:cubicBezTo>
                <a:close/>
                <a:moveTo>
                  <a:pt x="1321" y="775"/>
                </a:moveTo>
                <a:cubicBezTo>
                  <a:pt x="1317" y="775"/>
                  <a:pt x="1313" y="778"/>
                  <a:pt x="1313" y="782"/>
                </a:cubicBezTo>
                <a:cubicBezTo>
                  <a:pt x="1313" y="786"/>
                  <a:pt x="1317" y="789"/>
                  <a:pt x="1321" y="789"/>
                </a:cubicBezTo>
                <a:cubicBezTo>
                  <a:pt x="1325" y="789"/>
                  <a:pt x="1328" y="786"/>
                  <a:pt x="1328" y="782"/>
                </a:cubicBezTo>
                <a:cubicBezTo>
                  <a:pt x="1328" y="778"/>
                  <a:pt x="1325" y="775"/>
                  <a:pt x="1321" y="775"/>
                </a:cubicBezTo>
                <a:close/>
                <a:moveTo>
                  <a:pt x="1344" y="775"/>
                </a:moveTo>
                <a:cubicBezTo>
                  <a:pt x="1339" y="775"/>
                  <a:pt x="1336" y="778"/>
                  <a:pt x="1336" y="782"/>
                </a:cubicBezTo>
                <a:cubicBezTo>
                  <a:pt x="1336" y="786"/>
                  <a:pt x="1339" y="789"/>
                  <a:pt x="1344" y="789"/>
                </a:cubicBezTo>
                <a:cubicBezTo>
                  <a:pt x="1348" y="789"/>
                  <a:pt x="1351" y="786"/>
                  <a:pt x="1351" y="782"/>
                </a:cubicBezTo>
                <a:cubicBezTo>
                  <a:pt x="1351" y="778"/>
                  <a:pt x="1348" y="775"/>
                  <a:pt x="1344" y="775"/>
                </a:cubicBezTo>
                <a:close/>
                <a:moveTo>
                  <a:pt x="1321" y="795"/>
                </a:moveTo>
                <a:cubicBezTo>
                  <a:pt x="1317" y="795"/>
                  <a:pt x="1313" y="798"/>
                  <a:pt x="1313" y="801"/>
                </a:cubicBezTo>
                <a:cubicBezTo>
                  <a:pt x="1313" y="805"/>
                  <a:pt x="1317" y="808"/>
                  <a:pt x="1321" y="808"/>
                </a:cubicBezTo>
                <a:cubicBezTo>
                  <a:pt x="1325" y="808"/>
                  <a:pt x="1328" y="805"/>
                  <a:pt x="1328" y="801"/>
                </a:cubicBezTo>
                <a:cubicBezTo>
                  <a:pt x="1328" y="798"/>
                  <a:pt x="1325" y="795"/>
                  <a:pt x="1321" y="795"/>
                </a:cubicBezTo>
                <a:close/>
                <a:moveTo>
                  <a:pt x="1344" y="795"/>
                </a:moveTo>
                <a:cubicBezTo>
                  <a:pt x="1339" y="795"/>
                  <a:pt x="1336" y="798"/>
                  <a:pt x="1336" y="801"/>
                </a:cubicBezTo>
                <a:cubicBezTo>
                  <a:pt x="1336" y="805"/>
                  <a:pt x="1339" y="808"/>
                  <a:pt x="1344" y="808"/>
                </a:cubicBezTo>
                <a:cubicBezTo>
                  <a:pt x="1348" y="808"/>
                  <a:pt x="1351" y="805"/>
                  <a:pt x="1351" y="801"/>
                </a:cubicBezTo>
                <a:cubicBezTo>
                  <a:pt x="1351" y="798"/>
                  <a:pt x="1348" y="795"/>
                  <a:pt x="1344" y="795"/>
                </a:cubicBezTo>
                <a:close/>
                <a:moveTo>
                  <a:pt x="1321" y="814"/>
                </a:moveTo>
                <a:cubicBezTo>
                  <a:pt x="1317" y="814"/>
                  <a:pt x="1313" y="817"/>
                  <a:pt x="1313" y="821"/>
                </a:cubicBezTo>
                <a:cubicBezTo>
                  <a:pt x="1313" y="825"/>
                  <a:pt x="1317" y="828"/>
                  <a:pt x="1321" y="828"/>
                </a:cubicBezTo>
                <a:cubicBezTo>
                  <a:pt x="1325" y="828"/>
                  <a:pt x="1328" y="825"/>
                  <a:pt x="1328" y="821"/>
                </a:cubicBezTo>
                <a:cubicBezTo>
                  <a:pt x="1328" y="817"/>
                  <a:pt x="1325" y="814"/>
                  <a:pt x="1321" y="814"/>
                </a:cubicBezTo>
                <a:close/>
                <a:moveTo>
                  <a:pt x="1344" y="814"/>
                </a:moveTo>
                <a:cubicBezTo>
                  <a:pt x="1339" y="814"/>
                  <a:pt x="1336" y="817"/>
                  <a:pt x="1336" y="821"/>
                </a:cubicBezTo>
                <a:cubicBezTo>
                  <a:pt x="1336" y="825"/>
                  <a:pt x="1339" y="828"/>
                  <a:pt x="1344" y="828"/>
                </a:cubicBezTo>
                <a:cubicBezTo>
                  <a:pt x="1348" y="828"/>
                  <a:pt x="1351" y="825"/>
                  <a:pt x="1351" y="821"/>
                </a:cubicBezTo>
                <a:cubicBezTo>
                  <a:pt x="1351" y="817"/>
                  <a:pt x="1348" y="814"/>
                  <a:pt x="1344" y="814"/>
                </a:cubicBezTo>
                <a:close/>
                <a:moveTo>
                  <a:pt x="1321" y="833"/>
                </a:moveTo>
                <a:cubicBezTo>
                  <a:pt x="1317" y="833"/>
                  <a:pt x="1313" y="837"/>
                  <a:pt x="1313" y="840"/>
                </a:cubicBezTo>
                <a:cubicBezTo>
                  <a:pt x="1313" y="844"/>
                  <a:pt x="1317" y="847"/>
                  <a:pt x="1321" y="847"/>
                </a:cubicBezTo>
                <a:cubicBezTo>
                  <a:pt x="1325" y="847"/>
                  <a:pt x="1328" y="844"/>
                  <a:pt x="1328" y="840"/>
                </a:cubicBezTo>
                <a:cubicBezTo>
                  <a:pt x="1328" y="837"/>
                  <a:pt x="1325" y="833"/>
                  <a:pt x="1321" y="833"/>
                </a:cubicBezTo>
                <a:close/>
                <a:moveTo>
                  <a:pt x="1344" y="833"/>
                </a:moveTo>
                <a:cubicBezTo>
                  <a:pt x="1339" y="833"/>
                  <a:pt x="1336" y="837"/>
                  <a:pt x="1336" y="840"/>
                </a:cubicBezTo>
                <a:cubicBezTo>
                  <a:pt x="1336" y="844"/>
                  <a:pt x="1339" y="847"/>
                  <a:pt x="1344" y="847"/>
                </a:cubicBezTo>
                <a:cubicBezTo>
                  <a:pt x="1348" y="847"/>
                  <a:pt x="1351" y="844"/>
                  <a:pt x="1351" y="840"/>
                </a:cubicBezTo>
                <a:cubicBezTo>
                  <a:pt x="1351" y="837"/>
                  <a:pt x="1348" y="833"/>
                  <a:pt x="1344" y="833"/>
                </a:cubicBezTo>
                <a:close/>
                <a:moveTo>
                  <a:pt x="1321" y="853"/>
                </a:moveTo>
                <a:cubicBezTo>
                  <a:pt x="1317" y="853"/>
                  <a:pt x="1313" y="856"/>
                  <a:pt x="1313" y="860"/>
                </a:cubicBezTo>
                <a:cubicBezTo>
                  <a:pt x="1313" y="864"/>
                  <a:pt x="1317" y="867"/>
                  <a:pt x="1321" y="867"/>
                </a:cubicBezTo>
                <a:cubicBezTo>
                  <a:pt x="1325" y="867"/>
                  <a:pt x="1328" y="864"/>
                  <a:pt x="1328" y="860"/>
                </a:cubicBezTo>
                <a:cubicBezTo>
                  <a:pt x="1328" y="856"/>
                  <a:pt x="1325" y="853"/>
                  <a:pt x="1321" y="853"/>
                </a:cubicBezTo>
                <a:close/>
                <a:moveTo>
                  <a:pt x="1344" y="853"/>
                </a:moveTo>
                <a:cubicBezTo>
                  <a:pt x="1339" y="853"/>
                  <a:pt x="1336" y="856"/>
                  <a:pt x="1336" y="860"/>
                </a:cubicBezTo>
                <a:cubicBezTo>
                  <a:pt x="1336" y="864"/>
                  <a:pt x="1339" y="867"/>
                  <a:pt x="1344" y="867"/>
                </a:cubicBezTo>
                <a:cubicBezTo>
                  <a:pt x="1348" y="867"/>
                  <a:pt x="1351" y="864"/>
                  <a:pt x="1351" y="860"/>
                </a:cubicBezTo>
                <a:cubicBezTo>
                  <a:pt x="1351" y="856"/>
                  <a:pt x="1348" y="853"/>
                  <a:pt x="1344" y="853"/>
                </a:cubicBezTo>
                <a:close/>
                <a:moveTo>
                  <a:pt x="1321" y="873"/>
                </a:moveTo>
                <a:cubicBezTo>
                  <a:pt x="1317" y="873"/>
                  <a:pt x="1313" y="876"/>
                  <a:pt x="1313" y="879"/>
                </a:cubicBezTo>
                <a:cubicBezTo>
                  <a:pt x="1313" y="883"/>
                  <a:pt x="1317" y="885"/>
                  <a:pt x="1321" y="885"/>
                </a:cubicBezTo>
                <a:cubicBezTo>
                  <a:pt x="1325" y="885"/>
                  <a:pt x="1328" y="883"/>
                  <a:pt x="1328" y="879"/>
                </a:cubicBezTo>
                <a:cubicBezTo>
                  <a:pt x="1328" y="876"/>
                  <a:pt x="1325" y="873"/>
                  <a:pt x="1321" y="873"/>
                </a:cubicBezTo>
                <a:close/>
                <a:moveTo>
                  <a:pt x="1344" y="873"/>
                </a:moveTo>
                <a:cubicBezTo>
                  <a:pt x="1339" y="873"/>
                  <a:pt x="1336" y="876"/>
                  <a:pt x="1336" y="879"/>
                </a:cubicBezTo>
                <a:cubicBezTo>
                  <a:pt x="1336" y="883"/>
                  <a:pt x="1339" y="885"/>
                  <a:pt x="1344" y="885"/>
                </a:cubicBezTo>
                <a:cubicBezTo>
                  <a:pt x="1348" y="885"/>
                  <a:pt x="1351" y="883"/>
                  <a:pt x="1351" y="879"/>
                </a:cubicBezTo>
                <a:cubicBezTo>
                  <a:pt x="1351" y="876"/>
                  <a:pt x="1348" y="873"/>
                  <a:pt x="1344" y="873"/>
                </a:cubicBezTo>
                <a:close/>
                <a:moveTo>
                  <a:pt x="1321" y="891"/>
                </a:moveTo>
                <a:cubicBezTo>
                  <a:pt x="1317" y="891"/>
                  <a:pt x="1313" y="894"/>
                  <a:pt x="1313" y="898"/>
                </a:cubicBezTo>
                <a:cubicBezTo>
                  <a:pt x="1313" y="902"/>
                  <a:pt x="1317" y="905"/>
                  <a:pt x="1321" y="905"/>
                </a:cubicBezTo>
                <a:cubicBezTo>
                  <a:pt x="1325" y="905"/>
                  <a:pt x="1328" y="902"/>
                  <a:pt x="1328" y="898"/>
                </a:cubicBezTo>
                <a:cubicBezTo>
                  <a:pt x="1328" y="894"/>
                  <a:pt x="1325" y="891"/>
                  <a:pt x="1321" y="891"/>
                </a:cubicBezTo>
                <a:close/>
                <a:moveTo>
                  <a:pt x="1344" y="891"/>
                </a:moveTo>
                <a:cubicBezTo>
                  <a:pt x="1339" y="891"/>
                  <a:pt x="1336" y="894"/>
                  <a:pt x="1336" y="898"/>
                </a:cubicBezTo>
                <a:cubicBezTo>
                  <a:pt x="1336" y="902"/>
                  <a:pt x="1339" y="905"/>
                  <a:pt x="1344" y="905"/>
                </a:cubicBezTo>
                <a:cubicBezTo>
                  <a:pt x="1348" y="905"/>
                  <a:pt x="1351" y="902"/>
                  <a:pt x="1351" y="898"/>
                </a:cubicBezTo>
                <a:cubicBezTo>
                  <a:pt x="1351" y="894"/>
                  <a:pt x="1348" y="891"/>
                  <a:pt x="1344" y="891"/>
                </a:cubicBezTo>
                <a:close/>
                <a:moveTo>
                  <a:pt x="1366" y="757"/>
                </a:moveTo>
                <a:cubicBezTo>
                  <a:pt x="1362" y="757"/>
                  <a:pt x="1358" y="759"/>
                  <a:pt x="1358" y="763"/>
                </a:cubicBezTo>
                <a:cubicBezTo>
                  <a:pt x="1358" y="766"/>
                  <a:pt x="1362" y="769"/>
                  <a:pt x="1366" y="769"/>
                </a:cubicBezTo>
                <a:cubicBezTo>
                  <a:pt x="1370" y="769"/>
                  <a:pt x="1373" y="766"/>
                  <a:pt x="1373" y="763"/>
                </a:cubicBezTo>
                <a:cubicBezTo>
                  <a:pt x="1373" y="759"/>
                  <a:pt x="1370" y="757"/>
                  <a:pt x="1366" y="757"/>
                </a:cubicBezTo>
                <a:close/>
                <a:moveTo>
                  <a:pt x="1388" y="757"/>
                </a:moveTo>
                <a:cubicBezTo>
                  <a:pt x="1384" y="757"/>
                  <a:pt x="1380" y="759"/>
                  <a:pt x="1380" y="763"/>
                </a:cubicBezTo>
                <a:cubicBezTo>
                  <a:pt x="1380" y="766"/>
                  <a:pt x="1384" y="769"/>
                  <a:pt x="1388" y="769"/>
                </a:cubicBezTo>
                <a:cubicBezTo>
                  <a:pt x="1392" y="769"/>
                  <a:pt x="1396" y="766"/>
                  <a:pt x="1396" y="763"/>
                </a:cubicBezTo>
                <a:cubicBezTo>
                  <a:pt x="1396" y="759"/>
                  <a:pt x="1392" y="757"/>
                  <a:pt x="1388" y="757"/>
                </a:cubicBezTo>
                <a:close/>
                <a:moveTo>
                  <a:pt x="1366" y="775"/>
                </a:moveTo>
                <a:cubicBezTo>
                  <a:pt x="1362" y="775"/>
                  <a:pt x="1358" y="778"/>
                  <a:pt x="1358" y="782"/>
                </a:cubicBezTo>
                <a:cubicBezTo>
                  <a:pt x="1358" y="786"/>
                  <a:pt x="1362" y="789"/>
                  <a:pt x="1366" y="789"/>
                </a:cubicBezTo>
                <a:cubicBezTo>
                  <a:pt x="1370" y="789"/>
                  <a:pt x="1373" y="786"/>
                  <a:pt x="1373" y="782"/>
                </a:cubicBezTo>
                <a:cubicBezTo>
                  <a:pt x="1373" y="778"/>
                  <a:pt x="1370" y="775"/>
                  <a:pt x="1366" y="775"/>
                </a:cubicBezTo>
                <a:close/>
                <a:moveTo>
                  <a:pt x="1388" y="775"/>
                </a:moveTo>
                <a:cubicBezTo>
                  <a:pt x="1384" y="775"/>
                  <a:pt x="1380" y="778"/>
                  <a:pt x="1380" y="782"/>
                </a:cubicBezTo>
                <a:cubicBezTo>
                  <a:pt x="1380" y="786"/>
                  <a:pt x="1384" y="789"/>
                  <a:pt x="1388" y="789"/>
                </a:cubicBezTo>
                <a:cubicBezTo>
                  <a:pt x="1392" y="789"/>
                  <a:pt x="1396" y="786"/>
                  <a:pt x="1396" y="782"/>
                </a:cubicBezTo>
                <a:cubicBezTo>
                  <a:pt x="1396" y="778"/>
                  <a:pt x="1392" y="775"/>
                  <a:pt x="1388" y="775"/>
                </a:cubicBezTo>
                <a:close/>
                <a:moveTo>
                  <a:pt x="1366" y="795"/>
                </a:moveTo>
                <a:cubicBezTo>
                  <a:pt x="1362" y="795"/>
                  <a:pt x="1358" y="798"/>
                  <a:pt x="1358" y="801"/>
                </a:cubicBezTo>
                <a:cubicBezTo>
                  <a:pt x="1358" y="805"/>
                  <a:pt x="1362" y="808"/>
                  <a:pt x="1366" y="808"/>
                </a:cubicBezTo>
                <a:cubicBezTo>
                  <a:pt x="1370" y="808"/>
                  <a:pt x="1373" y="805"/>
                  <a:pt x="1373" y="801"/>
                </a:cubicBezTo>
                <a:cubicBezTo>
                  <a:pt x="1373" y="798"/>
                  <a:pt x="1370" y="795"/>
                  <a:pt x="1366" y="795"/>
                </a:cubicBezTo>
                <a:close/>
                <a:moveTo>
                  <a:pt x="1388" y="795"/>
                </a:moveTo>
                <a:cubicBezTo>
                  <a:pt x="1384" y="795"/>
                  <a:pt x="1380" y="798"/>
                  <a:pt x="1380" y="801"/>
                </a:cubicBezTo>
                <a:cubicBezTo>
                  <a:pt x="1380" y="805"/>
                  <a:pt x="1384" y="808"/>
                  <a:pt x="1388" y="808"/>
                </a:cubicBezTo>
                <a:cubicBezTo>
                  <a:pt x="1392" y="808"/>
                  <a:pt x="1396" y="805"/>
                  <a:pt x="1396" y="801"/>
                </a:cubicBezTo>
                <a:cubicBezTo>
                  <a:pt x="1396" y="798"/>
                  <a:pt x="1392" y="795"/>
                  <a:pt x="1388" y="795"/>
                </a:cubicBezTo>
                <a:close/>
                <a:moveTo>
                  <a:pt x="1366" y="814"/>
                </a:moveTo>
                <a:cubicBezTo>
                  <a:pt x="1362" y="814"/>
                  <a:pt x="1358" y="817"/>
                  <a:pt x="1358" y="821"/>
                </a:cubicBezTo>
                <a:cubicBezTo>
                  <a:pt x="1358" y="825"/>
                  <a:pt x="1362" y="828"/>
                  <a:pt x="1366" y="828"/>
                </a:cubicBezTo>
                <a:cubicBezTo>
                  <a:pt x="1370" y="828"/>
                  <a:pt x="1373" y="825"/>
                  <a:pt x="1373" y="821"/>
                </a:cubicBezTo>
                <a:cubicBezTo>
                  <a:pt x="1373" y="817"/>
                  <a:pt x="1370" y="814"/>
                  <a:pt x="1366" y="814"/>
                </a:cubicBezTo>
                <a:close/>
                <a:moveTo>
                  <a:pt x="1388" y="814"/>
                </a:moveTo>
                <a:cubicBezTo>
                  <a:pt x="1384" y="814"/>
                  <a:pt x="1380" y="817"/>
                  <a:pt x="1380" y="821"/>
                </a:cubicBezTo>
                <a:cubicBezTo>
                  <a:pt x="1380" y="825"/>
                  <a:pt x="1384" y="828"/>
                  <a:pt x="1388" y="828"/>
                </a:cubicBezTo>
                <a:cubicBezTo>
                  <a:pt x="1392" y="828"/>
                  <a:pt x="1396" y="825"/>
                  <a:pt x="1396" y="821"/>
                </a:cubicBezTo>
                <a:cubicBezTo>
                  <a:pt x="1396" y="817"/>
                  <a:pt x="1392" y="814"/>
                  <a:pt x="1388" y="814"/>
                </a:cubicBezTo>
                <a:close/>
                <a:moveTo>
                  <a:pt x="1366" y="833"/>
                </a:moveTo>
                <a:cubicBezTo>
                  <a:pt x="1362" y="833"/>
                  <a:pt x="1358" y="837"/>
                  <a:pt x="1358" y="840"/>
                </a:cubicBezTo>
                <a:cubicBezTo>
                  <a:pt x="1358" y="844"/>
                  <a:pt x="1362" y="847"/>
                  <a:pt x="1366" y="847"/>
                </a:cubicBezTo>
                <a:cubicBezTo>
                  <a:pt x="1370" y="847"/>
                  <a:pt x="1373" y="844"/>
                  <a:pt x="1373" y="840"/>
                </a:cubicBezTo>
                <a:cubicBezTo>
                  <a:pt x="1373" y="837"/>
                  <a:pt x="1370" y="833"/>
                  <a:pt x="1366" y="833"/>
                </a:cubicBezTo>
                <a:close/>
                <a:moveTo>
                  <a:pt x="1388" y="833"/>
                </a:moveTo>
                <a:cubicBezTo>
                  <a:pt x="1384" y="833"/>
                  <a:pt x="1380" y="837"/>
                  <a:pt x="1380" y="840"/>
                </a:cubicBezTo>
                <a:cubicBezTo>
                  <a:pt x="1380" y="844"/>
                  <a:pt x="1384" y="847"/>
                  <a:pt x="1388" y="847"/>
                </a:cubicBezTo>
                <a:cubicBezTo>
                  <a:pt x="1392" y="847"/>
                  <a:pt x="1396" y="844"/>
                  <a:pt x="1396" y="840"/>
                </a:cubicBezTo>
                <a:cubicBezTo>
                  <a:pt x="1396" y="837"/>
                  <a:pt x="1392" y="833"/>
                  <a:pt x="1388" y="833"/>
                </a:cubicBezTo>
                <a:close/>
                <a:moveTo>
                  <a:pt x="1366" y="853"/>
                </a:moveTo>
                <a:cubicBezTo>
                  <a:pt x="1362" y="853"/>
                  <a:pt x="1358" y="856"/>
                  <a:pt x="1358" y="860"/>
                </a:cubicBezTo>
                <a:cubicBezTo>
                  <a:pt x="1358" y="864"/>
                  <a:pt x="1362" y="867"/>
                  <a:pt x="1366" y="867"/>
                </a:cubicBezTo>
                <a:cubicBezTo>
                  <a:pt x="1370" y="867"/>
                  <a:pt x="1373" y="864"/>
                  <a:pt x="1373" y="860"/>
                </a:cubicBezTo>
                <a:cubicBezTo>
                  <a:pt x="1373" y="856"/>
                  <a:pt x="1370" y="853"/>
                  <a:pt x="1366" y="853"/>
                </a:cubicBezTo>
                <a:close/>
                <a:moveTo>
                  <a:pt x="1388" y="853"/>
                </a:moveTo>
                <a:cubicBezTo>
                  <a:pt x="1384" y="853"/>
                  <a:pt x="1380" y="856"/>
                  <a:pt x="1380" y="860"/>
                </a:cubicBezTo>
                <a:cubicBezTo>
                  <a:pt x="1380" y="864"/>
                  <a:pt x="1384" y="867"/>
                  <a:pt x="1388" y="867"/>
                </a:cubicBezTo>
                <a:cubicBezTo>
                  <a:pt x="1392" y="867"/>
                  <a:pt x="1396" y="864"/>
                  <a:pt x="1396" y="860"/>
                </a:cubicBezTo>
                <a:cubicBezTo>
                  <a:pt x="1396" y="856"/>
                  <a:pt x="1392" y="853"/>
                  <a:pt x="1388" y="853"/>
                </a:cubicBezTo>
                <a:close/>
                <a:moveTo>
                  <a:pt x="1366" y="873"/>
                </a:moveTo>
                <a:cubicBezTo>
                  <a:pt x="1362" y="873"/>
                  <a:pt x="1358" y="876"/>
                  <a:pt x="1358" y="879"/>
                </a:cubicBezTo>
                <a:cubicBezTo>
                  <a:pt x="1358" y="883"/>
                  <a:pt x="1362" y="885"/>
                  <a:pt x="1366" y="885"/>
                </a:cubicBezTo>
                <a:cubicBezTo>
                  <a:pt x="1370" y="885"/>
                  <a:pt x="1373" y="883"/>
                  <a:pt x="1373" y="879"/>
                </a:cubicBezTo>
                <a:cubicBezTo>
                  <a:pt x="1373" y="876"/>
                  <a:pt x="1370" y="873"/>
                  <a:pt x="1366" y="873"/>
                </a:cubicBezTo>
                <a:close/>
                <a:moveTo>
                  <a:pt x="1366" y="891"/>
                </a:moveTo>
                <a:cubicBezTo>
                  <a:pt x="1362" y="891"/>
                  <a:pt x="1358" y="894"/>
                  <a:pt x="1358" y="898"/>
                </a:cubicBezTo>
                <a:cubicBezTo>
                  <a:pt x="1358" y="902"/>
                  <a:pt x="1362" y="905"/>
                  <a:pt x="1366" y="905"/>
                </a:cubicBezTo>
                <a:cubicBezTo>
                  <a:pt x="1370" y="905"/>
                  <a:pt x="1373" y="902"/>
                  <a:pt x="1373" y="898"/>
                </a:cubicBezTo>
                <a:cubicBezTo>
                  <a:pt x="1373" y="894"/>
                  <a:pt x="1370" y="891"/>
                  <a:pt x="1366" y="891"/>
                </a:cubicBezTo>
                <a:close/>
                <a:moveTo>
                  <a:pt x="1410" y="601"/>
                </a:moveTo>
                <a:cubicBezTo>
                  <a:pt x="1406" y="601"/>
                  <a:pt x="1402" y="604"/>
                  <a:pt x="1402" y="608"/>
                </a:cubicBezTo>
                <a:cubicBezTo>
                  <a:pt x="1402" y="612"/>
                  <a:pt x="1406" y="615"/>
                  <a:pt x="1410" y="615"/>
                </a:cubicBezTo>
                <a:cubicBezTo>
                  <a:pt x="1414" y="615"/>
                  <a:pt x="1417" y="612"/>
                  <a:pt x="1417" y="608"/>
                </a:cubicBezTo>
                <a:cubicBezTo>
                  <a:pt x="1417" y="604"/>
                  <a:pt x="1414" y="601"/>
                  <a:pt x="1410" y="601"/>
                </a:cubicBezTo>
                <a:close/>
                <a:moveTo>
                  <a:pt x="1432" y="601"/>
                </a:moveTo>
                <a:cubicBezTo>
                  <a:pt x="1428" y="601"/>
                  <a:pt x="1425" y="604"/>
                  <a:pt x="1425" y="608"/>
                </a:cubicBezTo>
                <a:cubicBezTo>
                  <a:pt x="1425" y="612"/>
                  <a:pt x="1428" y="615"/>
                  <a:pt x="1432" y="615"/>
                </a:cubicBezTo>
                <a:cubicBezTo>
                  <a:pt x="1437" y="615"/>
                  <a:pt x="1440" y="612"/>
                  <a:pt x="1440" y="608"/>
                </a:cubicBezTo>
                <a:cubicBezTo>
                  <a:pt x="1440" y="604"/>
                  <a:pt x="1437" y="601"/>
                  <a:pt x="1432" y="601"/>
                </a:cubicBezTo>
                <a:close/>
                <a:moveTo>
                  <a:pt x="1432" y="620"/>
                </a:moveTo>
                <a:cubicBezTo>
                  <a:pt x="1428" y="620"/>
                  <a:pt x="1425" y="623"/>
                  <a:pt x="1425" y="627"/>
                </a:cubicBezTo>
                <a:cubicBezTo>
                  <a:pt x="1425" y="631"/>
                  <a:pt x="1428" y="634"/>
                  <a:pt x="1432" y="634"/>
                </a:cubicBezTo>
                <a:cubicBezTo>
                  <a:pt x="1437" y="634"/>
                  <a:pt x="1440" y="631"/>
                  <a:pt x="1440" y="627"/>
                </a:cubicBezTo>
                <a:cubicBezTo>
                  <a:pt x="1440" y="623"/>
                  <a:pt x="1437" y="620"/>
                  <a:pt x="1432" y="620"/>
                </a:cubicBezTo>
                <a:close/>
                <a:moveTo>
                  <a:pt x="1410" y="640"/>
                </a:moveTo>
                <a:cubicBezTo>
                  <a:pt x="1406" y="640"/>
                  <a:pt x="1402" y="643"/>
                  <a:pt x="1402" y="647"/>
                </a:cubicBezTo>
                <a:cubicBezTo>
                  <a:pt x="1402" y="650"/>
                  <a:pt x="1406" y="653"/>
                  <a:pt x="1410" y="653"/>
                </a:cubicBezTo>
                <a:cubicBezTo>
                  <a:pt x="1414" y="653"/>
                  <a:pt x="1417" y="650"/>
                  <a:pt x="1417" y="647"/>
                </a:cubicBezTo>
                <a:cubicBezTo>
                  <a:pt x="1417" y="643"/>
                  <a:pt x="1414" y="640"/>
                  <a:pt x="1410" y="640"/>
                </a:cubicBezTo>
                <a:close/>
                <a:moveTo>
                  <a:pt x="1432" y="640"/>
                </a:moveTo>
                <a:cubicBezTo>
                  <a:pt x="1428" y="640"/>
                  <a:pt x="1425" y="643"/>
                  <a:pt x="1425" y="647"/>
                </a:cubicBezTo>
                <a:cubicBezTo>
                  <a:pt x="1425" y="650"/>
                  <a:pt x="1428" y="653"/>
                  <a:pt x="1432" y="653"/>
                </a:cubicBezTo>
                <a:cubicBezTo>
                  <a:pt x="1437" y="653"/>
                  <a:pt x="1440" y="650"/>
                  <a:pt x="1440" y="647"/>
                </a:cubicBezTo>
                <a:cubicBezTo>
                  <a:pt x="1440" y="643"/>
                  <a:pt x="1437" y="640"/>
                  <a:pt x="1432" y="640"/>
                </a:cubicBezTo>
                <a:close/>
                <a:moveTo>
                  <a:pt x="1410" y="659"/>
                </a:moveTo>
                <a:cubicBezTo>
                  <a:pt x="1406" y="659"/>
                  <a:pt x="1402" y="662"/>
                  <a:pt x="1402" y="666"/>
                </a:cubicBezTo>
                <a:cubicBezTo>
                  <a:pt x="1402" y="670"/>
                  <a:pt x="1406" y="673"/>
                  <a:pt x="1410" y="673"/>
                </a:cubicBezTo>
                <a:cubicBezTo>
                  <a:pt x="1414" y="673"/>
                  <a:pt x="1417" y="670"/>
                  <a:pt x="1417" y="666"/>
                </a:cubicBezTo>
                <a:cubicBezTo>
                  <a:pt x="1417" y="662"/>
                  <a:pt x="1414" y="659"/>
                  <a:pt x="1410" y="659"/>
                </a:cubicBezTo>
                <a:close/>
                <a:moveTo>
                  <a:pt x="1432" y="659"/>
                </a:moveTo>
                <a:cubicBezTo>
                  <a:pt x="1428" y="659"/>
                  <a:pt x="1425" y="662"/>
                  <a:pt x="1425" y="666"/>
                </a:cubicBezTo>
                <a:cubicBezTo>
                  <a:pt x="1425" y="670"/>
                  <a:pt x="1428" y="673"/>
                  <a:pt x="1432" y="673"/>
                </a:cubicBezTo>
                <a:cubicBezTo>
                  <a:pt x="1437" y="673"/>
                  <a:pt x="1440" y="670"/>
                  <a:pt x="1440" y="666"/>
                </a:cubicBezTo>
                <a:cubicBezTo>
                  <a:pt x="1440" y="662"/>
                  <a:pt x="1437" y="659"/>
                  <a:pt x="1432" y="659"/>
                </a:cubicBezTo>
                <a:close/>
                <a:moveTo>
                  <a:pt x="1410" y="679"/>
                </a:moveTo>
                <a:cubicBezTo>
                  <a:pt x="1406" y="679"/>
                  <a:pt x="1402" y="682"/>
                  <a:pt x="1402" y="686"/>
                </a:cubicBezTo>
                <a:cubicBezTo>
                  <a:pt x="1402" y="689"/>
                  <a:pt x="1406" y="692"/>
                  <a:pt x="1410" y="692"/>
                </a:cubicBezTo>
                <a:cubicBezTo>
                  <a:pt x="1414" y="692"/>
                  <a:pt x="1417" y="689"/>
                  <a:pt x="1417" y="686"/>
                </a:cubicBezTo>
                <a:cubicBezTo>
                  <a:pt x="1417" y="682"/>
                  <a:pt x="1414" y="679"/>
                  <a:pt x="1410" y="679"/>
                </a:cubicBezTo>
                <a:close/>
                <a:moveTo>
                  <a:pt x="1432" y="679"/>
                </a:moveTo>
                <a:cubicBezTo>
                  <a:pt x="1428" y="679"/>
                  <a:pt x="1425" y="682"/>
                  <a:pt x="1425" y="686"/>
                </a:cubicBezTo>
                <a:cubicBezTo>
                  <a:pt x="1425" y="689"/>
                  <a:pt x="1428" y="692"/>
                  <a:pt x="1432" y="692"/>
                </a:cubicBezTo>
                <a:cubicBezTo>
                  <a:pt x="1437" y="692"/>
                  <a:pt x="1440" y="689"/>
                  <a:pt x="1440" y="686"/>
                </a:cubicBezTo>
                <a:cubicBezTo>
                  <a:pt x="1440" y="682"/>
                  <a:pt x="1437" y="679"/>
                  <a:pt x="1432" y="679"/>
                </a:cubicBezTo>
                <a:close/>
                <a:moveTo>
                  <a:pt x="1410" y="698"/>
                </a:moveTo>
                <a:cubicBezTo>
                  <a:pt x="1406" y="698"/>
                  <a:pt x="1402" y="701"/>
                  <a:pt x="1402" y="705"/>
                </a:cubicBezTo>
                <a:cubicBezTo>
                  <a:pt x="1402" y="708"/>
                  <a:pt x="1406" y="711"/>
                  <a:pt x="1410" y="711"/>
                </a:cubicBezTo>
                <a:cubicBezTo>
                  <a:pt x="1414" y="711"/>
                  <a:pt x="1417" y="708"/>
                  <a:pt x="1417" y="705"/>
                </a:cubicBezTo>
                <a:cubicBezTo>
                  <a:pt x="1417" y="701"/>
                  <a:pt x="1414" y="698"/>
                  <a:pt x="1410" y="698"/>
                </a:cubicBezTo>
                <a:close/>
                <a:moveTo>
                  <a:pt x="1432" y="698"/>
                </a:moveTo>
                <a:cubicBezTo>
                  <a:pt x="1428" y="698"/>
                  <a:pt x="1425" y="701"/>
                  <a:pt x="1425" y="705"/>
                </a:cubicBezTo>
                <a:cubicBezTo>
                  <a:pt x="1425" y="708"/>
                  <a:pt x="1428" y="711"/>
                  <a:pt x="1432" y="711"/>
                </a:cubicBezTo>
                <a:cubicBezTo>
                  <a:pt x="1437" y="711"/>
                  <a:pt x="1440" y="708"/>
                  <a:pt x="1440" y="705"/>
                </a:cubicBezTo>
                <a:cubicBezTo>
                  <a:pt x="1440" y="701"/>
                  <a:pt x="1437" y="698"/>
                  <a:pt x="1432" y="698"/>
                </a:cubicBezTo>
                <a:close/>
                <a:moveTo>
                  <a:pt x="1410" y="717"/>
                </a:moveTo>
                <a:cubicBezTo>
                  <a:pt x="1406" y="717"/>
                  <a:pt x="1402" y="720"/>
                  <a:pt x="1402" y="724"/>
                </a:cubicBezTo>
                <a:cubicBezTo>
                  <a:pt x="1402" y="727"/>
                  <a:pt x="1406" y="730"/>
                  <a:pt x="1410" y="730"/>
                </a:cubicBezTo>
                <a:cubicBezTo>
                  <a:pt x="1414" y="730"/>
                  <a:pt x="1417" y="727"/>
                  <a:pt x="1417" y="724"/>
                </a:cubicBezTo>
                <a:cubicBezTo>
                  <a:pt x="1417" y="720"/>
                  <a:pt x="1414" y="717"/>
                  <a:pt x="1410" y="717"/>
                </a:cubicBezTo>
                <a:close/>
                <a:moveTo>
                  <a:pt x="1432" y="717"/>
                </a:moveTo>
                <a:cubicBezTo>
                  <a:pt x="1428" y="717"/>
                  <a:pt x="1425" y="720"/>
                  <a:pt x="1425" y="724"/>
                </a:cubicBezTo>
                <a:cubicBezTo>
                  <a:pt x="1425" y="727"/>
                  <a:pt x="1428" y="730"/>
                  <a:pt x="1432" y="730"/>
                </a:cubicBezTo>
                <a:cubicBezTo>
                  <a:pt x="1437" y="730"/>
                  <a:pt x="1440" y="727"/>
                  <a:pt x="1440" y="724"/>
                </a:cubicBezTo>
                <a:cubicBezTo>
                  <a:pt x="1440" y="720"/>
                  <a:pt x="1437" y="717"/>
                  <a:pt x="1432" y="717"/>
                </a:cubicBezTo>
                <a:close/>
                <a:moveTo>
                  <a:pt x="1410" y="736"/>
                </a:moveTo>
                <a:cubicBezTo>
                  <a:pt x="1406" y="736"/>
                  <a:pt x="1402" y="739"/>
                  <a:pt x="1402" y="743"/>
                </a:cubicBezTo>
                <a:cubicBezTo>
                  <a:pt x="1402" y="747"/>
                  <a:pt x="1406" y="750"/>
                  <a:pt x="1410" y="750"/>
                </a:cubicBezTo>
                <a:cubicBezTo>
                  <a:pt x="1414" y="750"/>
                  <a:pt x="1417" y="747"/>
                  <a:pt x="1417" y="743"/>
                </a:cubicBezTo>
                <a:cubicBezTo>
                  <a:pt x="1417" y="739"/>
                  <a:pt x="1414" y="736"/>
                  <a:pt x="1410" y="736"/>
                </a:cubicBezTo>
                <a:close/>
                <a:moveTo>
                  <a:pt x="1455" y="601"/>
                </a:moveTo>
                <a:cubicBezTo>
                  <a:pt x="1450" y="601"/>
                  <a:pt x="1447" y="604"/>
                  <a:pt x="1447" y="608"/>
                </a:cubicBezTo>
                <a:cubicBezTo>
                  <a:pt x="1447" y="612"/>
                  <a:pt x="1450" y="615"/>
                  <a:pt x="1455" y="615"/>
                </a:cubicBezTo>
                <a:cubicBezTo>
                  <a:pt x="1459" y="615"/>
                  <a:pt x="1462" y="612"/>
                  <a:pt x="1462" y="608"/>
                </a:cubicBezTo>
                <a:cubicBezTo>
                  <a:pt x="1462" y="604"/>
                  <a:pt x="1459" y="601"/>
                  <a:pt x="1455" y="601"/>
                </a:cubicBezTo>
                <a:close/>
                <a:moveTo>
                  <a:pt x="1477" y="601"/>
                </a:moveTo>
                <a:cubicBezTo>
                  <a:pt x="1472" y="601"/>
                  <a:pt x="1469" y="604"/>
                  <a:pt x="1469" y="608"/>
                </a:cubicBezTo>
                <a:cubicBezTo>
                  <a:pt x="1469" y="612"/>
                  <a:pt x="1472" y="615"/>
                  <a:pt x="1477" y="615"/>
                </a:cubicBezTo>
                <a:cubicBezTo>
                  <a:pt x="1481" y="615"/>
                  <a:pt x="1484" y="612"/>
                  <a:pt x="1484" y="608"/>
                </a:cubicBezTo>
                <a:cubicBezTo>
                  <a:pt x="1484" y="604"/>
                  <a:pt x="1481" y="601"/>
                  <a:pt x="1477" y="601"/>
                </a:cubicBezTo>
                <a:close/>
                <a:moveTo>
                  <a:pt x="1455" y="620"/>
                </a:moveTo>
                <a:cubicBezTo>
                  <a:pt x="1450" y="620"/>
                  <a:pt x="1447" y="623"/>
                  <a:pt x="1447" y="627"/>
                </a:cubicBezTo>
                <a:cubicBezTo>
                  <a:pt x="1447" y="631"/>
                  <a:pt x="1450" y="634"/>
                  <a:pt x="1455" y="634"/>
                </a:cubicBezTo>
                <a:cubicBezTo>
                  <a:pt x="1459" y="634"/>
                  <a:pt x="1462" y="631"/>
                  <a:pt x="1462" y="627"/>
                </a:cubicBezTo>
                <a:cubicBezTo>
                  <a:pt x="1462" y="623"/>
                  <a:pt x="1459" y="620"/>
                  <a:pt x="1455" y="620"/>
                </a:cubicBezTo>
                <a:close/>
                <a:moveTo>
                  <a:pt x="1477" y="620"/>
                </a:moveTo>
                <a:cubicBezTo>
                  <a:pt x="1472" y="620"/>
                  <a:pt x="1469" y="623"/>
                  <a:pt x="1469" y="627"/>
                </a:cubicBezTo>
                <a:cubicBezTo>
                  <a:pt x="1469" y="631"/>
                  <a:pt x="1472" y="634"/>
                  <a:pt x="1477" y="634"/>
                </a:cubicBezTo>
                <a:cubicBezTo>
                  <a:pt x="1481" y="634"/>
                  <a:pt x="1484" y="631"/>
                  <a:pt x="1484" y="627"/>
                </a:cubicBezTo>
                <a:cubicBezTo>
                  <a:pt x="1484" y="623"/>
                  <a:pt x="1481" y="620"/>
                  <a:pt x="1477" y="620"/>
                </a:cubicBezTo>
                <a:close/>
                <a:moveTo>
                  <a:pt x="1455" y="640"/>
                </a:moveTo>
                <a:cubicBezTo>
                  <a:pt x="1450" y="640"/>
                  <a:pt x="1447" y="643"/>
                  <a:pt x="1447" y="647"/>
                </a:cubicBezTo>
                <a:cubicBezTo>
                  <a:pt x="1447" y="650"/>
                  <a:pt x="1450" y="653"/>
                  <a:pt x="1455" y="653"/>
                </a:cubicBezTo>
                <a:cubicBezTo>
                  <a:pt x="1459" y="653"/>
                  <a:pt x="1462" y="650"/>
                  <a:pt x="1462" y="647"/>
                </a:cubicBezTo>
                <a:cubicBezTo>
                  <a:pt x="1462" y="643"/>
                  <a:pt x="1459" y="640"/>
                  <a:pt x="1455" y="640"/>
                </a:cubicBezTo>
                <a:close/>
                <a:moveTo>
                  <a:pt x="1455" y="659"/>
                </a:moveTo>
                <a:cubicBezTo>
                  <a:pt x="1450" y="659"/>
                  <a:pt x="1447" y="662"/>
                  <a:pt x="1447" y="666"/>
                </a:cubicBezTo>
                <a:cubicBezTo>
                  <a:pt x="1447" y="670"/>
                  <a:pt x="1450" y="673"/>
                  <a:pt x="1455" y="673"/>
                </a:cubicBezTo>
                <a:cubicBezTo>
                  <a:pt x="1459" y="673"/>
                  <a:pt x="1462" y="670"/>
                  <a:pt x="1462" y="666"/>
                </a:cubicBezTo>
                <a:cubicBezTo>
                  <a:pt x="1462" y="662"/>
                  <a:pt x="1459" y="659"/>
                  <a:pt x="1455" y="659"/>
                </a:cubicBezTo>
                <a:close/>
                <a:moveTo>
                  <a:pt x="1477" y="659"/>
                </a:moveTo>
                <a:cubicBezTo>
                  <a:pt x="1472" y="659"/>
                  <a:pt x="1469" y="662"/>
                  <a:pt x="1469" y="666"/>
                </a:cubicBezTo>
                <a:cubicBezTo>
                  <a:pt x="1469" y="670"/>
                  <a:pt x="1472" y="673"/>
                  <a:pt x="1477" y="673"/>
                </a:cubicBezTo>
                <a:cubicBezTo>
                  <a:pt x="1481" y="673"/>
                  <a:pt x="1484" y="670"/>
                  <a:pt x="1484" y="666"/>
                </a:cubicBezTo>
                <a:cubicBezTo>
                  <a:pt x="1484" y="662"/>
                  <a:pt x="1481" y="659"/>
                  <a:pt x="1477" y="659"/>
                </a:cubicBezTo>
                <a:close/>
                <a:moveTo>
                  <a:pt x="1455" y="679"/>
                </a:moveTo>
                <a:cubicBezTo>
                  <a:pt x="1450" y="679"/>
                  <a:pt x="1447" y="682"/>
                  <a:pt x="1447" y="686"/>
                </a:cubicBezTo>
                <a:cubicBezTo>
                  <a:pt x="1447" y="689"/>
                  <a:pt x="1450" y="692"/>
                  <a:pt x="1455" y="692"/>
                </a:cubicBezTo>
                <a:cubicBezTo>
                  <a:pt x="1459" y="692"/>
                  <a:pt x="1462" y="689"/>
                  <a:pt x="1462" y="686"/>
                </a:cubicBezTo>
                <a:cubicBezTo>
                  <a:pt x="1462" y="682"/>
                  <a:pt x="1459" y="679"/>
                  <a:pt x="1455" y="679"/>
                </a:cubicBezTo>
                <a:close/>
                <a:moveTo>
                  <a:pt x="1455" y="698"/>
                </a:moveTo>
                <a:cubicBezTo>
                  <a:pt x="1450" y="698"/>
                  <a:pt x="1447" y="701"/>
                  <a:pt x="1447" y="705"/>
                </a:cubicBezTo>
                <a:cubicBezTo>
                  <a:pt x="1447" y="708"/>
                  <a:pt x="1450" y="711"/>
                  <a:pt x="1455" y="711"/>
                </a:cubicBezTo>
                <a:cubicBezTo>
                  <a:pt x="1459" y="711"/>
                  <a:pt x="1462" y="708"/>
                  <a:pt x="1462" y="705"/>
                </a:cubicBezTo>
                <a:cubicBezTo>
                  <a:pt x="1462" y="701"/>
                  <a:pt x="1459" y="698"/>
                  <a:pt x="1455" y="698"/>
                </a:cubicBezTo>
                <a:close/>
                <a:moveTo>
                  <a:pt x="1498" y="601"/>
                </a:moveTo>
                <a:cubicBezTo>
                  <a:pt x="1494" y="601"/>
                  <a:pt x="1491" y="604"/>
                  <a:pt x="1491" y="608"/>
                </a:cubicBezTo>
                <a:cubicBezTo>
                  <a:pt x="1491" y="612"/>
                  <a:pt x="1494" y="615"/>
                  <a:pt x="1498" y="615"/>
                </a:cubicBezTo>
                <a:cubicBezTo>
                  <a:pt x="1503" y="615"/>
                  <a:pt x="1506" y="612"/>
                  <a:pt x="1506" y="608"/>
                </a:cubicBezTo>
                <a:cubicBezTo>
                  <a:pt x="1506" y="604"/>
                  <a:pt x="1503" y="601"/>
                  <a:pt x="1498" y="601"/>
                </a:cubicBezTo>
                <a:close/>
                <a:moveTo>
                  <a:pt x="1410" y="757"/>
                </a:moveTo>
                <a:cubicBezTo>
                  <a:pt x="1406" y="757"/>
                  <a:pt x="1402" y="759"/>
                  <a:pt x="1402" y="763"/>
                </a:cubicBezTo>
                <a:cubicBezTo>
                  <a:pt x="1402" y="766"/>
                  <a:pt x="1406" y="769"/>
                  <a:pt x="1410" y="769"/>
                </a:cubicBezTo>
                <a:cubicBezTo>
                  <a:pt x="1414" y="769"/>
                  <a:pt x="1417" y="766"/>
                  <a:pt x="1417" y="763"/>
                </a:cubicBezTo>
                <a:cubicBezTo>
                  <a:pt x="1417" y="759"/>
                  <a:pt x="1414" y="757"/>
                  <a:pt x="1410" y="757"/>
                </a:cubicBezTo>
                <a:close/>
                <a:moveTo>
                  <a:pt x="1432" y="873"/>
                </a:moveTo>
                <a:cubicBezTo>
                  <a:pt x="1428" y="873"/>
                  <a:pt x="1425" y="876"/>
                  <a:pt x="1425" y="879"/>
                </a:cubicBezTo>
                <a:cubicBezTo>
                  <a:pt x="1425" y="883"/>
                  <a:pt x="1428" y="885"/>
                  <a:pt x="1432" y="885"/>
                </a:cubicBezTo>
                <a:cubicBezTo>
                  <a:pt x="1437" y="885"/>
                  <a:pt x="1440" y="883"/>
                  <a:pt x="1440" y="879"/>
                </a:cubicBezTo>
                <a:cubicBezTo>
                  <a:pt x="1440" y="876"/>
                  <a:pt x="1437" y="873"/>
                  <a:pt x="1432" y="873"/>
                </a:cubicBezTo>
                <a:close/>
                <a:moveTo>
                  <a:pt x="1432" y="891"/>
                </a:moveTo>
                <a:cubicBezTo>
                  <a:pt x="1428" y="891"/>
                  <a:pt x="1425" y="894"/>
                  <a:pt x="1425" y="898"/>
                </a:cubicBezTo>
                <a:cubicBezTo>
                  <a:pt x="1425" y="902"/>
                  <a:pt x="1428" y="905"/>
                  <a:pt x="1432" y="905"/>
                </a:cubicBezTo>
                <a:cubicBezTo>
                  <a:pt x="1437" y="905"/>
                  <a:pt x="1440" y="902"/>
                  <a:pt x="1440" y="898"/>
                </a:cubicBezTo>
                <a:cubicBezTo>
                  <a:pt x="1440" y="894"/>
                  <a:pt x="1437" y="891"/>
                  <a:pt x="1432" y="891"/>
                </a:cubicBezTo>
                <a:close/>
                <a:moveTo>
                  <a:pt x="1455" y="853"/>
                </a:moveTo>
                <a:cubicBezTo>
                  <a:pt x="1450" y="853"/>
                  <a:pt x="1447" y="856"/>
                  <a:pt x="1447" y="860"/>
                </a:cubicBezTo>
                <a:cubicBezTo>
                  <a:pt x="1447" y="864"/>
                  <a:pt x="1450" y="867"/>
                  <a:pt x="1455" y="867"/>
                </a:cubicBezTo>
                <a:cubicBezTo>
                  <a:pt x="1459" y="867"/>
                  <a:pt x="1462" y="864"/>
                  <a:pt x="1462" y="860"/>
                </a:cubicBezTo>
                <a:cubicBezTo>
                  <a:pt x="1462" y="856"/>
                  <a:pt x="1459" y="853"/>
                  <a:pt x="1455" y="853"/>
                </a:cubicBezTo>
                <a:close/>
                <a:moveTo>
                  <a:pt x="1455" y="873"/>
                </a:moveTo>
                <a:cubicBezTo>
                  <a:pt x="1450" y="873"/>
                  <a:pt x="1447" y="876"/>
                  <a:pt x="1447" y="879"/>
                </a:cubicBezTo>
                <a:cubicBezTo>
                  <a:pt x="1447" y="883"/>
                  <a:pt x="1450" y="885"/>
                  <a:pt x="1455" y="885"/>
                </a:cubicBezTo>
                <a:cubicBezTo>
                  <a:pt x="1459" y="885"/>
                  <a:pt x="1462" y="883"/>
                  <a:pt x="1462" y="879"/>
                </a:cubicBezTo>
                <a:cubicBezTo>
                  <a:pt x="1462" y="876"/>
                  <a:pt x="1459" y="873"/>
                  <a:pt x="1455" y="873"/>
                </a:cubicBezTo>
                <a:close/>
                <a:moveTo>
                  <a:pt x="1455" y="891"/>
                </a:moveTo>
                <a:cubicBezTo>
                  <a:pt x="1450" y="891"/>
                  <a:pt x="1447" y="894"/>
                  <a:pt x="1447" y="898"/>
                </a:cubicBezTo>
                <a:cubicBezTo>
                  <a:pt x="1447" y="902"/>
                  <a:pt x="1450" y="905"/>
                  <a:pt x="1455" y="905"/>
                </a:cubicBezTo>
                <a:cubicBezTo>
                  <a:pt x="1459" y="905"/>
                  <a:pt x="1462" y="902"/>
                  <a:pt x="1462" y="898"/>
                </a:cubicBezTo>
                <a:cubicBezTo>
                  <a:pt x="1462" y="894"/>
                  <a:pt x="1459" y="891"/>
                  <a:pt x="1455" y="891"/>
                </a:cubicBezTo>
                <a:close/>
                <a:moveTo>
                  <a:pt x="675" y="911"/>
                </a:moveTo>
                <a:cubicBezTo>
                  <a:pt x="671" y="911"/>
                  <a:pt x="667" y="914"/>
                  <a:pt x="667" y="917"/>
                </a:cubicBezTo>
                <a:cubicBezTo>
                  <a:pt x="667" y="921"/>
                  <a:pt x="671" y="924"/>
                  <a:pt x="675" y="924"/>
                </a:cubicBezTo>
                <a:cubicBezTo>
                  <a:pt x="679" y="924"/>
                  <a:pt x="682" y="921"/>
                  <a:pt x="682" y="917"/>
                </a:cubicBezTo>
                <a:cubicBezTo>
                  <a:pt x="682" y="914"/>
                  <a:pt x="679" y="911"/>
                  <a:pt x="675" y="911"/>
                </a:cubicBezTo>
                <a:close/>
                <a:moveTo>
                  <a:pt x="675" y="930"/>
                </a:moveTo>
                <a:cubicBezTo>
                  <a:pt x="671" y="930"/>
                  <a:pt x="667" y="933"/>
                  <a:pt x="667" y="937"/>
                </a:cubicBezTo>
                <a:cubicBezTo>
                  <a:pt x="667" y="940"/>
                  <a:pt x="671" y="943"/>
                  <a:pt x="675" y="943"/>
                </a:cubicBezTo>
                <a:cubicBezTo>
                  <a:pt x="679" y="943"/>
                  <a:pt x="682" y="940"/>
                  <a:pt x="682" y="937"/>
                </a:cubicBezTo>
                <a:cubicBezTo>
                  <a:pt x="682" y="933"/>
                  <a:pt x="679" y="930"/>
                  <a:pt x="675" y="930"/>
                </a:cubicBezTo>
                <a:close/>
                <a:moveTo>
                  <a:pt x="675" y="950"/>
                </a:moveTo>
                <a:cubicBezTo>
                  <a:pt x="671" y="950"/>
                  <a:pt x="667" y="953"/>
                  <a:pt x="667" y="956"/>
                </a:cubicBezTo>
                <a:cubicBezTo>
                  <a:pt x="667" y="960"/>
                  <a:pt x="671" y="963"/>
                  <a:pt x="675" y="963"/>
                </a:cubicBezTo>
                <a:cubicBezTo>
                  <a:pt x="679" y="963"/>
                  <a:pt x="682" y="960"/>
                  <a:pt x="682" y="956"/>
                </a:cubicBezTo>
                <a:cubicBezTo>
                  <a:pt x="682" y="953"/>
                  <a:pt x="679" y="950"/>
                  <a:pt x="675" y="950"/>
                </a:cubicBezTo>
                <a:close/>
                <a:moveTo>
                  <a:pt x="675" y="969"/>
                </a:moveTo>
                <a:cubicBezTo>
                  <a:pt x="671" y="969"/>
                  <a:pt x="667" y="972"/>
                  <a:pt x="667" y="976"/>
                </a:cubicBezTo>
                <a:cubicBezTo>
                  <a:pt x="667" y="980"/>
                  <a:pt x="671" y="983"/>
                  <a:pt x="675" y="983"/>
                </a:cubicBezTo>
                <a:cubicBezTo>
                  <a:pt x="679" y="983"/>
                  <a:pt x="682" y="980"/>
                  <a:pt x="682" y="976"/>
                </a:cubicBezTo>
                <a:cubicBezTo>
                  <a:pt x="682" y="972"/>
                  <a:pt x="679" y="969"/>
                  <a:pt x="675" y="969"/>
                </a:cubicBezTo>
                <a:close/>
                <a:moveTo>
                  <a:pt x="675" y="988"/>
                </a:moveTo>
                <a:cubicBezTo>
                  <a:pt x="671" y="988"/>
                  <a:pt x="667" y="991"/>
                  <a:pt x="667" y="995"/>
                </a:cubicBezTo>
                <a:cubicBezTo>
                  <a:pt x="667" y="999"/>
                  <a:pt x="671" y="1002"/>
                  <a:pt x="675" y="1002"/>
                </a:cubicBezTo>
                <a:cubicBezTo>
                  <a:pt x="679" y="1002"/>
                  <a:pt x="682" y="999"/>
                  <a:pt x="682" y="995"/>
                </a:cubicBezTo>
                <a:cubicBezTo>
                  <a:pt x="682" y="991"/>
                  <a:pt x="679" y="988"/>
                  <a:pt x="675" y="988"/>
                </a:cubicBezTo>
                <a:close/>
                <a:moveTo>
                  <a:pt x="652" y="1008"/>
                </a:moveTo>
                <a:cubicBezTo>
                  <a:pt x="648" y="1008"/>
                  <a:pt x="645" y="1011"/>
                  <a:pt x="645" y="1014"/>
                </a:cubicBezTo>
                <a:cubicBezTo>
                  <a:pt x="645" y="1018"/>
                  <a:pt x="648" y="1021"/>
                  <a:pt x="652" y="1021"/>
                </a:cubicBezTo>
                <a:cubicBezTo>
                  <a:pt x="657" y="1021"/>
                  <a:pt x="660" y="1018"/>
                  <a:pt x="660" y="1014"/>
                </a:cubicBezTo>
                <a:cubicBezTo>
                  <a:pt x="660" y="1011"/>
                  <a:pt x="657" y="1008"/>
                  <a:pt x="652" y="1008"/>
                </a:cubicBezTo>
                <a:close/>
                <a:moveTo>
                  <a:pt x="675" y="1008"/>
                </a:moveTo>
                <a:cubicBezTo>
                  <a:pt x="671" y="1008"/>
                  <a:pt x="667" y="1011"/>
                  <a:pt x="667" y="1014"/>
                </a:cubicBezTo>
                <a:cubicBezTo>
                  <a:pt x="667" y="1018"/>
                  <a:pt x="671" y="1021"/>
                  <a:pt x="675" y="1021"/>
                </a:cubicBezTo>
                <a:cubicBezTo>
                  <a:pt x="679" y="1021"/>
                  <a:pt x="682" y="1018"/>
                  <a:pt x="682" y="1014"/>
                </a:cubicBezTo>
                <a:cubicBezTo>
                  <a:pt x="682" y="1011"/>
                  <a:pt x="679" y="1008"/>
                  <a:pt x="675" y="1008"/>
                </a:cubicBezTo>
                <a:close/>
                <a:moveTo>
                  <a:pt x="652" y="1026"/>
                </a:moveTo>
                <a:cubicBezTo>
                  <a:pt x="648" y="1026"/>
                  <a:pt x="645" y="1029"/>
                  <a:pt x="645" y="1033"/>
                </a:cubicBezTo>
                <a:cubicBezTo>
                  <a:pt x="645" y="1037"/>
                  <a:pt x="648" y="1040"/>
                  <a:pt x="652" y="1040"/>
                </a:cubicBezTo>
                <a:cubicBezTo>
                  <a:pt x="657" y="1040"/>
                  <a:pt x="660" y="1037"/>
                  <a:pt x="660" y="1033"/>
                </a:cubicBezTo>
                <a:cubicBezTo>
                  <a:pt x="660" y="1029"/>
                  <a:pt x="657" y="1026"/>
                  <a:pt x="652" y="1026"/>
                </a:cubicBezTo>
                <a:close/>
                <a:moveTo>
                  <a:pt x="675" y="1026"/>
                </a:moveTo>
                <a:cubicBezTo>
                  <a:pt x="671" y="1026"/>
                  <a:pt x="667" y="1029"/>
                  <a:pt x="667" y="1033"/>
                </a:cubicBezTo>
                <a:cubicBezTo>
                  <a:pt x="667" y="1037"/>
                  <a:pt x="671" y="1040"/>
                  <a:pt x="675" y="1040"/>
                </a:cubicBezTo>
                <a:cubicBezTo>
                  <a:pt x="679" y="1040"/>
                  <a:pt x="682" y="1037"/>
                  <a:pt x="682" y="1033"/>
                </a:cubicBezTo>
                <a:cubicBezTo>
                  <a:pt x="682" y="1029"/>
                  <a:pt x="679" y="1026"/>
                  <a:pt x="675" y="1026"/>
                </a:cubicBezTo>
                <a:close/>
                <a:moveTo>
                  <a:pt x="652" y="1046"/>
                </a:moveTo>
                <a:cubicBezTo>
                  <a:pt x="648" y="1046"/>
                  <a:pt x="645" y="1049"/>
                  <a:pt x="645" y="1053"/>
                </a:cubicBezTo>
                <a:cubicBezTo>
                  <a:pt x="645" y="1057"/>
                  <a:pt x="648" y="1060"/>
                  <a:pt x="652" y="1060"/>
                </a:cubicBezTo>
                <a:cubicBezTo>
                  <a:pt x="657" y="1060"/>
                  <a:pt x="660" y="1057"/>
                  <a:pt x="660" y="1053"/>
                </a:cubicBezTo>
                <a:cubicBezTo>
                  <a:pt x="660" y="1049"/>
                  <a:pt x="657" y="1046"/>
                  <a:pt x="652" y="1046"/>
                </a:cubicBezTo>
                <a:close/>
                <a:moveTo>
                  <a:pt x="675" y="1046"/>
                </a:moveTo>
                <a:cubicBezTo>
                  <a:pt x="671" y="1046"/>
                  <a:pt x="667" y="1049"/>
                  <a:pt x="667" y="1053"/>
                </a:cubicBezTo>
                <a:cubicBezTo>
                  <a:pt x="667" y="1057"/>
                  <a:pt x="671" y="1060"/>
                  <a:pt x="675" y="1060"/>
                </a:cubicBezTo>
                <a:cubicBezTo>
                  <a:pt x="679" y="1060"/>
                  <a:pt x="682" y="1057"/>
                  <a:pt x="682" y="1053"/>
                </a:cubicBezTo>
                <a:cubicBezTo>
                  <a:pt x="682" y="1049"/>
                  <a:pt x="679" y="1046"/>
                  <a:pt x="675" y="1046"/>
                </a:cubicBezTo>
                <a:close/>
                <a:moveTo>
                  <a:pt x="631" y="1104"/>
                </a:moveTo>
                <a:cubicBezTo>
                  <a:pt x="627" y="1104"/>
                  <a:pt x="623" y="1107"/>
                  <a:pt x="623" y="1111"/>
                </a:cubicBezTo>
                <a:cubicBezTo>
                  <a:pt x="623" y="1115"/>
                  <a:pt x="627" y="1118"/>
                  <a:pt x="631" y="1118"/>
                </a:cubicBezTo>
                <a:cubicBezTo>
                  <a:pt x="635" y="1118"/>
                  <a:pt x="638" y="1115"/>
                  <a:pt x="638" y="1111"/>
                </a:cubicBezTo>
                <a:cubicBezTo>
                  <a:pt x="638" y="1107"/>
                  <a:pt x="635" y="1104"/>
                  <a:pt x="631" y="1104"/>
                </a:cubicBezTo>
                <a:close/>
                <a:moveTo>
                  <a:pt x="631" y="1123"/>
                </a:moveTo>
                <a:cubicBezTo>
                  <a:pt x="627" y="1123"/>
                  <a:pt x="623" y="1127"/>
                  <a:pt x="623" y="1130"/>
                </a:cubicBezTo>
                <a:cubicBezTo>
                  <a:pt x="623" y="1134"/>
                  <a:pt x="627" y="1137"/>
                  <a:pt x="631" y="1137"/>
                </a:cubicBezTo>
                <a:cubicBezTo>
                  <a:pt x="635" y="1137"/>
                  <a:pt x="638" y="1134"/>
                  <a:pt x="638" y="1130"/>
                </a:cubicBezTo>
                <a:cubicBezTo>
                  <a:pt x="638" y="1127"/>
                  <a:pt x="635" y="1123"/>
                  <a:pt x="631" y="1123"/>
                </a:cubicBezTo>
                <a:close/>
                <a:moveTo>
                  <a:pt x="631" y="1144"/>
                </a:moveTo>
                <a:cubicBezTo>
                  <a:pt x="627" y="1144"/>
                  <a:pt x="623" y="1146"/>
                  <a:pt x="623" y="1150"/>
                </a:cubicBezTo>
                <a:cubicBezTo>
                  <a:pt x="623" y="1154"/>
                  <a:pt x="627" y="1157"/>
                  <a:pt x="631" y="1157"/>
                </a:cubicBezTo>
                <a:cubicBezTo>
                  <a:pt x="635" y="1157"/>
                  <a:pt x="638" y="1154"/>
                  <a:pt x="638" y="1150"/>
                </a:cubicBezTo>
                <a:cubicBezTo>
                  <a:pt x="638" y="1146"/>
                  <a:pt x="635" y="1144"/>
                  <a:pt x="631" y="1144"/>
                </a:cubicBezTo>
                <a:close/>
                <a:moveTo>
                  <a:pt x="652" y="1066"/>
                </a:moveTo>
                <a:cubicBezTo>
                  <a:pt x="648" y="1066"/>
                  <a:pt x="645" y="1069"/>
                  <a:pt x="645" y="1073"/>
                </a:cubicBezTo>
                <a:cubicBezTo>
                  <a:pt x="645" y="1076"/>
                  <a:pt x="648" y="1079"/>
                  <a:pt x="652" y="1079"/>
                </a:cubicBezTo>
                <a:cubicBezTo>
                  <a:pt x="657" y="1079"/>
                  <a:pt x="660" y="1076"/>
                  <a:pt x="660" y="1073"/>
                </a:cubicBezTo>
                <a:cubicBezTo>
                  <a:pt x="660" y="1069"/>
                  <a:pt x="657" y="1066"/>
                  <a:pt x="652" y="1066"/>
                </a:cubicBezTo>
                <a:close/>
                <a:moveTo>
                  <a:pt x="675" y="1066"/>
                </a:moveTo>
                <a:cubicBezTo>
                  <a:pt x="671" y="1066"/>
                  <a:pt x="667" y="1069"/>
                  <a:pt x="667" y="1073"/>
                </a:cubicBezTo>
                <a:cubicBezTo>
                  <a:pt x="667" y="1076"/>
                  <a:pt x="671" y="1079"/>
                  <a:pt x="675" y="1079"/>
                </a:cubicBezTo>
                <a:cubicBezTo>
                  <a:pt x="679" y="1079"/>
                  <a:pt x="682" y="1076"/>
                  <a:pt x="682" y="1073"/>
                </a:cubicBezTo>
                <a:cubicBezTo>
                  <a:pt x="682" y="1069"/>
                  <a:pt x="679" y="1066"/>
                  <a:pt x="675" y="1066"/>
                </a:cubicBezTo>
                <a:close/>
                <a:moveTo>
                  <a:pt x="652" y="1085"/>
                </a:moveTo>
                <a:cubicBezTo>
                  <a:pt x="648" y="1085"/>
                  <a:pt x="645" y="1088"/>
                  <a:pt x="645" y="1092"/>
                </a:cubicBezTo>
                <a:cubicBezTo>
                  <a:pt x="645" y="1095"/>
                  <a:pt x="648" y="1098"/>
                  <a:pt x="652" y="1098"/>
                </a:cubicBezTo>
                <a:cubicBezTo>
                  <a:pt x="657" y="1098"/>
                  <a:pt x="660" y="1095"/>
                  <a:pt x="660" y="1092"/>
                </a:cubicBezTo>
                <a:cubicBezTo>
                  <a:pt x="660" y="1088"/>
                  <a:pt x="657" y="1085"/>
                  <a:pt x="652" y="1085"/>
                </a:cubicBezTo>
                <a:close/>
                <a:moveTo>
                  <a:pt x="675" y="1085"/>
                </a:moveTo>
                <a:cubicBezTo>
                  <a:pt x="671" y="1085"/>
                  <a:pt x="667" y="1088"/>
                  <a:pt x="667" y="1092"/>
                </a:cubicBezTo>
                <a:cubicBezTo>
                  <a:pt x="667" y="1095"/>
                  <a:pt x="671" y="1098"/>
                  <a:pt x="675" y="1098"/>
                </a:cubicBezTo>
                <a:cubicBezTo>
                  <a:pt x="679" y="1098"/>
                  <a:pt x="682" y="1095"/>
                  <a:pt x="682" y="1092"/>
                </a:cubicBezTo>
                <a:cubicBezTo>
                  <a:pt x="682" y="1088"/>
                  <a:pt x="679" y="1085"/>
                  <a:pt x="675" y="1085"/>
                </a:cubicBezTo>
                <a:close/>
                <a:moveTo>
                  <a:pt x="652" y="1104"/>
                </a:moveTo>
                <a:cubicBezTo>
                  <a:pt x="648" y="1104"/>
                  <a:pt x="645" y="1107"/>
                  <a:pt x="645" y="1111"/>
                </a:cubicBezTo>
                <a:cubicBezTo>
                  <a:pt x="645" y="1115"/>
                  <a:pt x="648" y="1118"/>
                  <a:pt x="652" y="1118"/>
                </a:cubicBezTo>
                <a:cubicBezTo>
                  <a:pt x="657" y="1118"/>
                  <a:pt x="660" y="1115"/>
                  <a:pt x="660" y="1111"/>
                </a:cubicBezTo>
                <a:cubicBezTo>
                  <a:pt x="660" y="1107"/>
                  <a:pt x="657" y="1104"/>
                  <a:pt x="652" y="1104"/>
                </a:cubicBezTo>
                <a:close/>
                <a:moveTo>
                  <a:pt x="675" y="1104"/>
                </a:moveTo>
                <a:cubicBezTo>
                  <a:pt x="671" y="1104"/>
                  <a:pt x="667" y="1107"/>
                  <a:pt x="667" y="1111"/>
                </a:cubicBezTo>
                <a:cubicBezTo>
                  <a:pt x="667" y="1115"/>
                  <a:pt x="671" y="1118"/>
                  <a:pt x="675" y="1118"/>
                </a:cubicBezTo>
                <a:cubicBezTo>
                  <a:pt x="679" y="1118"/>
                  <a:pt x="682" y="1115"/>
                  <a:pt x="682" y="1111"/>
                </a:cubicBezTo>
                <a:cubicBezTo>
                  <a:pt x="682" y="1107"/>
                  <a:pt x="679" y="1104"/>
                  <a:pt x="675" y="1104"/>
                </a:cubicBezTo>
                <a:close/>
                <a:moveTo>
                  <a:pt x="652" y="1123"/>
                </a:moveTo>
                <a:cubicBezTo>
                  <a:pt x="648" y="1123"/>
                  <a:pt x="645" y="1127"/>
                  <a:pt x="645" y="1130"/>
                </a:cubicBezTo>
                <a:cubicBezTo>
                  <a:pt x="645" y="1134"/>
                  <a:pt x="648" y="1137"/>
                  <a:pt x="652" y="1137"/>
                </a:cubicBezTo>
                <a:cubicBezTo>
                  <a:pt x="657" y="1137"/>
                  <a:pt x="660" y="1134"/>
                  <a:pt x="660" y="1130"/>
                </a:cubicBezTo>
                <a:cubicBezTo>
                  <a:pt x="660" y="1127"/>
                  <a:pt x="657" y="1123"/>
                  <a:pt x="652" y="1123"/>
                </a:cubicBezTo>
                <a:close/>
                <a:moveTo>
                  <a:pt x="675" y="1123"/>
                </a:moveTo>
                <a:cubicBezTo>
                  <a:pt x="671" y="1123"/>
                  <a:pt x="667" y="1127"/>
                  <a:pt x="667" y="1130"/>
                </a:cubicBezTo>
                <a:cubicBezTo>
                  <a:pt x="667" y="1134"/>
                  <a:pt x="671" y="1137"/>
                  <a:pt x="675" y="1137"/>
                </a:cubicBezTo>
                <a:cubicBezTo>
                  <a:pt x="679" y="1137"/>
                  <a:pt x="682" y="1134"/>
                  <a:pt x="682" y="1130"/>
                </a:cubicBezTo>
                <a:cubicBezTo>
                  <a:pt x="682" y="1127"/>
                  <a:pt x="679" y="1123"/>
                  <a:pt x="675" y="1123"/>
                </a:cubicBezTo>
                <a:close/>
                <a:moveTo>
                  <a:pt x="652" y="1144"/>
                </a:moveTo>
                <a:cubicBezTo>
                  <a:pt x="648" y="1144"/>
                  <a:pt x="645" y="1146"/>
                  <a:pt x="645" y="1150"/>
                </a:cubicBezTo>
                <a:cubicBezTo>
                  <a:pt x="645" y="1154"/>
                  <a:pt x="648" y="1157"/>
                  <a:pt x="652" y="1157"/>
                </a:cubicBezTo>
                <a:cubicBezTo>
                  <a:pt x="657" y="1157"/>
                  <a:pt x="660" y="1154"/>
                  <a:pt x="660" y="1150"/>
                </a:cubicBezTo>
                <a:cubicBezTo>
                  <a:pt x="660" y="1146"/>
                  <a:pt x="657" y="1144"/>
                  <a:pt x="652" y="1144"/>
                </a:cubicBezTo>
                <a:close/>
                <a:moveTo>
                  <a:pt x="652" y="1163"/>
                </a:moveTo>
                <a:cubicBezTo>
                  <a:pt x="648" y="1163"/>
                  <a:pt x="645" y="1166"/>
                  <a:pt x="645" y="1169"/>
                </a:cubicBezTo>
                <a:cubicBezTo>
                  <a:pt x="645" y="1173"/>
                  <a:pt x="648" y="1176"/>
                  <a:pt x="652" y="1176"/>
                </a:cubicBezTo>
                <a:cubicBezTo>
                  <a:pt x="657" y="1176"/>
                  <a:pt x="660" y="1173"/>
                  <a:pt x="660" y="1169"/>
                </a:cubicBezTo>
                <a:cubicBezTo>
                  <a:pt x="660" y="1166"/>
                  <a:pt x="657" y="1163"/>
                  <a:pt x="652" y="1163"/>
                </a:cubicBezTo>
                <a:close/>
                <a:moveTo>
                  <a:pt x="675" y="1163"/>
                </a:moveTo>
                <a:cubicBezTo>
                  <a:pt x="671" y="1163"/>
                  <a:pt x="667" y="1166"/>
                  <a:pt x="667" y="1169"/>
                </a:cubicBezTo>
                <a:cubicBezTo>
                  <a:pt x="667" y="1173"/>
                  <a:pt x="671" y="1176"/>
                  <a:pt x="675" y="1176"/>
                </a:cubicBezTo>
                <a:cubicBezTo>
                  <a:pt x="679" y="1176"/>
                  <a:pt x="682" y="1173"/>
                  <a:pt x="682" y="1169"/>
                </a:cubicBezTo>
                <a:cubicBezTo>
                  <a:pt x="682" y="1166"/>
                  <a:pt x="679" y="1163"/>
                  <a:pt x="675" y="1163"/>
                </a:cubicBezTo>
                <a:close/>
                <a:moveTo>
                  <a:pt x="698" y="911"/>
                </a:moveTo>
                <a:cubicBezTo>
                  <a:pt x="693" y="911"/>
                  <a:pt x="690" y="914"/>
                  <a:pt x="690" y="917"/>
                </a:cubicBezTo>
                <a:cubicBezTo>
                  <a:pt x="690" y="921"/>
                  <a:pt x="693" y="924"/>
                  <a:pt x="698" y="924"/>
                </a:cubicBezTo>
                <a:cubicBezTo>
                  <a:pt x="702" y="924"/>
                  <a:pt x="705" y="921"/>
                  <a:pt x="705" y="917"/>
                </a:cubicBezTo>
                <a:cubicBezTo>
                  <a:pt x="705" y="914"/>
                  <a:pt x="702" y="911"/>
                  <a:pt x="698" y="911"/>
                </a:cubicBezTo>
                <a:close/>
                <a:moveTo>
                  <a:pt x="720" y="911"/>
                </a:moveTo>
                <a:cubicBezTo>
                  <a:pt x="715" y="911"/>
                  <a:pt x="712" y="914"/>
                  <a:pt x="712" y="917"/>
                </a:cubicBezTo>
                <a:cubicBezTo>
                  <a:pt x="712" y="921"/>
                  <a:pt x="715" y="924"/>
                  <a:pt x="720" y="924"/>
                </a:cubicBezTo>
                <a:cubicBezTo>
                  <a:pt x="724" y="924"/>
                  <a:pt x="727" y="921"/>
                  <a:pt x="727" y="917"/>
                </a:cubicBezTo>
                <a:cubicBezTo>
                  <a:pt x="727" y="914"/>
                  <a:pt x="724" y="911"/>
                  <a:pt x="720" y="911"/>
                </a:cubicBezTo>
                <a:close/>
                <a:moveTo>
                  <a:pt x="698" y="930"/>
                </a:moveTo>
                <a:cubicBezTo>
                  <a:pt x="693" y="930"/>
                  <a:pt x="690" y="933"/>
                  <a:pt x="690" y="937"/>
                </a:cubicBezTo>
                <a:cubicBezTo>
                  <a:pt x="690" y="940"/>
                  <a:pt x="693" y="943"/>
                  <a:pt x="698" y="943"/>
                </a:cubicBezTo>
                <a:cubicBezTo>
                  <a:pt x="702" y="943"/>
                  <a:pt x="705" y="940"/>
                  <a:pt x="705" y="937"/>
                </a:cubicBezTo>
                <a:cubicBezTo>
                  <a:pt x="705" y="933"/>
                  <a:pt x="702" y="930"/>
                  <a:pt x="698" y="930"/>
                </a:cubicBezTo>
                <a:close/>
                <a:moveTo>
                  <a:pt x="720" y="930"/>
                </a:moveTo>
                <a:cubicBezTo>
                  <a:pt x="715" y="930"/>
                  <a:pt x="712" y="933"/>
                  <a:pt x="712" y="937"/>
                </a:cubicBezTo>
                <a:cubicBezTo>
                  <a:pt x="712" y="940"/>
                  <a:pt x="715" y="943"/>
                  <a:pt x="720" y="943"/>
                </a:cubicBezTo>
                <a:cubicBezTo>
                  <a:pt x="724" y="943"/>
                  <a:pt x="727" y="940"/>
                  <a:pt x="727" y="937"/>
                </a:cubicBezTo>
                <a:cubicBezTo>
                  <a:pt x="727" y="933"/>
                  <a:pt x="724" y="930"/>
                  <a:pt x="720" y="930"/>
                </a:cubicBezTo>
                <a:close/>
                <a:moveTo>
                  <a:pt x="698" y="950"/>
                </a:moveTo>
                <a:cubicBezTo>
                  <a:pt x="693" y="950"/>
                  <a:pt x="690" y="953"/>
                  <a:pt x="690" y="956"/>
                </a:cubicBezTo>
                <a:cubicBezTo>
                  <a:pt x="690" y="960"/>
                  <a:pt x="693" y="963"/>
                  <a:pt x="698" y="963"/>
                </a:cubicBezTo>
                <a:cubicBezTo>
                  <a:pt x="702" y="963"/>
                  <a:pt x="705" y="960"/>
                  <a:pt x="705" y="956"/>
                </a:cubicBezTo>
                <a:cubicBezTo>
                  <a:pt x="705" y="953"/>
                  <a:pt x="702" y="950"/>
                  <a:pt x="698" y="950"/>
                </a:cubicBezTo>
                <a:close/>
                <a:moveTo>
                  <a:pt x="720" y="950"/>
                </a:moveTo>
                <a:cubicBezTo>
                  <a:pt x="715" y="950"/>
                  <a:pt x="712" y="953"/>
                  <a:pt x="712" y="956"/>
                </a:cubicBezTo>
                <a:cubicBezTo>
                  <a:pt x="712" y="960"/>
                  <a:pt x="715" y="963"/>
                  <a:pt x="720" y="963"/>
                </a:cubicBezTo>
                <a:cubicBezTo>
                  <a:pt x="724" y="963"/>
                  <a:pt x="727" y="960"/>
                  <a:pt x="727" y="956"/>
                </a:cubicBezTo>
                <a:cubicBezTo>
                  <a:pt x="727" y="953"/>
                  <a:pt x="724" y="950"/>
                  <a:pt x="720" y="950"/>
                </a:cubicBezTo>
                <a:close/>
                <a:moveTo>
                  <a:pt x="698" y="969"/>
                </a:moveTo>
                <a:cubicBezTo>
                  <a:pt x="693" y="969"/>
                  <a:pt x="690" y="972"/>
                  <a:pt x="690" y="976"/>
                </a:cubicBezTo>
                <a:cubicBezTo>
                  <a:pt x="690" y="980"/>
                  <a:pt x="693" y="983"/>
                  <a:pt x="698" y="983"/>
                </a:cubicBezTo>
                <a:cubicBezTo>
                  <a:pt x="702" y="983"/>
                  <a:pt x="705" y="980"/>
                  <a:pt x="705" y="976"/>
                </a:cubicBezTo>
                <a:cubicBezTo>
                  <a:pt x="705" y="972"/>
                  <a:pt x="702" y="969"/>
                  <a:pt x="698" y="969"/>
                </a:cubicBezTo>
                <a:close/>
                <a:moveTo>
                  <a:pt x="720" y="969"/>
                </a:moveTo>
                <a:cubicBezTo>
                  <a:pt x="715" y="969"/>
                  <a:pt x="712" y="972"/>
                  <a:pt x="712" y="976"/>
                </a:cubicBezTo>
                <a:cubicBezTo>
                  <a:pt x="712" y="980"/>
                  <a:pt x="715" y="983"/>
                  <a:pt x="720" y="983"/>
                </a:cubicBezTo>
                <a:cubicBezTo>
                  <a:pt x="724" y="983"/>
                  <a:pt x="727" y="980"/>
                  <a:pt x="727" y="976"/>
                </a:cubicBezTo>
                <a:cubicBezTo>
                  <a:pt x="727" y="972"/>
                  <a:pt x="724" y="969"/>
                  <a:pt x="720" y="969"/>
                </a:cubicBezTo>
                <a:close/>
                <a:moveTo>
                  <a:pt x="698" y="988"/>
                </a:moveTo>
                <a:cubicBezTo>
                  <a:pt x="693" y="988"/>
                  <a:pt x="690" y="991"/>
                  <a:pt x="690" y="995"/>
                </a:cubicBezTo>
                <a:cubicBezTo>
                  <a:pt x="690" y="999"/>
                  <a:pt x="693" y="1002"/>
                  <a:pt x="698" y="1002"/>
                </a:cubicBezTo>
                <a:cubicBezTo>
                  <a:pt x="702" y="1002"/>
                  <a:pt x="705" y="999"/>
                  <a:pt x="705" y="995"/>
                </a:cubicBezTo>
                <a:cubicBezTo>
                  <a:pt x="705" y="991"/>
                  <a:pt x="702" y="988"/>
                  <a:pt x="698" y="988"/>
                </a:cubicBezTo>
                <a:close/>
                <a:moveTo>
                  <a:pt x="720" y="988"/>
                </a:moveTo>
                <a:cubicBezTo>
                  <a:pt x="715" y="988"/>
                  <a:pt x="712" y="991"/>
                  <a:pt x="712" y="995"/>
                </a:cubicBezTo>
                <a:cubicBezTo>
                  <a:pt x="712" y="999"/>
                  <a:pt x="715" y="1002"/>
                  <a:pt x="720" y="1002"/>
                </a:cubicBezTo>
                <a:cubicBezTo>
                  <a:pt x="724" y="1002"/>
                  <a:pt x="727" y="999"/>
                  <a:pt x="727" y="995"/>
                </a:cubicBezTo>
                <a:cubicBezTo>
                  <a:pt x="727" y="991"/>
                  <a:pt x="724" y="988"/>
                  <a:pt x="720" y="988"/>
                </a:cubicBezTo>
                <a:close/>
                <a:moveTo>
                  <a:pt x="698" y="1008"/>
                </a:moveTo>
                <a:cubicBezTo>
                  <a:pt x="693" y="1008"/>
                  <a:pt x="690" y="1011"/>
                  <a:pt x="690" y="1014"/>
                </a:cubicBezTo>
                <a:cubicBezTo>
                  <a:pt x="690" y="1018"/>
                  <a:pt x="693" y="1021"/>
                  <a:pt x="698" y="1021"/>
                </a:cubicBezTo>
                <a:cubicBezTo>
                  <a:pt x="702" y="1021"/>
                  <a:pt x="705" y="1018"/>
                  <a:pt x="705" y="1014"/>
                </a:cubicBezTo>
                <a:cubicBezTo>
                  <a:pt x="705" y="1011"/>
                  <a:pt x="702" y="1008"/>
                  <a:pt x="698" y="1008"/>
                </a:cubicBezTo>
                <a:close/>
                <a:moveTo>
                  <a:pt x="720" y="1008"/>
                </a:moveTo>
                <a:cubicBezTo>
                  <a:pt x="715" y="1008"/>
                  <a:pt x="712" y="1011"/>
                  <a:pt x="712" y="1014"/>
                </a:cubicBezTo>
                <a:cubicBezTo>
                  <a:pt x="712" y="1018"/>
                  <a:pt x="715" y="1021"/>
                  <a:pt x="720" y="1021"/>
                </a:cubicBezTo>
                <a:cubicBezTo>
                  <a:pt x="724" y="1021"/>
                  <a:pt x="727" y="1018"/>
                  <a:pt x="727" y="1014"/>
                </a:cubicBezTo>
                <a:cubicBezTo>
                  <a:pt x="727" y="1011"/>
                  <a:pt x="724" y="1008"/>
                  <a:pt x="720" y="1008"/>
                </a:cubicBezTo>
                <a:close/>
                <a:moveTo>
                  <a:pt x="698" y="1026"/>
                </a:moveTo>
                <a:cubicBezTo>
                  <a:pt x="693" y="1026"/>
                  <a:pt x="690" y="1029"/>
                  <a:pt x="690" y="1033"/>
                </a:cubicBezTo>
                <a:cubicBezTo>
                  <a:pt x="690" y="1037"/>
                  <a:pt x="693" y="1040"/>
                  <a:pt x="698" y="1040"/>
                </a:cubicBezTo>
                <a:cubicBezTo>
                  <a:pt x="702" y="1040"/>
                  <a:pt x="705" y="1037"/>
                  <a:pt x="705" y="1033"/>
                </a:cubicBezTo>
                <a:cubicBezTo>
                  <a:pt x="705" y="1029"/>
                  <a:pt x="702" y="1026"/>
                  <a:pt x="698" y="1026"/>
                </a:cubicBezTo>
                <a:close/>
                <a:moveTo>
                  <a:pt x="720" y="1026"/>
                </a:moveTo>
                <a:cubicBezTo>
                  <a:pt x="715" y="1026"/>
                  <a:pt x="712" y="1029"/>
                  <a:pt x="712" y="1033"/>
                </a:cubicBezTo>
                <a:cubicBezTo>
                  <a:pt x="712" y="1037"/>
                  <a:pt x="715" y="1040"/>
                  <a:pt x="720" y="1040"/>
                </a:cubicBezTo>
                <a:cubicBezTo>
                  <a:pt x="724" y="1040"/>
                  <a:pt x="727" y="1037"/>
                  <a:pt x="727" y="1033"/>
                </a:cubicBezTo>
                <a:cubicBezTo>
                  <a:pt x="727" y="1029"/>
                  <a:pt x="724" y="1026"/>
                  <a:pt x="720" y="1026"/>
                </a:cubicBezTo>
                <a:close/>
                <a:moveTo>
                  <a:pt x="698" y="1046"/>
                </a:moveTo>
                <a:cubicBezTo>
                  <a:pt x="693" y="1046"/>
                  <a:pt x="690" y="1049"/>
                  <a:pt x="690" y="1053"/>
                </a:cubicBezTo>
                <a:cubicBezTo>
                  <a:pt x="690" y="1057"/>
                  <a:pt x="693" y="1060"/>
                  <a:pt x="698" y="1060"/>
                </a:cubicBezTo>
                <a:cubicBezTo>
                  <a:pt x="702" y="1060"/>
                  <a:pt x="705" y="1057"/>
                  <a:pt x="705" y="1053"/>
                </a:cubicBezTo>
                <a:cubicBezTo>
                  <a:pt x="705" y="1049"/>
                  <a:pt x="702" y="1046"/>
                  <a:pt x="698" y="1046"/>
                </a:cubicBezTo>
                <a:close/>
                <a:moveTo>
                  <a:pt x="720" y="1046"/>
                </a:moveTo>
                <a:cubicBezTo>
                  <a:pt x="715" y="1046"/>
                  <a:pt x="712" y="1049"/>
                  <a:pt x="712" y="1053"/>
                </a:cubicBezTo>
                <a:cubicBezTo>
                  <a:pt x="712" y="1057"/>
                  <a:pt x="715" y="1060"/>
                  <a:pt x="720" y="1060"/>
                </a:cubicBezTo>
                <a:cubicBezTo>
                  <a:pt x="724" y="1060"/>
                  <a:pt x="727" y="1057"/>
                  <a:pt x="727" y="1053"/>
                </a:cubicBezTo>
                <a:cubicBezTo>
                  <a:pt x="727" y="1049"/>
                  <a:pt x="724" y="1046"/>
                  <a:pt x="720" y="1046"/>
                </a:cubicBezTo>
                <a:close/>
                <a:moveTo>
                  <a:pt x="742" y="911"/>
                </a:moveTo>
                <a:cubicBezTo>
                  <a:pt x="738" y="911"/>
                  <a:pt x="735" y="914"/>
                  <a:pt x="735" y="918"/>
                </a:cubicBezTo>
                <a:cubicBezTo>
                  <a:pt x="735" y="922"/>
                  <a:pt x="738" y="925"/>
                  <a:pt x="742" y="925"/>
                </a:cubicBezTo>
                <a:cubicBezTo>
                  <a:pt x="747" y="925"/>
                  <a:pt x="750" y="922"/>
                  <a:pt x="750" y="918"/>
                </a:cubicBezTo>
                <a:cubicBezTo>
                  <a:pt x="750" y="914"/>
                  <a:pt x="747" y="911"/>
                  <a:pt x="742" y="911"/>
                </a:cubicBezTo>
                <a:close/>
                <a:moveTo>
                  <a:pt x="764" y="924"/>
                </a:moveTo>
                <a:cubicBezTo>
                  <a:pt x="768" y="924"/>
                  <a:pt x="771" y="922"/>
                  <a:pt x="771" y="917"/>
                </a:cubicBezTo>
                <a:cubicBezTo>
                  <a:pt x="771" y="914"/>
                  <a:pt x="769" y="911"/>
                  <a:pt x="765" y="911"/>
                </a:cubicBezTo>
                <a:cubicBezTo>
                  <a:pt x="761" y="911"/>
                  <a:pt x="756" y="914"/>
                  <a:pt x="756" y="917"/>
                </a:cubicBezTo>
                <a:cubicBezTo>
                  <a:pt x="756" y="922"/>
                  <a:pt x="759" y="924"/>
                  <a:pt x="764" y="924"/>
                </a:cubicBezTo>
                <a:close/>
                <a:moveTo>
                  <a:pt x="742" y="944"/>
                </a:moveTo>
                <a:cubicBezTo>
                  <a:pt x="746" y="944"/>
                  <a:pt x="749" y="940"/>
                  <a:pt x="749" y="937"/>
                </a:cubicBezTo>
                <a:cubicBezTo>
                  <a:pt x="749" y="933"/>
                  <a:pt x="746" y="930"/>
                  <a:pt x="741" y="930"/>
                </a:cubicBezTo>
                <a:cubicBezTo>
                  <a:pt x="737" y="930"/>
                  <a:pt x="734" y="933"/>
                  <a:pt x="734" y="937"/>
                </a:cubicBezTo>
                <a:cubicBezTo>
                  <a:pt x="734" y="940"/>
                  <a:pt x="738" y="944"/>
                  <a:pt x="742" y="944"/>
                </a:cubicBezTo>
                <a:close/>
                <a:moveTo>
                  <a:pt x="764" y="943"/>
                </a:moveTo>
                <a:cubicBezTo>
                  <a:pt x="768" y="943"/>
                  <a:pt x="771" y="940"/>
                  <a:pt x="771" y="937"/>
                </a:cubicBezTo>
                <a:cubicBezTo>
                  <a:pt x="771" y="933"/>
                  <a:pt x="769" y="931"/>
                  <a:pt x="765" y="931"/>
                </a:cubicBezTo>
                <a:cubicBezTo>
                  <a:pt x="761" y="931"/>
                  <a:pt x="756" y="933"/>
                  <a:pt x="756" y="937"/>
                </a:cubicBezTo>
                <a:cubicBezTo>
                  <a:pt x="756" y="940"/>
                  <a:pt x="759" y="943"/>
                  <a:pt x="764" y="943"/>
                </a:cubicBezTo>
                <a:close/>
                <a:moveTo>
                  <a:pt x="742" y="950"/>
                </a:moveTo>
                <a:cubicBezTo>
                  <a:pt x="738" y="950"/>
                  <a:pt x="735" y="953"/>
                  <a:pt x="735" y="957"/>
                </a:cubicBezTo>
                <a:cubicBezTo>
                  <a:pt x="735" y="961"/>
                  <a:pt x="738" y="964"/>
                  <a:pt x="742" y="964"/>
                </a:cubicBezTo>
                <a:cubicBezTo>
                  <a:pt x="747" y="964"/>
                  <a:pt x="750" y="961"/>
                  <a:pt x="750" y="957"/>
                </a:cubicBezTo>
                <a:cubicBezTo>
                  <a:pt x="750" y="953"/>
                  <a:pt x="747" y="950"/>
                  <a:pt x="742" y="950"/>
                </a:cubicBezTo>
                <a:close/>
                <a:moveTo>
                  <a:pt x="765" y="950"/>
                </a:moveTo>
                <a:cubicBezTo>
                  <a:pt x="761" y="950"/>
                  <a:pt x="758" y="953"/>
                  <a:pt x="758" y="957"/>
                </a:cubicBezTo>
                <a:cubicBezTo>
                  <a:pt x="758" y="961"/>
                  <a:pt x="761" y="964"/>
                  <a:pt x="765" y="964"/>
                </a:cubicBezTo>
                <a:cubicBezTo>
                  <a:pt x="770" y="964"/>
                  <a:pt x="773" y="961"/>
                  <a:pt x="773" y="957"/>
                </a:cubicBezTo>
                <a:cubicBezTo>
                  <a:pt x="773" y="953"/>
                  <a:pt x="770" y="950"/>
                  <a:pt x="765" y="950"/>
                </a:cubicBezTo>
                <a:close/>
                <a:moveTo>
                  <a:pt x="742" y="970"/>
                </a:moveTo>
                <a:cubicBezTo>
                  <a:pt x="738" y="970"/>
                  <a:pt x="735" y="973"/>
                  <a:pt x="735" y="977"/>
                </a:cubicBezTo>
                <a:cubicBezTo>
                  <a:pt x="735" y="980"/>
                  <a:pt x="738" y="983"/>
                  <a:pt x="742" y="983"/>
                </a:cubicBezTo>
                <a:cubicBezTo>
                  <a:pt x="747" y="983"/>
                  <a:pt x="750" y="980"/>
                  <a:pt x="750" y="977"/>
                </a:cubicBezTo>
                <a:cubicBezTo>
                  <a:pt x="750" y="973"/>
                  <a:pt x="747" y="970"/>
                  <a:pt x="742" y="970"/>
                </a:cubicBezTo>
                <a:close/>
                <a:moveTo>
                  <a:pt x="765" y="970"/>
                </a:moveTo>
                <a:cubicBezTo>
                  <a:pt x="761" y="970"/>
                  <a:pt x="758" y="973"/>
                  <a:pt x="758" y="977"/>
                </a:cubicBezTo>
                <a:cubicBezTo>
                  <a:pt x="758" y="980"/>
                  <a:pt x="761" y="983"/>
                  <a:pt x="765" y="983"/>
                </a:cubicBezTo>
                <a:cubicBezTo>
                  <a:pt x="770" y="983"/>
                  <a:pt x="773" y="980"/>
                  <a:pt x="773" y="977"/>
                </a:cubicBezTo>
                <a:cubicBezTo>
                  <a:pt x="773" y="973"/>
                  <a:pt x="770" y="970"/>
                  <a:pt x="765" y="970"/>
                </a:cubicBezTo>
                <a:close/>
                <a:moveTo>
                  <a:pt x="742" y="989"/>
                </a:moveTo>
                <a:cubicBezTo>
                  <a:pt x="738" y="989"/>
                  <a:pt x="735" y="992"/>
                  <a:pt x="735" y="996"/>
                </a:cubicBezTo>
                <a:cubicBezTo>
                  <a:pt x="735" y="1000"/>
                  <a:pt x="738" y="1002"/>
                  <a:pt x="742" y="1002"/>
                </a:cubicBezTo>
                <a:cubicBezTo>
                  <a:pt x="747" y="1002"/>
                  <a:pt x="750" y="1000"/>
                  <a:pt x="750" y="996"/>
                </a:cubicBezTo>
                <a:cubicBezTo>
                  <a:pt x="750" y="992"/>
                  <a:pt x="747" y="989"/>
                  <a:pt x="742" y="989"/>
                </a:cubicBezTo>
                <a:close/>
                <a:moveTo>
                  <a:pt x="765" y="989"/>
                </a:moveTo>
                <a:cubicBezTo>
                  <a:pt x="761" y="989"/>
                  <a:pt x="758" y="992"/>
                  <a:pt x="758" y="996"/>
                </a:cubicBezTo>
                <a:cubicBezTo>
                  <a:pt x="758" y="1000"/>
                  <a:pt x="761" y="1002"/>
                  <a:pt x="765" y="1002"/>
                </a:cubicBezTo>
                <a:cubicBezTo>
                  <a:pt x="770" y="1002"/>
                  <a:pt x="773" y="1000"/>
                  <a:pt x="773" y="996"/>
                </a:cubicBezTo>
                <a:cubicBezTo>
                  <a:pt x="773" y="992"/>
                  <a:pt x="770" y="989"/>
                  <a:pt x="765" y="989"/>
                </a:cubicBezTo>
                <a:close/>
                <a:moveTo>
                  <a:pt x="742" y="1009"/>
                </a:moveTo>
                <a:cubicBezTo>
                  <a:pt x="738" y="1009"/>
                  <a:pt x="735" y="1012"/>
                  <a:pt x="735" y="1015"/>
                </a:cubicBezTo>
                <a:cubicBezTo>
                  <a:pt x="735" y="1019"/>
                  <a:pt x="738" y="1022"/>
                  <a:pt x="742" y="1022"/>
                </a:cubicBezTo>
                <a:cubicBezTo>
                  <a:pt x="747" y="1022"/>
                  <a:pt x="750" y="1019"/>
                  <a:pt x="750" y="1015"/>
                </a:cubicBezTo>
                <a:cubicBezTo>
                  <a:pt x="750" y="1012"/>
                  <a:pt x="747" y="1009"/>
                  <a:pt x="742" y="1009"/>
                </a:cubicBezTo>
                <a:close/>
                <a:moveTo>
                  <a:pt x="742" y="1028"/>
                </a:moveTo>
                <a:cubicBezTo>
                  <a:pt x="738" y="1028"/>
                  <a:pt x="735" y="1031"/>
                  <a:pt x="735" y="1034"/>
                </a:cubicBezTo>
                <a:cubicBezTo>
                  <a:pt x="735" y="1038"/>
                  <a:pt x="738" y="1041"/>
                  <a:pt x="742" y="1041"/>
                </a:cubicBezTo>
                <a:cubicBezTo>
                  <a:pt x="747" y="1041"/>
                  <a:pt x="750" y="1038"/>
                  <a:pt x="750" y="1034"/>
                </a:cubicBezTo>
                <a:cubicBezTo>
                  <a:pt x="750" y="1031"/>
                  <a:pt x="747" y="1028"/>
                  <a:pt x="742" y="1028"/>
                </a:cubicBezTo>
                <a:close/>
                <a:moveTo>
                  <a:pt x="786" y="911"/>
                </a:moveTo>
                <a:cubicBezTo>
                  <a:pt x="782" y="911"/>
                  <a:pt x="779" y="914"/>
                  <a:pt x="779" y="917"/>
                </a:cubicBezTo>
                <a:cubicBezTo>
                  <a:pt x="779" y="921"/>
                  <a:pt x="782" y="924"/>
                  <a:pt x="786" y="924"/>
                </a:cubicBezTo>
                <a:cubicBezTo>
                  <a:pt x="791" y="924"/>
                  <a:pt x="794" y="921"/>
                  <a:pt x="794" y="917"/>
                </a:cubicBezTo>
                <a:cubicBezTo>
                  <a:pt x="794" y="914"/>
                  <a:pt x="791" y="911"/>
                  <a:pt x="786" y="911"/>
                </a:cubicBezTo>
                <a:close/>
                <a:moveTo>
                  <a:pt x="808" y="911"/>
                </a:moveTo>
                <a:cubicBezTo>
                  <a:pt x="804" y="911"/>
                  <a:pt x="801" y="914"/>
                  <a:pt x="801" y="917"/>
                </a:cubicBezTo>
                <a:cubicBezTo>
                  <a:pt x="801" y="921"/>
                  <a:pt x="804" y="924"/>
                  <a:pt x="808" y="924"/>
                </a:cubicBezTo>
                <a:cubicBezTo>
                  <a:pt x="813" y="924"/>
                  <a:pt x="816" y="921"/>
                  <a:pt x="816" y="917"/>
                </a:cubicBezTo>
                <a:cubicBezTo>
                  <a:pt x="816" y="914"/>
                  <a:pt x="813" y="911"/>
                  <a:pt x="808" y="911"/>
                </a:cubicBezTo>
                <a:close/>
                <a:moveTo>
                  <a:pt x="786" y="930"/>
                </a:moveTo>
                <a:cubicBezTo>
                  <a:pt x="782" y="930"/>
                  <a:pt x="779" y="933"/>
                  <a:pt x="779" y="937"/>
                </a:cubicBezTo>
                <a:cubicBezTo>
                  <a:pt x="779" y="940"/>
                  <a:pt x="782" y="943"/>
                  <a:pt x="786" y="943"/>
                </a:cubicBezTo>
                <a:cubicBezTo>
                  <a:pt x="791" y="943"/>
                  <a:pt x="794" y="940"/>
                  <a:pt x="794" y="937"/>
                </a:cubicBezTo>
                <a:cubicBezTo>
                  <a:pt x="794" y="933"/>
                  <a:pt x="791" y="930"/>
                  <a:pt x="786" y="930"/>
                </a:cubicBezTo>
                <a:close/>
                <a:moveTo>
                  <a:pt x="808" y="930"/>
                </a:moveTo>
                <a:cubicBezTo>
                  <a:pt x="804" y="930"/>
                  <a:pt x="801" y="933"/>
                  <a:pt x="801" y="937"/>
                </a:cubicBezTo>
                <a:cubicBezTo>
                  <a:pt x="801" y="940"/>
                  <a:pt x="804" y="943"/>
                  <a:pt x="808" y="943"/>
                </a:cubicBezTo>
                <a:cubicBezTo>
                  <a:pt x="813" y="943"/>
                  <a:pt x="816" y="940"/>
                  <a:pt x="816" y="937"/>
                </a:cubicBezTo>
                <a:cubicBezTo>
                  <a:pt x="816" y="933"/>
                  <a:pt x="813" y="930"/>
                  <a:pt x="808" y="930"/>
                </a:cubicBezTo>
                <a:close/>
                <a:moveTo>
                  <a:pt x="786" y="950"/>
                </a:moveTo>
                <a:cubicBezTo>
                  <a:pt x="782" y="950"/>
                  <a:pt x="779" y="953"/>
                  <a:pt x="779" y="956"/>
                </a:cubicBezTo>
                <a:cubicBezTo>
                  <a:pt x="779" y="960"/>
                  <a:pt x="782" y="963"/>
                  <a:pt x="786" y="963"/>
                </a:cubicBezTo>
                <a:cubicBezTo>
                  <a:pt x="791" y="963"/>
                  <a:pt x="794" y="960"/>
                  <a:pt x="794" y="956"/>
                </a:cubicBezTo>
                <a:cubicBezTo>
                  <a:pt x="794" y="953"/>
                  <a:pt x="791" y="950"/>
                  <a:pt x="786" y="950"/>
                </a:cubicBezTo>
                <a:close/>
                <a:moveTo>
                  <a:pt x="808" y="950"/>
                </a:moveTo>
                <a:cubicBezTo>
                  <a:pt x="804" y="950"/>
                  <a:pt x="801" y="953"/>
                  <a:pt x="801" y="956"/>
                </a:cubicBezTo>
                <a:cubicBezTo>
                  <a:pt x="801" y="960"/>
                  <a:pt x="804" y="963"/>
                  <a:pt x="808" y="963"/>
                </a:cubicBezTo>
                <a:cubicBezTo>
                  <a:pt x="813" y="963"/>
                  <a:pt x="816" y="960"/>
                  <a:pt x="816" y="956"/>
                </a:cubicBezTo>
                <a:cubicBezTo>
                  <a:pt x="816" y="953"/>
                  <a:pt x="813" y="950"/>
                  <a:pt x="808" y="950"/>
                </a:cubicBezTo>
                <a:close/>
                <a:moveTo>
                  <a:pt x="786" y="969"/>
                </a:moveTo>
                <a:cubicBezTo>
                  <a:pt x="782" y="969"/>
                  <a:pt x="779" y="972"/>
                  <a:pt x="779" y="976"/>
                </a:cubicBezTo>
                <a:cubicBezTo>
                  <a:pt x="779" y="980"/>
                  <a:pt x="782" y="983"/>
                  <a:pt x="786" y="983"/>
                </a:cubicBezTo>
                <a:cubicBezTo>
                  <a:pt x="791" y="983"/>
                  <a:pt x="794" y="980"/>
                  <a:pt x="794" y="976"/>
                </a:cubicBezTo>
                <a:cubicBezTo>
                  <a:pt x="794" y="972"/>
                  <a:pt x="791" y="969"/>
                  <a:pt x="786" y="969"/>
                </a:cubicBezTo>
                <a:close/>
                <a:moveTo>
                  <a:pt x="830" y="911"/>
                </a:moveTo>
                <a:cubicBezTo>
                  <a:pt x="826" y="911"/>
                  <a:pt x="822" y="914"/>
                  <a:pt x="822" y="917"/>
                </a:cubicBezTo>
                <a:cubicBezTo>
                  <a:pt x="822" y="921"/>
                  <a:pt x="826" y="924"/>
                  <a:pt x="830" y="924"/>
                </a:cubicBezTo>
                <a:cubicBezTo>
                  <a:pt x="834" y="924"/>
                  <a:pt x="838" y="921"/>
                  <a:pt x="838" y="917"/>
                </a:cubicBezTo>
                <a:cubicBezTo>
                  <a:pt x="838" y="914"/>
                  <a:pt x="834" y="911"/>
                  <a:pt x="830" y="911"/>
                </a:cubicBezTo>
                <a:close/>
                <a:moveTo>
                  <a:pt x="698" y="1066"/>
                </a:moveTo>
                <a:cubicBezTo>
                  <a:pt x="693" y="1066"/>
                  <a:pt x="690" y="1069"/>
                  <a:pt x="690" y="1073"/>
                </a:cubicBezTo>
                <a:cubicBezTo>
                  <a:pt x="690" y="1076"/>
                  <a:pt x="693" y="1079"/>
                  <a:pt x="698" y="1079"/>
                </a:cubicBezTo>
                <a:cubicBezTo>
                  <a:pt x="702" y="1079"/>
                  <a:pt x="705" y="1076"/>
                  <a:pt x="705" y="1073"/>
                </a:cubicBezTo>
                <a:cubicBezTo>
                  <a:pt x="705" y="1069"/>
                  <a:pt x="702" y="1066"/>
                  <a:pt x="698" y="1066"/>
                </a:cubicBezTo>
                <a:close/>
                <a:moveTo>
                  <a:pt x="698" y="1085"/>
                </a:moveTo>
                <a:cubicBezTo>
                  <a:pt x="693" y="1085"/>
                  <a:pt x="690" y="1088"/>
                  <a:pt x="690" y="1092"/>
                </a:cubicBezTo>
                <a:cubicBezTo>
                  <a:pt x="690" y="1095"/>
                  <a:pt x="693" y="1098"/>
                  <a:pt x="698" y="1098"/>
                </a:cubicBezTo>
                <a:cubicBezTo>
                  <a:pt x="702" y="1098"/>
                  <a:pt x="705" y="1095"/>
                  <a:pt x="705" y="1092"/>
                </a:cubicBezTo>
                <a:cubicBezTo>
                  <a:pt x="705" y="1088"/>
                  <a:pt x="702" y="1085"/>
                  <a:pt x="698" y="1085"/>
                </a:cubicBezTo>
                <a:close/>
                <a:moveTo>
                  <a:pt x="1232" y="911"/>
                </a:moveTo>
                <a:cubicBezTo>
                  <a:pt x="1228" y="911"/>
                  <a:pt x="1224" y="914"/>
                  <a:pt x="1224" y="917"/>
                </a:cubicBezTo>
                <a:cubicBezTo>
                  <a:pt x="1224" y="921"/>
                  <a:pt x="1228" y="924"/>
                  <a:pt x="1232" y="924"/>
                </a:cubicBezTo>
                <a:cubicBezTo>
                  <a:pt x="1236" y="924"/>
                  <a:pt x="1240" y="921"/>
                  <a:pt x="1240" y="917"/>
                </a:cubicBezTo>
                <a:cubicBezTo>
                  <a:pt x="1240" y="914"/>
                  <a:pt x="1236" y="911"/>
                  <a:pt x="1232" y="911"/>
                </a:cubicBezTo>
                <a:close/>
                <a:moveTo>
                  <a:pt x="1255" y="911"/>
                </a:moveTo>
                <a:cubicBezTo>
                  <a:pt x="1251" y="911"/>
                  <a:pt x="1247" y="914"/>
                  <a:pt x="1247" y="917"/>
                </a:cubicBezTo>
                <a:cubicBezTo>
                  <a:pt x="1247" y="921"/>
                  <a:pt x="1251" y="924"/>
                  <a:pt x="1255" y="924"/>
                </a:cubicBezTo>
                <a:cubicBezTo>
                  <a:pt x="1259" y="924"/>
                  <a:pt x="1263" y="921"/>
                  <a:pt x="1263" y="917"/>
                </a:cubicBezTo>
                <a:cubicBezTo>
                  <a:pt x="1263" y="914"/>
                  <a:pt x="1259" y="911"/>
                  <a:pt x="1255" y="911"/>
                </a:cubicBezTo>
                <a:close/>
                <a:moveTo>
                  <a:pt x="1232" y="930"/>
                </a:moveTo>
                <a:cubicBezTo>
                  <a:pt x="1228" y="930"/>
                  <a:pt x="1224" y="933"/>
                  <a:pt x="1224" y="937"/>
                </a:cubicBezTo>
                <a:cubicBezTo>
                  <a:pt x="1224" y="940"/>
                  <a:pt x="1228" y="943"/>
                  <a:pt x="1232" y="943"/>
                </a:cubicBezTo>
                <a:cubicBezTo>
                  <a:pt x="1236" y="943"/>
                  <a:pt x="1240" y="940"/>
                  <a:pt x="1240" y="937"/>
                </a:cubicBezTo>
                <a:cubicBezTo>
                  <a:pt x="1240" y="933"/>
                  <a:pt x="1236" y="930"/>
                  <a:pt x="1232" y="930"/>
                </a:cubicBezTo>
                <a:close/>
                <a:moveTo>
                  <a:pt x="1255" y="930"/>
                </a:moveTo>
                <a:cubicBezTo>
                  <a:pt x="1251" y="930"/>
                  <a:pt x="1247" y="933"/>
                  <a:pt x="1247" y="937"/>
                </a:cubicBezTo>
                <a:cubicBezTo>
                  <a:pt x="1247" y="940"/>
                  <a:pt x="1251" y="943"/>
                  <a:pt x="1255" y="943"/>
                </a:cubicBezTo>
                <a:cubicBezTo>
                  <a:pt x="1259" y="943"/>
                  <a:pt x="1263" y="940"/>
                  <a:pt x="1263" y="937"/>
                </a:cubicBezTo>
                <a:cubicBezTo>
                  <a:pt x="1263" y="933"/>
                  <a:pt x="1259" y="930"/>
                  <a:pt x="1255" y="930"/>
                </a:cubicBezTo>
                <a:close/>
                <a:moveTo>
                  <a:pt x="1255" y="950"/>
                </a:moveTo>
                <a:cubicBezTo>
                  <a:pt x="1251" y="950"/>
                  <a:pt x="1247" y="953"/>
                  <a:pt x="1247" y="956"/>
                </a:cubicBezTo>
                <a:cubicBezTo>
                  <a:pt x="1247" y="960"/>
                  <a:pt x="1251" y="963"/>
                  <a:pt x="1255" y="963"/>
                </a:cubicBezTo>
                <a:cubicBezTo>
                  <a:pt x="1259" y="963"/>
                  <a:pt x="1263" y="960"/>
                  <a:pt x="1263" y="956"/>
                </a:cubicBezTo>
                <a:cubicBezTo>
                  <a:pt x="1263" y="953"/>
                  <a:pt x="1259" y="950"/>
                  <a:pt x="1255" y="950"/>
                </a:cubicBezTo>
                <a:close/>
                <a:moveTo>
                  <a:pt x="1255" y="969"/>
                </a:moveTo>
                <a:cubicBezTo>
                  <a:pt x="1251" y="969"/>
                  <a:pt x="1247" y="972"/>
                  <a:pt x="1247" y="976"/>
                </a:cubicBezTo>
                <a:cubicBezTo>
                  <a:pt x="1247" y="980"/>
                  <a:pt x="1251" y="983"/>
                  <a:pt x="1255" y="983"/>
                </a:cubicBezTo>
                <a:cubicBezTo>
                  <a:pt x="1259" y="983"/>
                  <a:pt x="1263" y="980"/>
                  <a:pt x="1263" y="976"/>
                </a:cubicBezTo>
                <a:cubicBezTo>
                  <a:pt x="1263" y="972"/>
                  <a:pt x="1259" y="969"/>
                  <a:pt x="1255" y="969"/>
                </a:cubicBezTo>
                <a:close/>
                <a:moveTo>
                  <a:pt x="1255" y="988"/>
                </a:moveTo>
                <a:cubicBezTo>
                  <a:pt x="1251" y="988"/>
                  <a:pt x="1247" y="991"/>
                  <a:pt x="1247" y="995"/>
                </a:cubicBezTo>
                <a:cubicBezTo>
                  <a:pt x="1247" y="999"/>
                  <a:pt x="1251" y="1002"/>
                  <a:pt x="1255" y="1002"/>
                </a:cubicBezTo>
                <a:cubicBezTo>
                  <a:pt x="1259" y="1002"/>
                  <a:pt x="1263" y="999"/>
                  <a:pt x="1263" y="995"/>
                </a:cubicBezTo>
                <a:cubicBezTo>
                  <a:pt x="1263" y="991"/>
                  <a:pt x="1259" y="988"/>
                  <a:pt x="1255" y="988"/>
                </a:cubicBezTo>
                <a:close/>
                <a:moveTo>
                  <a:pt x="1277" y="911"/>
                </a:moveTo>
                <a:cubicBezTo>
                  <a:pt x="1273" y="911"/>
                  <a:pt x="1269" y="914"/>
                  <a:pt x="1269" y="917"/>
                </a:cubicBezTo>
                <a:cubicBezTo>
                  <a:pt x="1269" y="921"/>
                  <a:pt x="1273" y="924"/>
                  <a:pt x="1277" y="924"/>
                </a:cubicBezTo>
                <a:cubicBezTo>
                  <a:pt x="1281" y="924"/>
                  <a:pt x="1285" y="921"/>
                  <a:pt x="1285" y="917"/>
                </a:cubicBezTo>
                <a:cubicBezTo>
                  <a:pt x="1285" y="914"/>
                  <a:pt x="1281" y="911"/>
                  <a:pt x="1277" y="911"/>
                </a:cubicBezTo>
                <a:close/>
                <a:moveTo>
                  <a:pt x="1299" y="911"/>
                </a:moveTo>
                <a:cubicBezTo>
                  <a:pt x="1295" y="911"/>
                  <a:pt x="1291" y="914"/>
                  <a:pt x="1291" y="917"/>
                </a:cubicBezTo>
                <a:cubicBezTo>
                  <a:pt x="1291" y="921"/>
                  <a:pt x="1295" y="924"/>
                  <a:pt x="1299" y="924"/>
                </a:cubicBezTo>
                <a:cubicBezTo>
                  <a:pt x="1303" y="924"/>
                  <a:pt x="1307" y="921"/>
                  <a:pt x="1307" y="917"/>
                </a:cubicBezTo>
                <a:cubicBezTo>
                  <a:pt x="1307" y="914"/>
                  <a:pt x="1303" y="911"/>
                  <a:pt x="1299" y="911"/>
                </a:cubicBezTo>
                <a:close/>
                <a:moveTo>
                  <a:pt x="1277" y="930"/>
                </a:moveTo>
                <a:cubicBezTo>
                  <a:pt x="1273" y="930"/>
                  <a:pt x="1269" y="933"/>
                  <a:pt x="1269" y="937"/>
                </a:cubicBezTo>
                <a:cubicBezTo>
                  <a:pt x="1269" y="940"/>
                  <a:pt x="1273" y="943"/>
                  <a:pt x="1277" y="943"/>
                </a:cubicBezTo>
                <a:cubicBezTo>
                  <a:pt x="1281" y="943"/>
                  <a:pt x="1285" y="940"/>
                  <a:pt x="1285" y="937"/>
                </a:cubicBezTo>
                <a:cubicBezTo>
                  <a:pt x="1285" y="933"/>
                  <a:pt x="1281" y="930"/>
                  <a:pt x="1277" y="930"/>
                </a:cubicBezTo>
                <a:close/>
                <a:moveTo>
                  <a:pt x="1299" y="930"/>
                </a:moveTo>
                <a:cubicBezTo>
                  <a:pt x="1295" y="930"/>
                  <a:pt x="1291" y="933"/>
                  <a:pt x="1291" y="937"/>
                </a:cubicBezTo>
                <a:cubicBezTo>
                  <a:pt x="1291" y="940"/>
                  <a:pt x="1295" y="943"/>
                  <a:pt x="1299" y="943"/>
                </a:cubicBezTo>
                <a:cubicBezTo>
                  <a:pt x="1303" y="943"/>
                  <a:pt x="1307" y="940"/>
                  <a:pt x="1307" y="937"/>
                </a:cubicBezTo>
                <a:cubicBezTo>
                  <a:pt x="1307" y="933"/>
                  <a:pt x="1303" y="930"/>
                  <a:pt x="1299" y="930"/>
                </a:cubicBezTo>
                <a:close/>
                <a:moveTo>
                  <a:pt x="1277" y="950"/>
                </a:moveTo>
                <a:cubicBezTo>
                  <a:pt x="1273" y="950"/>
                  <a:pt x="1269" y="953"/>
                  <a:pt x="1269" y="956"/>
                </a:cubicBezTo>
                <a:cubicBezTo>
                  <a:pt x="1269" y="960"/>
                  <a:pt x="1273" y="963"/>
                  <a:pt x="1277" y="963"/>
                </a:cubicBezTo>
                <a:cubicBezTo>
                  <a:pt x="1281" y="963"/>
                  <a:pt x="1285" y="960"/>
                  <a:pt x="1285" y="956"/>
                </a:cubicBezTo>
                <a:cubicBezTo>
                  <a:pt x="1285" y="953"/>
                  <a:pt x="1281" y="950"/>
                  <a:pt x="1277" y="950"/>
                </a:cubicBezTo>
                <a:close/>
                <a:moveTo>
                  <a:pt x="1299" y="950"/>
                </a:moveTo>
                <a:cubicBezTo>
                  <a:pt x="1295" y="950"/>
                  <a:pt x="1291" y="953"/>
                  <a:pt x="1291" y="956"/>
                </a:cubicBezTo>
                <a:cubicBezTo>
                  <a:pt x="1291" y="960"/>
                  <a:pt x="1295" y="963"/>
                  <a:pt x="1299" y="963"/>
                </a:cubicBezTo>
                <a:cubicBezTo>
                  <a:pt x="1303" y="963"/>
                  <a:pt x="1307" y="960"/>
                  <a:pt x="1307" y="956"/>
                </a:cubicBezTo>
                <a:cubicBezTo>
                  <a:pt x="1307" y="953"/>
                  <a:pt x="1303" y="950"/>
                  <a:pt x="1299" y="950"/>
                </a:cubicBezTo>
                <a:close/>
                <a:moveTo>
                  <a:pt x="1277" y="969"/>
                </a:moveTo>
                <a:cubicBezTo>
                  <a:pt x="1273" y="969"/>
                  <a:pt x="1269" y="972"/>
                  <a:pt x="1269" y="976"/>
                </a:cubicBezTo>
                <a:cubicBezTo>
                  <a:pt x="1269" y="980"/>
                  <a:pt x="1273" y="983"/>
                  <a:pt x="1277" y="983"/>
                </a:cubicBezTo>
                <a:cubicBezTo>
                  <a:pt x="1281" y="983"/>
                  <a:pt x="1285" y="980"/>
                  <a:pt x="1285" y="976"/>
                </a:cubicBezTo>
                <a:cubicBezTo>
                  <a:pt x="1285" y="972"/>
                  <a:pt x="1281" y="969"/>
                  <a:pt x="1277" y="969"/>
                </a:cubicBezTo>
                <a:close/>
                <a:moveTo>
                  <a:pt x="1299" y="969"/>
                </a:moveTo>
                <a:cubicBezTo>
                  <a:pt x="1295" y="969"/>
                  <a:pt x="1291" y="972"/>
                  <a:pt x="1291" y="976"/>
                </a:cubicBezTo>
                <a:cubicBezTo>
                  <a:pt x="1291" y="980"/>
                  <a:pt x="1295" y="983"/>
                  <a:pt x="1299" y="983"/>
                </a:cubicBezTo>
                <a:cubicBezTo>
                  <a:pt x="1303" y="983"/>
                  <a:pt x="1307" y="980"/>
                  <a:pt x="1307" y="976"/>
                </a:cubicBezTo>
                <a:cubicBezTo>
                  <a:pt x="1307" y="972"/>
                  <a:pt x="1303" y="969"/>
                  <a:pt x="1299" y="969"/>
                </a:cubicBezTo>
                <a:close/>
                <a:moveTo>
                  <a:pt x="1277" y="988"/>
                </a:moveTo>
                <a:cubicBezTo>
                  <a:pt x="1273" y="988"/>
                  <a:pt x="1269" y="991"/>
                  <a:pt x="1269" y="995"/>
                </a:cubicBezTo>
                <a:cubicBezTo>
                  <a:pt x="1269" y="999"/>
                  <a:pt x="1273" y="1002"/>
                  <a:pt x="1277" y="1002"/>
                </a:cubicBezTo>
                <a:cubicBezTo>
                  <a:pt x="1281" y="1002"/>
                  <a:pt x="1285" y="999"/>
                  <a:pt x="1285" y="995"/>
                </a:cubicBezTo>
                <a:cubicBezTo>
                  <a:pt x="1285" y="991"/>
                  <a:pt x="1281" y="988"/>
                  <a:pt x="1277" y="988"/>
                </a:cubicBezTo>
                <a:close/>
                <a:moveTo>
                  <a:pt x="1299" y="988"/>
                </a:moveTo>
                <a:cubicBezTo>
                  <a:pt x="1295" y="988"/>
                  <a:pt x="1291" y="991"/>
                  <a:pt x="1291" y="995"/>
                </a:cubicBezTo>
                <a:cubicBezTo>
                  <a:pt x="1291" y="999"/>
                  <a:pt x="1295" y="1002"/>
                  <a:pt x="1299" y="1002"/>
                </a:cubicBezTo>
                <a:cubicBezTo>
                  <a:pt x="1303" y="1002"/>
                  <a:pt x="1307" y="999"/>
                  <a:pt x="1307" y="995"/>
                </a:cubicBezTo>
                <a:cubicBezTo>
                  <a:pt x="1307" y="991"/>
                  <a:pt x="1303" y="988"/>
                  <a:pt x="1299" y="988"/>
                </a:cubicBezTo>
                <a:close/>
                <a:moveTo>
                  <a:pt x="1321" y="911"/>
                </a:moveTo>
                <a:cubicBezTo>
                  <a:pt x="1317" y="911"/>
                  <a:pt x="1313" y="914"/>
                  <a:pt x="1313" y="917"/>
                </a:cubicBezTo>
                <a:cubicBezTo>
                  <a:pt x="1313" y="921"/>
                  <a:pt x="1317" y="924"/>
                  <a:pt x="1321" y="924"/>
                </a:cubicBezTo>
                <a:cubicBezTo>
                  <a:pt x="1325" y="924"/>
                  <a:pt x="1328" y="921"/>
                  <a:pt x="1328" y="917"/>
                </a:cubicBezTo>
                <a:cubicBezTo>
                  <a:pt x="1328" y="914"/>
                  <a:pt x="1325" y="911"/>
                  <a:pt x="1321" y="911"/>
                </a:cubicBezTo>
                <a:close/>
                <a:moveTo>
                  <a:pt x="1344" y="911"/>
                </a:moveTo>
                <a:cubicBezTo>
                  <a:pt x="1339" y="911"/>
                  <a:pt x="1336" y="914"/>
                  <a:pt x="1336" y="917"/>
                </a:cubicBezTo>
                <a:cubicBezTo>
                  <a:pt x="1336" y="921"/>
                  <a:pt x="1339" y="924"/>
                  <a:pt x="1344" y="924"/>
                </a:cubicBezTo>
                <a:cubicBezTo>
                  <a:pt x="1348" y="924"/>
                  <a:pt x="1351" y="921"/>
                  <a:pt x="1351" y="917"/>
                </a:cubicBezTo>
                <a:cubicBezTo>
                  <a:pt x="1351" y="914"/>
                  <a:pt x="1348" y="911"/>
                  <a:pt x="1344" y="911"/>
                </a:cubicBezTo>
                <a:close/>
                <a:moveTo>
                  <a:pt x="1321" y="930"/>
                </a:moveTo>
                <a:cubicBezTo>
                  <a:pt x="1317" y="930"/>
                  <a:pt x="1313" y="933"/>
                  <a:pt x="1313" y="937"/>
                </a:cubicBezTo>
                <a:cubicBezTo>
                  <a:pt x="1313" y="940"/>
                  <a:pt x="1317" y="943"/>
                  <a:pt x="1321" y="943"/>
                </a:cubicBezTo>
                <a:cubicBezTo>
                  <a:pt x="1325" y="943"/>
                  <a:pt x="1328" y="940"/>
                  <a:pt x="1328" y="937"/>
                </a:cubicBezTo>
                <a:cubicBezTo>
                  <a:pt x="1328" y="933"/>
                  <a:pt x="1325" y="930"/>
                  <a:pt x="1321" y="930"/>
                </a:cubicBezTo>
                <a:close/>
                <a:moveTo>
                  <a:pt x="1344" y="930"/>
                </a:moveTo>
                <a:cubicBezTo>
                  <a:pt x="1339" y="930"/>
                  <a:pt x="1336" y="933"/>
                  <a:pt x="1336" y="937"/>
                </a:cubicBezTo>
                <a:cubicBezTo>
                  <a:pt x="1336" y="940"/>
                  <a:pt x="1339" y="943"/>
                  <a:pt x="1344" y="943"/>
                </a:cubicBezTo>
                <a:cubicBezTo>
                  <a:pt x="1348" y="943"/>
                  <a:pt x="1351" y="940"/>
                  <a:pt x="1351" y="937"/>
                </a:cubicBezTo>
                <a:cubicBezTo>
                  <a:pt x="1351" y="933"/>
                  <a:pt x="1348" y="930"/>
                  <a:pt x="1344" y="930"/>
                </a:cubicBezTo>
                <a:close/>
                <a:moveTo>
                  <a:pt x="1321" y="950"/>
                </a:moveTo>
                <a:cubicBezTo>
                  <a:pt x="1317" y="950"/>
                  <a:pt x="1313" y="953"/>
                  <a:pt x="1313" y="956"/>
                </a:cubicBezTo>
                <a:cubicBezTo>
                  <a:pt x="1313" y="960"/>
                  <a:pt x="1317" y="963"/>
                  <a:pt x="1321" y="963"/>
                </a:cubicBezTo>
                <a:cubicBezTo>
                  <a:pt x="1325" y="963"/>
                  <a:pt x="1328" y="960"/>
                  <a:pt x="1328" y="956"/>
                </a:cubicBezTo>
                <a:cubicBezTo>
                  <a:pt x="1328" y="953"/>
                  <a:pt x="1325" y="950"/>
                  <a:pt x="1321" y="950"/>
                </a:cubicBezTo>
                <a:close/>
                <a:moveTo>
                  <a:pt x="1344" y="950"/>
                </a:moveTo>
                <a:cubicBezTo>
                  <a:pt x="1339" y="950"/>
                  <a:pt x="1336" y="953"/>
                  <a:pt x="1336" y="956"/>
                </a:cubicBezTo>
                <a:cubicBezTo>
                  <a:pt x="1336" y="960"/>
                  <a:pt x="1339" y="963"/>
                  <a:pt x="1344" y="963"/>
                </a:cubicBezTo>
                <a:cubicBezTo>
                  <a:pt x="1348" y="963"/>
                  <a:pt x="1351" y="960"/>
                  <a:pt x="1351" y="956"/>
                </a:cubicBezTo>
                <a:cubicBezTo>
                  <a:pt x="1351" y="953"/>
                  <a:pt x="1348" y="950"/>
                  <a:pt x="1344" y="950"/>
                </a:cubicBezTo>
                <a:close/>
                <a:moveTo>
                  <a:pt x="1321" y="969"/>
                </a:moveTo>
                <a:cubicBezTo>
                  <a:pt x="1317" y="969"/>
                  <a:pt x="1313" y="972"/>
                  <a:pt x="1313" y="976"/>
                </a:cubicBezTo>
                <a:cubicBezTo>
                  <a:pt x="1313" y="980"/>
                  <a:pt x="1317" y="983"/>
                  <a:pt x="1321" y="983"/>
                </a:cubicBezTo>
                <a:cubicBezTo>
                  <a:pt x="1325" y="983"/>
                  <a:pt x="1328" y="980"/>
                  <a:pt x="1328" y="976"/>
                </a:cubicBezTo>
                <a:cubicBezTo>
                  <a:pt x="1328" y="972"/>
                  <a:pt x="1325" y="969"/>
                  <a:pt x="1321" y="969"/>
                </a:cubicBezTo>
                <a:close/>
                <a:moveTo>
                  <a:pt x="1366" y="911"/>
                </a:moveTo>
                <a:cubicBezTo>
                  <a:pt x="1362" y="911"/>
                  <a:pt x="1358" y="914"/>
                  <a:pt x="1358" y="917"/>
                </a:cubicBezTo>
                <a:cubicBezTo>
                  <a:pt x="1358" y="921"/>
                  <a:pt x="1362" y="924"/>
                  <a:pt x="1366" y="924"/>
                </a:cubicBezTo>
                <a:cubicBezTo>
                  <a:pt x="1370" y="924"/>
                  <a:pt x="1373" y="921"/>
                  <a:pt x="1373" y="917"/>
                </a:cubicBezTo>
                <a:cubicBezTo>
                  <a:pt x="1373" y="914"/>
                  <a:pt x="1370" y="911"/>
                  <a:pt x="1366" y="911"/>
                </a:cubicBezTo>
                <a:close/>
                <a:moveTo>
                  <a:pt x="1432" y="911"/>
                </a:moveTo>
                <a:cubicBezTo>
                  <a:pt x="1428" y="911"/>
                  <a:pt x="1425" y="914"/>
                  <a:pt x="1425" y="917"/>
                </a:cubicBezTo>
                <a:cubicBezTo>
                  <a:pt x="1425" y="921"/>
                  <a:pt x="1428" y="924"/>
                  <a:pt x="1432" y="924"/>
                </a:cubicBezTo>
                <a:cubicBezTo>
                  <a:pt x="1437" y="924"/>
                  <a:pt x="1440" y="921"/>
                  <a:pt x="1440" y="917"/>
                </a:cubicBezTo>
                <a:cubicBezTo>
                  <a:pt x="1440" y="914"/>
                  <a:pt x="1437" y="911"/>
                  <a:pt x="1432" y="911"/>
                </a:cubicBezTo>
                <a:close/>
                <a:moveTo>
                  <a:pt x="1565" y="97"/>
                </a:moveTo>
                <a:cubicBezTo>
                  <a:pt x="1561" y="97"/>
                  <a:pt x="1558" y="100"/>
                  <a:pt x="1558" y="104"/>
                </a:cubicBezTo>
                <a:cubicBezTo>
                  <a:pt x="1558" y="107"/>
                  <a:pt x="1561" y="110"/>
                  <a:pt x="1565" y="110"/>
                </a:cubicBezTo>
                <a:cubicBezTo>
                  <a:pt x="1570" y="110"/>
                  <a:pt x="1573" y="107"/>
                  <a:pt x="1573" y="104"/>
                </a:cubicBezTo>
                <a:cubicBezTo>
                  <a:pt x="1573" y="100"/>
                  <a:pt x="1570" y="97"/>
                  <a:pt x="1565" y="97"/>
                </a:cubicBezTo>
                <a:close/>
                <a:moveTo>
                  <a:pt x="1565" y="175"/>
                </a:moveTo>
                <a:cubicBezTo>
                  <a:pt x="1561" y="175"/>
                  <a:pt x="1558" y="178"/>
                  <a:pt x="1558" y="182"/>
                </a:cubicBezTo>
                <a:cubicBezTo>
                  <a:pt x="1558" y="185"/>
                  <a:pt x="1561" y="188"/>
                  <a:pt x="1565" y="188"/>
                </a:cubicBezTo>
                <a:cubicBezTo>
                  <a:pt x="1570" y="188"/>
                  <a:pt x="1573" y="185"/>
                  <a:pt x="1573" y="182"/>
                </a:cubicBezTo>
                <a:cubicBezTo>
                  <a:pt x="1573" y="178"/>
                  <a:pt x="1570" y="175"/>
                  <a:pt x="1565" y="175"/>
                </a:cubicBezTo>
                <a:close/>
                <a:moveTo>
                  <a:pt x="1565" y="194"/>
                </a:moveTo>
                <a:cubicBezTo>
                  <a:pt x="1561" y="194"/>
                  <a:pt x="1558" y="197"/>
                  <a:pt x="1558" y="201"/>
                </a:cubicBezTo>
                <a:cubicBezTo>
                  <a:pt x="1558" y="205"/>
                  <a:pt x="1561" y="208"/>
                  <a:pt x="1565" y="208"/>
                </a:cubicBezTo>
                <a:cubicBezTo>
                  <a:pt x="1570" y="208"/>
                  <a:pt x="1573" y="205"/>
                  <a:pt x="1573" y="201"/>
                </a:cubicBezTo>
                <a:cubicBezTo>
                  <a:pt x="1573" y="197"/>
                  <a:pt x="1570" y="194"/>
                  <a:pt x="1565" y="194"/>
                </a:cubicBezTo>
                <a:close/>
                <a:moveTo>
                  <a:pt x="1565" y="214"/>
                </a:moveTo>
                <a:cubicBezTo>
                  <a:pt x="1561" y="214"/>
                  <a:pt x="1558" y="217"/>
                  <a:pt x="1558" y="220"/>
                </a:cubicBezTo>
                <a:cubicBezTo>
                  <a:pt x="1558" y="224"/>
                  <a:pt x="1561" y="227"/>
                  <a:pt x="1565" y="227"/>
                </a:cubicBezTo>
                <a:cubicBezTo>
                  <a:pt x="1570" y="227"/>
                  <a:pt x="1573" y="224"/>
                  <a:pt x="1573" y="220"/>
                </a:cubicBezTo>
                <a:cubicBezTo>
                  <a:pt x="1573" y="217"/>
                  <a:pt x="1570" y="214"/>
                  <a:pt x="1565" y="214"/>
                </a:cubicBezTo>
                <a:close/>
                <a:moveTo>
                  <a:pt x="1565" y="233"/>
                </a:moveTo>
                <a:cubicBezTo>
                  <a:pt x="1561" y="233"/>
                  <a:pt x="1558" y="236"/>
                  <a:pt x="1558" y="239"/>
                </a:cubicBezTo>
                <a:cubicBezTo>
                  <a:pt x="1558" y="243"/>
                  <a:pt x="1561" y="245"/>
                  <a:pt x="1565" y="245"/>
                </a:cubicBezTo>
                <a:cubicBezTo>
                  <a:pt x="1570" y="245"/>
                  <a:pt x="1573" y="243"/>
                  <a:pt x="1573" y="239"/>
                </a:cubicBezTo>
                <a:cubicBezTo>
                  <a:pt x="1573" y="236"/>
                  <a:pt x="1570" y="233"/>
                  <a:pt x="1565" y="233"/>
                </a:cubicBezTo>
                <a:close/>
                <a:moveTo>
                  <a:pt x="1565" y="252"/>
                </a:moveTo>
                <a:cubicBezTo>
                  <a:pt x="1561" y="252"/>
                  <a:pt x="1558" y="255"/>
                  <a:pt x="1558" y="258"/>
                </a:cubicBezTo>
                <a:cubicBezTo>
                  <a:pt x="1558" y="262"/>
                  <a:pt x="1561" y="265"/>
                  <a:pt x="1565" y="265"/>
                </a:cubicBezTo>
                <a:cubicBezTo>
                  <a:pt x="1570" y="265"/>
                  <a:pt x="1573" y="262"/>
                  <a:pt x="1573" y="258"/>
                </a:cubicBezTo>
                <a:cubicBezTo>
                  <a:pt x="1573" y="255"/>
                  <a:pt x="1570" y="252"/>
                  <a:pt x="1565" y="252"/>
                </a:cubicBezTo>
                <a:close/>
                <a:moveTo>
                  <a:pt x="1565" y="271"/>
                </a:moveTo>
                <a:cubicBezTo>
                  <a:pt x="1561" y="271"/>
                  <a:pt x="1558" y="274"/>
                  <a:pt x="1558" y="278"/>
                </a:cubicBezTo>
                <a:cubicBezTo>
                  <a:pt x="1558" y="282"/>
                  <a:pt x="1561" y="285"/>
                  <a:pt x="1565" y="285"/>
                </a:cubicBezTo>
                <a:cubicBezTo>
                  <a:pt x="1570" y="285"/>
                  <a:pt x="1573" y="282"/>
                  <a:pt x="1573" y="278"/>
                </a:cubicBezTo>
                <a:cubicBezTo>
                  <a:pt x="1573" y="274"/>
                  <a:pt x="1570" y="271"/>
                  <a:pt x="1565" y="271"/>
                </a:cubicBezTo>
                <a:close/>
                <a:moveTo>
                  <a:pt x="1700" y="116"/>
                </a:moveTo>
                <a:cubicBezTo>
                  <a:pt x="1696" y="116"/>
                  <a:pt x="1692" y="119"/>
                  <a:pt x="1692" y="123"/>
                </a:cubicBezTo>
                <a:cubicBezTo>
                  <a:pt x="1692" y="127"/>
                  <a:pt x="1696" y="130"/>
                  <a:pt x="1700" y="130"/>
                </a:cubicBezTo>
                <a:cubicBezTo>
                  <a:pt x="1704" y="130"/>
                  <a:pt x="1708" y="127"/>
                  <a:pt x="1708" y="123"/>
                </a:cubicBezTo>
                <a:cubicBezTo>
                  <a:pt x="1708" y="119"/>
                  <a:pt x="1704" y="116"/>
                  <a:pt x="1700" y="116"/>
                </a:cubicBezTo>
                <a:close/>
                <a:moveTo>
                  <a:pt x="1722" y="97"/>
                </a:moveTo>
                <a:cubicBezTo>
                  <a:pt x="1718" y="97"/>
                  <a:pt x="1714" y="100"/>
                  <a:pt x="1714" y="104"/>
                </a:cubicBezTo>
                <a:cubicBezTo>
                  <a:pt x="1714" y="107"/>
                  <a:pt x="1718" y="110"/>
                  <a:pt x="1722" y="110"/>
                </a:cubicBezTo>
                <a:cubicBezTo>
                  <a:pt x="1726" y="110"/>
                  <a:pt x="1730" y="107"/>
                  <a:pt x="1730" y="104"/>
                </a:cubicBezTo>
                <a:cubicBezTo>
                  <a:pt x="1730" y="100"/>
                  <a:pt x="1726" y="97"/>
                  <a:pt x="1722" y="97"/>
                </a:cubicBezTo>
                <a:close/>
                <a:moveTo>
                  <a:pt x="1744" y="97"/>
                </a:moveTo>
                <a:cubicBezTo>
                  <a:pt x="1740" y="97"/>
                  <a:pt x="1736" y="100"/>
                  <a:pt x="1736" y="104"/>
                </a:cubicBezTo>
                <a:cubicBezTo>
                  <a:pt x="1736" y="107"/>
                  <a:pt x="1740" y="110"/>
                  <a:pt x="1744" y="110"/>
                </a:cubicBezTo>
                <a:cubicBezTo>
                  <a:pt x="1748" y="110"/>
                  <a:pt x="1751" y="107"/>
                  <a:pt x="1751" y="104"/>
                </a:cubicBezTo>
                <a:cubicBezTo>
                  <a:pt x="1751" y="100"/>
                  <a:pt x="1748" y="97"/>
                  <a:pt x="1744" y="97"/>
                </a:cubicBezTo>
                <a:close/>
                <a:moveTo>
                  <a:pt x="1722" y="116"/>
                </a:moveTo>
                <a:cubicBezTo>
                  <a:pt x="1718" y="116"/>
                  <a:pt x="1714" y="119"/>
                  <a:pt x="1714" y="123"/>
                </a:cubicBezTo>
                <a:cubicBezTo>
                  <a:pt x="1714" y="127"/>
                  <a:pt x="1718" y="130"/>
                  <a:pt x="1722" y="130"/>
                </a:cubicBezTo>
                <a:cubicBezTo>
                  <a:pt x="1726" y="130"/>
                  <a:pt x="1730" y="127"/>
                  <a:pt x="1730" y="123"/>
                </a:cubicBezTo>
                <a:cubicBezTo>
                  <a:pt x="1730" y="119"/>
                  <a:pt x="1726" y="116"/>
                  <a:pt x="1722" y="116"/>
                </a:cubicBezTo>
                <a:close/>
                <a:moveTo>
                  <a:pt x="1744" y="116"/>
                </a:moveTo>
                <a:cubicBezTo>
                  <a:pt x="1740" y="116"/>
                  <a:pt x="1736" y="119"/>
                  <a:pt x="1736" y="123"/>
                </a:cubicBezTo>
                <a:cubicBezTo>
                  <a:pt x="1736" y="127"/>
                  <a:pt x="1740" y="130"/>
                  <a:pt x="1744" y="130"/>
                </a:cubicBezTo>
                <a:cubicBezTo>
                  <a:pt x="1748" y="130"/>
                  <a:pt x="1751" y="127"/>
                  <a:pt x="1751" y="123"/>
                </a:cubicBezTo>
                <a:cubicBezTo>
                  <a:pt x="1751" y="119"/>
                  <a:pt x="1748" y="116"/>
                  <a:pt x="1744" y="116"/>
                </a:cubicBezTo>
                <a:close/>
                <a:moveTo>
                  <a:pt x="1611" y="136"/>
                </a:moveTo>
                <a:cubicBezTo>
                  <a:pt x="1607" y="136"/>
                  <a:pt x="1603" y="139"/>
                  <a:pt x="1603" y="143"/>
                </a:cubicBezTo>
                <a:cubicBezTo>
                  <a:pt x="1603" y="146"/>
                  <a:pt x="1607" y="149"/>
                  <a:pt x="1611" y="149"/>
                </a:cubicBezTo>
                <a:cubicBezTo>
                  <a:pt x="1615" y="149"/>
                  <a:pt x="1619" y="146"/>
                  <a:pt x="1619" y="143"/>
                </a:cubicBezTo>
                <a:cubicBezTo>
                  <a:pt x="1619" y="139"/>
                  <a:pt x="1615" y="136"/>
                  <a:pt x="1611" y="136"/>
                </a:cubicBezTo>
                <a:close/>
                <a:moveTo>
                  <a:pt x="1589" y="155"/>
                </a:moveTo>
                <a:cubicBezTo>
                  <a:pt x="1585" y="155"/>
                  <a:pt x="1581" y="158"/>
                  <a:pt x="1581" y="162"/>
                </a:cubicBezTo>
                <a:cubicBezTo>
                  <a:pt x="1581" y="166"/>
                  <a:pt x="1585" y="169"/>
                  <a:pt x="1589" y="169"/>
                </a:cubicBezTo>
                <a:cubicBezTo>
                  <a:pt x="1593" y="169"/>
                  <a:pt x="1597" y="166"/>
                  <a:pt x="1597" y="162"/>
                </a:cubicBezTo>
                <a:cubicBezTo>
                  <a:pt x="1597" y="158"/>
                  <a:pt x="1593" y="155"/>
                  <a:pt x="1589" y="155"/>
                </a:cubicBezTo>
                <a:close/>
                <a:moveTo>
                  <a:pt x="1611" y="155"/>
                </a:moveTo>
                <a:cubicBezTo>
                  <a:pt x="1607" y="155"/>
                  <a:pt x="1603" y="158"/>
                  <a:pt x="1603" y="162"/>
                </a:cubicBezTo>
                <a:cubicBezTo>
                  <a:pt x="1603" y="166"/>
                  <a:pt x="1607" y="169"/>
                  <a:pt x="1611" y="169"/>
                </a:cubicBezTo>
                <a:cubicBezTo>
                  <a:pt x="1615" y="169"/>
                  <a:pt x="1619" y="166"/>
                  <a:pt x="1619" y="162"/>
                </a:cubicBezTo>
                <a:cubicBezTo>
                  <a:pt x="1619" y="158"/>
                  <a:pt x="1615" y="155"/>
                  <a:pt x="1611" y="155"/>
                </a:cubicBezTo>
                <a:close/>
                <a:moveTo>
                  <a:pt x="1589" y="175"/>
                </a:moveTo>
                <a:cubicBezTo>
                  <a:pt x="1585" y="175"/>
                  <a:pt x="1581" y="178"/>
                  <a:pt x="1581" y="182"/>
                </a:cubicBezTo>
                <a:cubicBezTo>
                  <a:pt x="1581" y="185"/>
                  <a:pt x="1585" y="188"/>
                  <a:pt x="1589" y="188"/>
                </a:cubicBezTo>
                <a:cubicBezTo>
                  <a:pt x="1593" y="188"/>
                  <a:pt x="1597" y="185"/>
                  <a:pt x="1597" y="182"/>
                </a:cubicBezTo>
                <a:cubicBezTo>
                  <a:pt x="1597" y="178"/>
                  <a:pt x="1593" y="175"/>
                  <a:pt x="1589" y="175"/>
                </a:cubicBezTo>
                <a:close/>
                <a:moveTo>
                  <a:pt x="1611" y="175"/>
                </a:moveTo>
                <a:cubicBezTo>
                  <a:pt x="1607" y="175"/>
                  <a:pt x="1603" y="178"/>
                  <a:pt x="1603" y="182"/>
                </a:cubicBezTo>
                <a:cubicBezTo>
                  <a:pt x="1603" y="185"/>
                  <a:pt x="1607" y="188"/>
                  <a:pt x="1611" y="188"/>
                </a:cubicBezTo>
                <a:cubicBezTo>
                  <a:pt x="1615" y="188"/>
                  <a:pt x="1619" y="185"/>
                  <a:pt x="1619" y="182"/>
                </a:cubicBezTo>
                <a:cubicBezTo>
                  <a:pt x="1619" y="178"/>
                  <a:pt x="1615" y="175"/>
                  <a:pt x="1611" y="175"/>
                </a:cubicBezTo>
                <a:close/>
                <a:moveTo>
                  <a:pt x="1589" y="194"/>
                </a:moveTo>
                <a:cubicBezTo>
                  <a:pt x="1585" y="194"/>
                  <a:pt x="1581" y="197"/>
                  <a:pt x="1581" y="201"/>
                </a:cubicBezTo>
                <a:cubicBezTo>
                  <a:pt x="1581" y="205"/>
                  <a:pt x="1585" y="208"/>
                  <a:pt x="1589" y="208"/>
                </a:cubicBezTo>
                <a:cubicBezTo>
                  <a:pt x="1593" y="208"/>
                  <a:pt x="1597" y="205"/>
                  <a:pt x="1597" y="201"/>
                </a:cubicBezTo>
                <a:cubicBezTo>
                  <a:pt x="1597" y="197"/>
                  <a:pt x="1593" y="194"/>
                  <a:pt x="1589" y="194"/>
                </a:cubicBezTo>
                <a:close/>
                <a:moveTo>
                  <a:pt x="1611" y="194"/>
                </a:moveTo>
                <a:cubicBezTo>
                  <a:pt x="1607" y="194"/>
                  <a:pt x="1603" y="197"/>
                  <a:pt x="1603" y="201"/>
                </a:cubicBezTo>
                <a:cubicBezTo>
                  <a:pt x="1603" y="205"/>
                  <a:pt x="1607" y="208"/>
                  <a:pt x="1611" y="208"/>
                </a:cubicBezTo>
                <a:cubicBezTo>
                  <a:pt x="1615" y="208"/>
                  <a:pt x="1619" y="205"/>
                  <a:pt x="1619" y="201"/>
                </a:cubicBezTo>
                <a:cubicBezTo>
                  <a:pt x="1619" y="197"/>
                  <a:pt x="1615" y="194"/>
                  <a:pt x="1611" y="194"/>
                </a:cubicBezTo>
                <a:close/>
                <a:moveTo>
                  <a:pt x="1589" y="214"/>
                </a:moveTo>
                <a:cubicBezTo>
                  <a:pt x="1585" y="214"/>
                  <a:pt x="1581" y="217"/>
                  <a:pt x="1581" y="220"/>
                </a:cubicBezTo>
                <a:cubicBezTo>
                  <a:pt x="1581" y="224"/>
                  <a:pt x="1585" y="227"/>
                  <a:pt x="1589" y="227"/>
                </a:cubicBezTo>
                <a:cubicBezTo>
                  <a:pt x="1593" y="227"/>
                  <a:pt x="1597" y="224"/>
                  <a:pt x="1597" y="220"/>
                </a:cubicBezTo>
                <a:cubicBezTo>
                  <a:pt x="1597" y="217"/>
                  <a:pt x="1593" y="214"/>
                  <a:pt x="1589" y="214"/>
                </a:cubicBezTo>
                <a:close/>
                <a:moveTo>
                  <a:pt x="1611" y="214"/>
                </a:moveTo>
                <a:cubicBezTo>
                  <a:pt x="1607" y="214"/>
                  <a:pt x="1603" y="217"/>
                  <a:pt x="1603" y="220"/>
                </a:cubicBezTo>
                <a:cubicBezTo>
                  <a:pt x="1603" y="224"/>
                  <a:pt x="1607" y="227"/>
                  <a:pt x="1611" y="227"/>
                </a:cubicBezTo>
                <a:cubicBezTo>
                  <a:pt x="1615" y="227"/>
                  <a:pt x="1619" y="224"/>
                  <a:pt x="1619" y="220"/>
                </a:cubicBezTo>
                <a:cubicBezTo>
                  <a:pt x="1619" y="217"/>
                  <a:pt x="1615" y="214"/>
                  <a:pt x="1611" y="214"/>
                </a:cubicBezTo>
                <a:close/>
                <a:moveTo>
                  <a:pt x="1589" y="233"/>
                </a:moveTo>
                <a:cubicBezTo>
                  <a:pt x="1585" y="233"/>
                  <a:pt x="1581" y="236"/>
                  <a:pt x="1581" y="239"/>
                </a:cubicBezTo>
                <a:cubicBezTo>
                  <a:pt x="1581" y="243"/>
                  <a:pt x="1585" y="245"/>
                  <a:pt x="1589" y="245"/>
                </a:cubicBezTo>
                <a:cubicBezTo>
                  <a:pt x="1593" y="245"/>
                  <a:pt x="1597" y="243"/>
                  <a:pt x="1597" y="239"/>
                </a:cubicBezTo>
                <a:cubicBezTo>
                  <a:pt x="1597" y="236"/>
                  <a:pt x="1593" y="233"/>
                  <a:pt x="1589" y="233"/>
                </a:cubicBezTo>
                <a:close/>
                <a:moveTo>
                  <a:pt x="1611" y="233"/>
                </a:moveTo>
                <a:cubicBezTo>
                  <a:pt x="1607" y="233"/>
                  <a:pt x="1603" y="236"/>
                  <a:pt x="1603" y="239"/>
                </a:cubicBezTo>
                <a:cubicBezTo>
                  <a:pt x="1603" y="243"/>
                  <a:pt x="1607" y="245"/>
                  <a:pt x="1611" y="245"/>
                </a:cubicBezTo>
                <a:cubicBezTo>
                  <a:pt x="1615" y="245"/>
                  <a:pt x="1619" y="243"/>
                  <a:pt x="1619" y="239"/>
                </a:cubicBezTo>
                <a:cubicBezTo>
                  <a:pt x="1619" y="236"/>
                  <a:pt x="1615" y="233"/>
                  <a:pt x="1611" y="233"/>
                </a:cubicBezTo>
                <a:close/>
                <a:moveTo>
                  <a:pt x="1589" y="252"/>
                </a:moveTo>
                <a:cubicBezTo>
                  <a:pt x="1585" y="252"/>
                  <a:pt x="1581" y="255"/>
                  <a:pt x="1581" y="258"/>
                </a:cubicBezTo>
                <a:cubicBezTo>
                  <a:pt x="1581" y="262"/>
                  <a:pt x="1585" y="265"/>
                  <a:pt x="1589" y="265"/>
                </a:cubicBezTo>
                <a:cubicBezTo>
                  <a:pt x="1593" y="265"/>
                  <a:pt x="1597" y="262"/>
                  <a:pt x="1597" y="258"/>
                </a:cubicBezTo>
                <a:cubicBezTo>
                  <a:pt x="1597" y="255"/>
                  <a:pt x="1593" y="252"/>
                  <a:pt x="1589" y="252"/>
                </a:cubicBezTo>
                <a:close/>
                <a:moveTo>
                  <a:pt x="1611" y="252"/>
                </a:moveTo>
                <a:cubicBezTo>
                  <a:pt x="1607" y="252"/>
                  <a:pt x="1603" y="255"/>
                  <a:pt x="1603" y="258"/>
                </a:cubicBezTo>
                <a:cubicBezTo>
                  <a:pt x="1603" y="262"/>
                  <a:pt x="1607" y="265"/>
                  <a:pt x="1611" y="265"/>
                </a:cubicBezTo>
                <a:cubicBezTo>
                  <a:pt x="1615" y="265"/>
                  <a:pt x="1619" y="262"/>
                  <a:pt x="1619" y="258"/>
                </a:cubicBezTo>
                <a:cubicBezTo>
                  <a:pt x="1619" y="255"/>
                  <a:pt x="1615" y="252"/>
                  <a:pt x="1611" y="252"/>
                </a:cubicBezTo>
                <a:close/>
                <a:moveTo>
                  <a:pt x="1589" y="271"/>
                </a:moveTo>
                <a:cubicBezTo>
                  <a:pt x="1585" y="271"/>
                  <a:pt x="1581" y="274"/>
                  <a:pt x="1581" y="278"/>
                </a:cubicBezTo>
                <a:cubicBezTo>
                  <a:pt x="1581" y="282"/>
                  <a:pt x="1585" y="285"/>
                  <a:pt x="1589" y="285"/>
                </a:cubicBezTo>
                <a:cubicBezTo>
                  <a:pt x="1593" y="285"/>
                  <a:pt x="1597" y="282"/>
                  <a:pt x="1597" y="278"/>
                </a:cubicBezTo>
                <a:cubicBezTo>
                  <a:pt x="1597" y="274"/>
                  <a:pt x="1593" y="271"/>
                  <a:pt x="1589" y="271"/>
                </a:cubicBezTo>
                <a:close/>
                <a:moveTo>
                  <a:pt x="1611" y="271"/>
                </a:moveTo>
                <a:cubicBezTo>
                  <a:pt x="1607" y="271"/>
                  <a:pt x="1603" y="274"/>
                  <a:pt x="1603" y="278"/>
                </a:cubicBezTo>
                <a:cubicBezTo>
                  <a:pt x="1603" y="282"/>
                  <a:pt x="1607" y="285"/>
                  <a:pt x="1611" y="285"/>
                </a:cubicBezTo>
                <a:cubicBezTo>
                  <a:pt x="1615" y="285"/>
                  <a:pt x="1619" y="282"/>
                  <a:pt x="1619" y="278"/>
                </a:cubicBezTo>
                <a:cubicBezTo>
                  <a:pt x="1619" y="274"/>
                  <a:pt x="1615" y="271"/>
                  <a:pt x="1611" y="271"/>
                </a:cubicBezTo>
                <a:close/>
                <a:moveTo>
                  <a:pt x="1655" y="136"/>
                </a:moveTo>
                <a:cubicBezTo>
                  <a:pt x="1651" y="136"/>
                  <a:pt x="1648" y="139"/>
                  <a:pt x="1648" y="143"/>
                </a:cubicBezTo>
                <a:cubicBezTo>
                  <a:pt x="1648" y="146"/>
                  <a:pt x="1651" y="149"/>
                  <a:pt x="1655" y="149"/>
                </a:cubicBezTo>
                <a:cubicBezTo>
                  <a:pt x="1659" y="149"/>
                  <a:pt x="1662" y="146"/>
                  <a:pt x="1662" y="143"/>
                </a:cubicBezTo>
                <a:cubicBezTo>
                  <a:pt x="1662" y="139"/>
                  <a:pt x="1659" y="136"/>
                  <a:pt x="1655" y="136"/>
                </a:cubicBezTo>
                <a:close/>
                <a:moveTo>
                  <a:pt x="1633" y="155"/>
                </a:moveTo>
                <a:cubicBezTo>
                  <a:pt x="1629" y="155"/>
                  <a:pt x="1625" y="158"/>
                  <a:pt x="1625" y="162"/>
                </a:cubicBezTo>
                <a:cubicBezTo>
                  <a:pt x="1625" y="166"/>
                  <a:pt x="1629" y="169"/>
                  <a:pt x="1633" y="169"/>
                </a:cubicBezTo>
                <a:cubicBezTo>
                  <a:pt x="1637" y="169"/>
                  <a:pt x="1641" y="166"/>
                  <a:pt x="1641" y="162"/>
                </a:cubicBezTo>
                <a:cubicBezTo>
                  <a:pt x="1641" y="158"/>
                  <a:pt x="1637" y="155"/>
                  <a:pt x="1633" y="155"/>
                </a:cubicBezTo>
                <a:close/>
                <a:moveTo>
                  <a:pt x="1655" y="155"/>
                </a:moveTo>
                <a:cubicBezTo>
                  <a:pt x="1651" y="155"/>
                  <a:pt x="1648" y="158"/>
                  <a:pt x="1648" y="162"/>
                </a:cubicBezTo>
                <a:cubicBezTo>
                  <a:pt x="1648" y="166"/>
                  <a:pt x="1651" y="169"/>
                  <a:pt x="1655" y="169"/>
                </a:cubicBezTo>
                <a:cubicBezTo>
                  <a:pt x="1659" y="169"/>
                  <a:pt x="1662" y="166"/>
                  <a:pt x="1662" y="162"/>
                </a:cubicBezTo>
                <a:cubicBezTo>
                  <a:pt x="1662" y="158"/>
                  <a:pt x="1659" y="155"/>
                  <a:pt x="1655" y="155"/>
                </a:cubicBezTo>
                <a:close/>
                <a:moveTo>
                  <a:pt x="1633" y="175"/>
                </a:moveTo>
                <a:cubicBezTo>
                  <a:pt x="1629" y="175"/>
                  <a:pt x="1625" y="178"/>
                  <a:pt x="1625" y="182"/>
                </a:cubicBezTo>
                <a:cubicBezTo>
                  <a:pt x="1625" y="185"/>
                  <a:pt x="1629" y="188"/>
                  <a:pt x="1633" y="188"/>
                </a:cubicBezTo>
                <a:cubicBezTo>
                  <a:pt x="1637" y="188"/>
                  <a:pt x="1641" y="185"/>
                  <a:pt x="1641" y="182"/>
                </a:cubicBezTo>
                <a:cubicBezTo>
                  <a:pt x="1641" y="178"/>
                  <a:pt x="1637" y="175"/>
                  <a:pt x="1633" y="175"/>
                </a:cubicBezTo>
                <a:close/>
                <a:moveTo>
                  <a:pt x="1655" y="175"/>
                </a:moveTo>
                <a:cubicBezTo>
                  <a:pt x="1651" y="175"/>
                  <a:pt x="1648" y="178"/>
                  <a:pt x="1648" y="182"/>
                </a:cubicBezTo>
                <a:cubicBezTo>
                  <a:pt x="1648" y="185"/>
                  <a:pt x="1651" y="188"/>
                  <a:pt x="1655" y="188"/>
                </a:cubicBezTo>
                <a:cubicBezTo>
                  <a:pt x="1659" y="188"/>
                  <a:pt x="1662" y="185"/>
                  <a:pt x="1662" y="182"/>
                </a:cubicBezTo>
                <a:cubicBezTo>
                  <a:pt x="1662" y="178"/>
                  <a:pt x="1659" y="175"/>
                  <a:pt x="1655" y="175"/>
                </a:cubicBezTo>
                <a:close/>
                <a:moveTo>
                  <a:pt x="1633" y="194"/>
                </a:moveTo>
                <a:cubicBezTo>
                  <a:pt x="1629" y="194"/>
                  <a:pt x="1625" y="197"/>
                  <a:pt x="1625" y="201"/>
                </a:cubicBezTo>
                <a:cubicBezTo>
                  <a:pt x="1625" y="205"/>
                  <a:pt x="1629" y="208"/>
                  <a:pt x="1633" y="208"/>
                </a:cubicBezTo>
                <a:cubicBezTo>
                  <a:pt x="1637" y="208"/>
                  <a:pt x="1641" y="205"/>
                  <a:pt x="1641" y="201"/>
                </a:cubicBezTo>
                <a:cubicBezTo>
                  <a:pt x="1641" y="197"/>
                  <a:pt x="1637" y="194"/>
                  <a:pt x="1633" y="194"/>
                </a:cubicBezTo>
                <a:close/>
                <a:moveTo>
                  <a:pt x="1655" y="194"/>
                </a:moveTo>
                <a:cubicBezTo>
                  <a:pt x="1651" y="194"/>
                  <a:pt x="1648" y="197"/>
                  <a:pt x="1648" y="201"/>
                </a:cubicBezTo>
                <a:cubicBezTo>
                  <a:pt x="1648" y="205"/>
                  <a:pt x="1651" y="208"/>
                  <a:pt x="1655" y="208"/>
                </a:cubicBezTo>
                <a:cubicBezTo>
                  <a:pt x="1659" y="208"/>
                  <a:pt x="1662" y="205"/>
                  <a:pt x="1662" y="201"/>
                </a:cubicBezTo>
                <a:cubicBezTo>
                  <a:pt x="1662" y="197"/>
                  <a:pt x="1659" y="194"/>
                  <a:pt x="1655" y="194"/>
                </a:cubicBezTo>
                <a:close/>
                <a:moveTo>
                  <a:pt x="1633" y="214"/>
                </a:moveTo>
                <a:cubicBezTo>
                  <a:pt x="1629" y="214"/>
                  <a:pt x="1625" y="217"/>
                  <a:pt x="1625" y="220"/>
                </a:cubicBezTo>
                <a:cubicBezTo>
                  <a:pt x="1625" y="224"/>
                  <a:pt x="1629" y="227"/>
                  <a:pt x="1633" y="227"/>
                </a:cubicBezTo>
                <a:cubicBezTo>
                  <a:pt x="1637" y="227"/>
                  <a:pt x="1641" y="224"/>
                  <a:pt x="1641" y="220"/>
                </a:cubicBezTo>
                <a:cubicBezTo>
                  <a:pt x="1641" y="217"/>
                  <a:pt x="1637" y="214"/>
                  <a:pt x="1633" y="214"/>
                </a:cubicBezTo>
                <a:close/>
                <a:moveTo>
                  <a:pt x="1655" y="214"/>
                </a:moveTo>
                <a:cubicBezTo>
                  <a:pt x="1651" y="214"/>
                  <a:pt x="1648" y="217"/>
                  <a:pt x="1648" y="220"/>
                </a:cubicBezTo>
                <a:cubicBezTo>
                  <a:pt x="1648" y="224"/>
                  <a:pt x="1651" y="227"/>
                  <a:pt x="1655" y="227"/>
                </a:cubicBezTo>
                <a:cubicBezTo>
                  <a:pt x="1659" y="227"/>
                  <a:pt x="1662" y="224"/>
                  <a:pt x="1662" y="220"/>
                </a:cubicBezTo>
                <a:cubicBezTo>
                  <a:pt x="1662" y="217"/>
                  <a:pt x="1659" y="214"/>
                  <a:pt x="1655" y="214"/>
                </a:cubicBezTo>
                <a:close/>
                <a:moveTo>
                  <a:pt x="1633" y="233"/>
                </a:moveTo>
                <a:cubicBezTo>
                  <a:pt x="1629" y="233"/>
                  <a:pt x="1625" y="236"/>
                  <a:pt x="1625" y="239"/>
                </a:cubicBezTo>
                <a:cubicBezTo>
                  <a:pt x="1625" y="243"/>
                  <a:pt x="1629" y="245"/>
                  <a:pt x="1633" y="245"/>
                </a:cubicBezTo>
                <a:cubicBezTo>
                  <a:pt x="1637" y="245"/>
                  <a:pt x="1641" y="243"/>
                  <a:pt x="1641" y="239"/>
                </a:cubicBezTo>
                <a:cubicBezTo>
                  <a:pt x="1641" y="236"/>
                  <a:pt x="1637" y="233"/>
                  <a:pt x="1633" y="233"/>
                </a:cubicBezTo>
                <a:close/>
                <a:moveTo>
                  <a:pt x="1655" y="233"/>
                </a:moveTo>
                <a:cubicBezTo>
                  <a:pt x="1651" y="233"/>
                  <a:pt x="1648" y="236"/>
                  <a:pt x="1648" y="239"/>
                </a:cubicBezTo>
                <a:cubicBezTo>
                  <a:pt x="1648" y="243"/>
                  <a:pt x="1651" y="245"/>
                  <a:pt x="1655" y="245"/>
                </a:cubicBezTo>
                <a:cubicBezTo>
                  <a:pt x="1659" y="245"/>
                  <a:pt x="1662" y="243"/>
                  <a:pt x="1662" y="239"/>
                </a:cubicBezTo>
                <a:cubicBezTo>
                  <a:pt x="1662" y="236"/>
                  <a:pt x="1659" y="233"/>
                  <a:pt x="1655" y="233"/>
                </a:cubicBezTo>
                <a:close/>
                <a:moveTo>
                  <a:pt x="1633" y="252"/>
                </a:moveTo>
                <a:cubicBezTo>
                  <a:pt x="1629" y="252"/>
                  <a:pt x="1625" y="255"/>
                  <a:pt x="1625" y="258"/>
                </a:cubicBezTo>
                <a:cubicBezTo>
                  <a:pt x="1625" y="262"/>
                  <a:pt x="1629" y="265"/>
                  <a:pt x="1633" y="265"/>
                </a:cubicBezTo>
                <a:cubicBezTo>
                  <a:pt x="1637" y="265"/>
                  <a:pt x="1641" y="262"/>
                  <a:pt x="1641" y="258"/>
                </a:cubicBezTo>
                <a:cubicBezTo>
                  <a:pt x="1641" y="255"/>
                  <a:pt x="1637" y="252"/>
                  <a:pt x="1633" y="252"/>
                </a:cubicBezTo>
                <a:close/>
                <a:moveTo>
                  <a:pt x="1655" y="252"/>
                </a:moveTo>
                <a:cubicBezTo>
                  <a:pt x="1651" y="252"/>
                  <a:pt x="1648" y="255"/>
                  <a:pt x="1648" y="258"/>
                </a:cubicBezTo>
                <a:cubicBezTo>
                  <a:pt x="1648" y="262"/>
                  <a:pt x="1651" y="265"/>
                  <a:pt x="1655" y="265"/>
                </a:cubicBezTo>
                <a:cubicBezTo>
                  <a:pt x="1659" y="265"/>
                  <a:pt x="1662" y="262"/>
                  <a:pt x="1662" y="258"/>
                </a:cubicBezTo>
                <a:cubicBezTo>
                  <a:pt x="1662" y="255"/>
                  <a:pt x="1659" y="252"/>
                  <a:pt x="1655" y="252"/>
                </a:cubicBezTo>
                <a:close/>
                <a:moveTo>
                  <a:pt x="1633" y="271"/>
                </a:moveTo>
                <a:cubicBezTo>
                  <a:pt x="1629" y="271"/>
                  <a:pt x="1625" y="274"/>
                  <a:pt x="1625" y="278"/>
                </a:cubicBezTo>
                <a:cubicBezTo>
                  <a:pt x="1625" y="282"/>
                  <a:pt x="1629" y="285"/>
                  <a:pt x="1633" y="285"/>
                </a:cubicBezTo>
                <a:cubicBezTo>
                  <a:pt x="1637" y="285"/>
                  <a:pt x="1641" y="282"/>
                  <a:pt x="1641" y="278"/>
                </a:cubicBezTo>
                <a:cubicBezTo>
                  <a:pt x="1641" y="274"/>
                  <a:pt x="1637" y="271"/>
                  <a:pt x="1633" y="271"/>
                </a:cubicBezTo>
                <a:close/>
                <a:moveTo>
                  <a:pt x="1655" y="271"/>
                </a:moveTo>
                <a:cubicBezTo>
                  <a:pt x="1651" y="271"/>
                  <a:pt x="1648" y="274"/>
                  <a:pt x="1648" y="278"/>
                </a:cubicBezTo>
                <a:cubicBezTo>
                  <a:pt x="1648" y="282"/>
                  <a:pt x="1651" y="285"/>
                  <a:pt x="1655" y="285"/>
                </a:cubicBezTo>
                <a:cubicBezTo>
                  <a:pt x="1659" y="285"/>
                  <a:pt x="1662" y="282"/>
                  <a:pt x="1662" y="278"/>
                </a:cubicBezTo>
                <a:cubicBezTo>
                  <a:pt x="1662" y="274"/>
                  <a:pt x="1659" y="271"/>
                  <a:pt x="1655" y="271"/>
                </a:cubicBezTo>
                <a:close/>
                <a:moveTo>
                  <a:pt x="1677" y="136"/>
                </a:moveTo>
                <a:cubicBezTo>
                  <a:pt x="1673" y="136"/>
                  <a:pt x="1670" y="139"/>
                  <a:pt x="1670" y="143"/>
                </a:cubicBezTo>
                <a:cubicBezTo>
                  <a:pt x="1670" y="146"/>
                  <a:pt x="1673" y="149"/>
                  <a:pt x="1677" y="149"/>
                </a:cubicBezTo>
                <a:cubicBezTo>
                  <a:pt x="1682" y="149"/>
                  <a:pt x="1685" y="146"/>
                  <a:pt x="1685" y="143"/>
                </a:cubicBezTo>
                <a:cubicBezTo>
                  <a:pt x="1685" y="139"/>
                  <a:pt x="1682" y="136"/>
                  <a:pt x="1677" y="136"/>
                </a:cubicBezTo>
                <a:close/>
                <a:moveTo>
                  <a:pt x="1700" y="136"/>
                </a:moveTo>
                <a:cubicBezTo>
                  <a:pt x="1696" y="136"/>
                  <a:pt x="1692" y="139"/>
                  <a:pt x="1692" y="143"/>
                </a:cubicBezTo>
                <a:cubicBezTo>
                  <a:pt x="1692" y="146"/>
                  <a:pt x="1696" y="149"/>
                  <a:pt x="1700" y="149"/>
                </a:cubicBezTo>
                <a:cubicBezTo>
                  <a:pt x="1704" y="149"/>
                  <a:pt x="1708" y="146"/>
                  <a:pt x="1708" y="143"/>
                </a:cubicBezTo>
                <a:cubicBezTo>
                  <a:pt x="1708" y="139"/>
                  <a:pt x="1704" y="136"/>
                  <a:pt x="1700" y="136"/>
                </a:cubicBezTo>
                <a:close/>
                <a:moveTo>
                  <a:pt x="1677" y="155"/>
                </a:moveTo>
                <a:cubicBezTo>
                  <a:pt x="1673" y="155"/>
                  <a:pt x="1670" y="158"/>
                  <a:pt x="1670" y="162"/>
                </a:cubicBezTo>
                <a:cubicBezTo>
                  <a:pt x="1670" y="166"/>
                  <a:pt x="1673" y="169"/>
                  <a:pt x="1677" y="169"/>
                </a:cubicBezTo>
                <a:cubicBezTo>
                  <a:pt x="1682" y="169"/>
                  <a:pt x="1685" y="166"/>
                  <a:pt x="1685" y="162"/>
                </a:cubicBezTo>
                <a:cubicBezTo>
                  <a:pt x="1685" y="158"/>
                  <a:pt x="1682" y="155"/>
                  <a:pt x="1677" y="155"/>
                </a:cubicBezTo>
                <a:close/>
                <a:moveTo>
                  <a:pt x="1700" y="155"/>
                </a:moveTo>
                <a:cubicBezTo>
                  <a:pt x="1696" y="155"/>
                  <a:pt x="1692" y="158"/>
                  <a:pt x="1692" y="162"/>
                </a:cubicBezTo>
                <a:cubicBezTo>
                  <a:pt x="1692" y="166"/>
                  <a:pt x="1696" y="169"/>
                  <a:pt x="1700" y="169"/>
                </a:cubicBezTo>
                <a:cubicBezTo>
                  <a:pt x="1704" y="169"/>
                  <a:pt x="1708" y="166"/>
                  <a:pt x="1708" y="162"/>
                </a:cubicBezTo>
                <a:cubicBezTo>
                  <a:pt x="1708" y="158"/>
                  <a:pt x="1704" y="155"/>
                  <a:pt x="1700" y="155"/>
                </a:cubicBezTo>
                <a:close/>
                <a:moveTo>
                  <a:pt x="1677" y="175"/>
                </a:moveTo>
                <a:cubicBezTo>
                  <a:pt x="1673" y="175"/>
                  <a:pt x="1670" y="178"/>
                  <a:pt x="1670" y="182"/>
                </a:cubicBezTo>
                <a:cubicBezTo>
                  <a:pt x="1670" y="185"/>
                  <a:pt x="1673" y="188"/>
                  <a:pt x="1677" y="188"/>
                </a:cubicBezTo>
                <a:cubicBezTo>
                  <a:pt x="1682" y="188"/>
                  <a:pt x="1685" y="185"/>
                  <a:pt x="1685" y="182"/>
                </a:cubicBezTo>
                <a:cubicBezTo>
                  <a:pt x="1685" y="178"/>
                  <a:pt x="1682" y="175"/>
                  <a:pt x="1677" y="175"/>
                </a:cubicBezTo>
                <a:close/>
                <a:moveTo>
                  <a:pt x="1700" y="175"/>
                </a:moveTo>
                <a:cubicBezTo>
                  <a:pt x="1696" y="175"/>
                  <a:pt x="1692" y="178"/>
                  <a:pt x="1692" y="182"/>
                </a:cubicBezTo>
                <a:cubicBezTo>
                  <a:pt x="1692" y="185"/>
                  <a:pt x="1696" y="188"/>
                  <a:pt x="1700" y="188"/>
                </a:cubicBezTo>
                <a:cubicBezTo>
                  <a:pt x="1704" y="188"/>
                  <a:pt x="1708" y="185"/>
                  <a:pt x="1708" y="182"/>
                </a:cubicBezTo>
                <a:cubicBezTo>
                  <a:pt x="1708" y="178"/>
                  <a:pt x="1704" y="175"/>
                  <a:pt x="1700" y="175"/>
                </a:cubicBezTo>
                <a:close/>
                <a:moveTo>
                  <a:pt x="1677" y="194"/>
                </a:moveTo>
                <a:cubicBezTo>
                  <a:pt x="1673" y="194"/>
                  <a:pt x="1670" y="197"/>
                  <a:pt x="1670" y="201"/>
                </a:cubicBezTo>
                <a:cubicBezTo>
                  <a:pt x="1670" y="205"/>
                  <a:pt x="1673" y="208"/>
                  <a:pt x="1677" y="208"/>
                </a:cubicBezTo>
                <a:cubicBezTo>
                  <a:pt x="1682" y="208"/>
                  <a:pt x="1685" y="205"/>
                  <a:pt x="1685" y="201"/>
                </a:cubicBezTo>
                <a:cubicBezTo>
                  <a:pt x="1685" y="197"/>
                  <a:pt x="1682" y="194"/>
                  <a:pt x="1677" y="194"/>
                </a:cubicBezTo>
                <a:close/>
                <a:moveTo>
                  <a:pt x="1700" y="194"/>
                </a:moveTo>
                <a:cubicBezTo>
                  <a:pt x="1696" y="194"/>
                  <a:pt x="1692" y="197"/>
                  <a:pt x="1692" y="201"/>
                </a:cubicBezTo>
                <a:cubicBezTo>
                  <a:pt x="1692" y="205"/>
                  <a:pt x="1696" y="208"/>
                  <a:pt x="1700" y="208"/>
                </a:cubicBezTo>
                <a:cubicBezTo>
                  <a:pt x="1704" y="208"/>
                  <a:pt x="1708" y="205"/>
                  <a:pt x="1708" y="201"/>
                </a:cubicBezTo>
                <a:cubicBezTo>
                  <a:pt x="1708" y="197"/>
                  <a:pt x="1704" y="194"/>
                  <a:pt x="1700" y="194"/>
                </a:cubicBezTo>
                <a:close/>
                <a:moveTo>
                  <a:pt x="1677" y="214"/>
                </a:moveTo>
                <a:cubicBezTo>
                  <a:pt x="1673" y="214"/>
                  <a:pt x="1670" y="217"/>
                  <a:pt x="1670" y="220"/>
                </a:cubicBezTo>
                <a:cubicBezTo>
                  <a:pt x="1670" y="224"/>
                  <a:pt x="1673" y="227"/>
                  <a:pt x="1677" y="227"/>
                </a:cubicBezTo>
                <a:cubicBezTo>
                  <a:pt x="1682" y="227"/>
                  <a:pt x="1685" y="224"/>
                  <a:pt x="1685" y="220"/>
                </a:cubicBezTo>
                <a:cubicBezTo>
                  <a:pt x="1685" y="217"/>
                  <a:pt x="1682" y="214"/>
                  <a:pt x="1677" y="214"/>
                </a:cubicBezTo>
                <a:close/>
                <a:moveTo>
                  <a:pt x="1700" y="214"/>
                </a:moveTo>
                <a:cubicBezTo>
                  <a:pt x="1696" y="214"/>
                  <a:pt x="1692" y="217"/>
                  <a:pt x="1692" y="220"/>
                </a:cubicBezTo>
                <a:cubicBezTo>
                  <a:pt x="1692" y="224"/>
                  <a:pt x="1696" y="227"/>
                  <a:pt x="1700" y="227"/>
                </a:cubicBezTo>
                <a:cubicBezTo>
                  <a:pt x="1704" y="227"/>
                  <a:pt x="1708" y="224"/>
                  <a:pt x="1708" y="220"/>
                </a:cubicBezTo>
                <a:cubicBezTo>
                  <a:pt x="1708" y="217"/>
                  <a:pt x="1704" y="214"/>
                  <a:pt x="1700" y="214"/>
                </a:cubicBezTo>
                <a:close/>
                <a:moveTo>
                  <a:pt x="1677" y="233"/>
                </a:moveTo>
                <a:cubicBezTo>
                  <a:pt x="1673" y="233"/>
                  <a:pt x="1670" y="236"/>
                  <a:pt x="1670" y="239"/>
                </a:cubicBezTo>
                <a:cubicBezTo>
                  <a:pt x="1670" y="243"/>
                  <a:pt x="1673" y="245"/>
                  <a:pt x="1677" y="245"/>
                </a:cubicBezTo>
                <a:cubicBezTo>
                  <a:pt x="1682" y="245"/>
                  <a:pt x="1685" y="243"/>
                  <a:pt x="1685" y="239"/>
                </a:cubicBezTo>
                <a:cubicBezTo>
                  <a:pt x="1685" y="236"/>
                  <a:pt x="1682" y="233"/>
                  <a:pt x="1677" y="233"/>
                </a:cubicBezTo>
                <a:close/>
                <a:moveTo>
                  <a:pt x="1700" y="233"/>
                </a:moveTo>
                <a:cubicBezTo>
                  <a:pt x="1696" y="233"/>
                  <a:pt x="1692" y="236"/>
                  <a:pt x="1692" y="239"/>
                </a:cubicBezTo>
                <a:cubicBezTo>
                  <a:pt x="1692" y="243"/>
                  <a:pt x="1696" y="245"/>
                  <a:pt x="1700" y="245"/>
                </a:cubicBezTo>
                <a:cubicBezTo>
                  <a:pt x="1704" y="245"/>
                  <a:pt x="1708" y="243"/>
                  <a:pt x="1708" y="239"/>
                </a:cubicBezTo>
                <a:cubicBezTo>
                  <a:pt x="1708" y="236"/>
                  <a:pt x="1704" y="233"/>
                  <a:pt x="1700" y="233"/>
                </a:cubicBezTo>
                <a:close/>
                <a:moveTo>
                  <a:pt x="1677" y="252"/>
                </a:moveTo>
                <a:cubicBezTo>
                  <a:pt x="1673" y="252"/>
                  <a:pt x="1670" y="255"/>
                  <a:pt x="1670" y="258"/>
                </a:cubicBezTo>
                <a:cubicBezTo>
                  <a:pt x="1670" y="262"/>
                  <a:pt x="1673" y="265"/>
                  <a:pt x="1677" y="265"/>
                </a:cubicBezTo>
                <a:cubicBezTo>
                  <a:pt x="1682" y="265"/>
                  <a:pt x="1685" y="262"/>
                  <a:pt x="1685" y="258"/>
                </a:cubicBezTo>
                <a:cubicBezTo>
                  <a:pt x="1685" y="255"/>
                  <a:pt x="1682" y="252"/>
                  <a:pt x="1677" y="252"/>
                </a:cubicBezTo>
                <a:close/>
                <a:moveTo>
                  <a:pt x="1700" y="252"/>
                </a:moveTo>
                <a:cubicBezTo>
                  <a:pt x="1696" y="252"/>
                  <a:pt x="1692" y="255"/>
                  <a:pt x="1692" y="258"/>
                </a:cubicBezTo>
                <a:cubicBezTo>
                  <a:pt x="1692" y="262"/>
                  <a:pt x="1696" y="265"/>
                  <a:pt x="1700" y="265"/>
                </a:cubicBezTo>
                <a:cubicBezTo>
                  <a:pt x="1704" y="265"/>
                  <a:pt x="1708" y="262"/>
                  <a:pt x="1708" y="258"/>
                </a:cubicBezTo>
                <a:cubicBezTo>
                  <a:pt x="1708" y="255"/>
                  <a:pt x="1704" y="252"/>
                  <a:pt x="1700" y="252"/>
                </a:cubicBezTo>
                <a:close/>
                <a:moveTo>
                  <a:pt x="1677" y="271"/>
                </a:moveTo>
                <a:cubicBezTo>
                  <a:pt x="1673" y="271"/>
                  <a:pt x="1670" y="274"/>
                  <a:pt x="1670" y="278"/>
                </a:cubicBezTo>
                <a:cubicBezTo>
                  <a:pt x="1670" y="282"/>
                  <a:pt x="1673" y="285"/>
                  <a:pt x="1677" y="285"/>
                </a:cubicBezTo>
                <a:cubicBezTo>
                  <a:pt x="1682" y="285"/>
                  <a:pt x="1685" y="282"/>
                  <a:pt x="1685" y="278"/>
                </a:cubicBezTo>
                <a:cubicBezTo>
                  <a:pt x="1685" y="274"/>
                  <a:pt x="1682" y="271"/>
                  <a:pt x="1677" y="271"/>
                </a:cubicBezTo>
                <a:close/>
                <a:moveTo>
                  <a:pt x="1700" y="271"/>
                </a:moveTo>
                <a:cubicBezTo>
                  <a:pt x="1696" y="271"/>
                  <a:pt x="1692" y="274"/>
                  <a:pt x="1692" y="278"/>
                </a:cubicBezTo>
                <a:cubicBezTo>
                  <a:pt x="1692" y="282"/>
                  <a:pt x="1696" y="285"/>
                  <a:pt x="1700" y="285"/>
                </a:cubicBezTo>
                <a:cubicBezTo>
                  <a:pt x="1704" y="285"/>
                  <a:pt x="1708" y="282"/>
                  <a:pt x="1708" y="278"/>
                </a:cubicBezTo>
                <a:cubicBezTo>
                  <a:pt x="1708" y="274"/>
                  <a:pt x="1704" y="271"/>
                  <a:pt x="1700" y="271"/>
                </a:cubicBezTo>
                <a:close/>
                <a:moveTo>
                  <a:pt x="1722" y="136"/>
                </a:moveTo>
                <a:cubicBezTo>
                  <a:pt x="1718" y="136"/>
                  <a:pt x="1714" y="139"/>
                  <a:pt x="1714" y="143"/>
                </a:cubicBezTo>
                <a:cubicBezTo>
                  <a:pt x="1714" y="146"/>
                  <a:pt x="1718" y="149"/>
                  <a:pt x="1722" y="149"/>
                </a:cubicBezTo>
                <a:cubicBezTo>
                  <a:pt x="1726" y="149"/>
                  <a:pt x="1730" y="146"/>
                  <a:pt x="1730" y="143"/>
                </a:cubicBezTo>
                <a:cubicBezTo>
                  <a:pt x="1730" y="139"/>
                  <a:pt x="1726" y="136"/>
                  <a:pt x="1722" y="136"/>
                </a:cubicBezTo>
                <a:close/>
                <a:moveTo>
                  <a:pt x="1744" y="136"/>
                </a:moveTo>
                <a:cubicBezTo>
                  <a:pt x="1740" y="136"/>
                  <a:pt x="1736" y="139"/>
                  <a:pt x="1736" y="143"/>
                </a:cubicBezTo>
                <a:cubicBezTo>
                  <a:pt x="1736" y="146"/>
                  <a:pt x="1740" y="149"/>
                  <a:pt x="1744" y="149"/>
                </a:cubicBezTo>
                <a:cubicBezTo>
                  <a:pt x="1748" y="149"/>
                  <a:pt x="1751" y="146"/>
                  <a:pt x="1751" y="143"/>
                </a:cubicBezTo>
                <a:cubicBezTo>
                  <a:pt x="1751" y="139"/>
                  <a:pt x="1748" y="136"/>
                  <a:pt x="1744" y="136"/>
                </a:cubicBezTo>
                <a:close/>
                <a:moveTo>
                  <a:pt x="1722" y="155"/>
                </a:moveTo>
                <a:cubicBezTo>
                  <a:pt x="1718" y="155"/>
                  <a:pt x="1714" y="158"/>
                  <a:pt x="1714" y="162"/>
                </a:cubicBezTo>
                <a:cubicBezTo>
                  <a:pt x="1714" y="166"/>
                  <a:pt x="1718" y="169"/>
                  <a:pt x="1722" y="169"/>
                </a:cubicBezTo>
                <a:cubicBezTo>
                  <a:pt x="1726" y="169"/>
                  <a:pt x="1730" y="166"/>
                  <a:pt x="1730" y="162"/>
                </a:cubicBezTo>
                <a:cubicBezTo>
                  <a:pt x="1730" y="158"/>
                  <a:pt x="1726" y="155"/>
                  <a:pt x="1722" y="155"/>
                </a:cubicBezTo>
                <a:close/>
                <a:moveTo>
                  <a:pt x="1744" y="155"/>
                </a:moveTo>
                <a:cubicBezTo>
                  <a:pt x="1740" y="155"/>
                  <a:pt x="1736" y="158"/>
                  <a:pt x="1736" y="162"/>
                </a:cubicBezTo>
                <a:cubicBezTo>
                  <a:pt x="1736" y="166"/>
                  <a:pt x="1740" y="169"/>
                  <a:pt x="1744" y="169"/>
                </a:cubicBezTo>
                <a:cubicBezTo>
                  <a:pt x="1748" y="169"/>
                  <a:pt x="1751" y="166"/>
                  <a:pt x="1751" y="162"/>
                </a:cubicBezTo>
                <a:cubicBezTo>
                  <a:pt x="1751" y="158"/>
                  <a:pt x="1748" y="155"/>
                  <a:pt x="1744" y="155"/>
                </a:cubicBezTo>
                <a:close/>
                <a:moveTo>
                  <a:pt x="1722" y="175"/>
                </a:moveTo>
                <a:cubicBezTo>
                  <a:pt x="1718" y="175"/>
                  <a:pt x="1714" y="178"/>
                  <a:pt x="1714" y="182"/>
                </a:cubicBezTo>
                <a:cubicBezTo>
                  <a:pt x="1714" y="185"/>
                  <a:pt x="1718" y="188"/>
                  <a:pt x="1722" y="188"/>
                </a:cubicBezTo>
                <a:cubicBezTo>
                  <a:pt x="1726" y="188"/>
                  <a:pt x="1730" y="185"/>
                  <a:pt x="1730" y="182"/>
                </a:cubicBezTo>
                <a:cubicBezTo>
                  <a:pt x="1730" y="178"/>
                  <a:pt x="1726" y="175"/>
                  <a:pt x="1722" y="175"/>
                </a:cubicBezTo>
                <a:close/>
                <a:moveTo>
                  <a:pt x="1744" y="175"/>
                </a:moveTo>
                <a:cubicBezTo>
                  <a:pt x="1740" y="175"/>
                  <a:pt x="1736" y="178"/>
                  <a:pt x="1736" y="182"/>
                </a:cubicBezTo>
                <a:cubicBezTo>
                  <a:pt x="1736" y="185"/>
                  <a:pt x="1740" y="188"/>
                  <a:pt x="1744" y="188"/>
                </a:cubicBezTo>
                <a:cubicBezTo>
                  <a:pt x="1748" y="188"/>
                  <a:pt x="1751" y="185"/>
                  <a:pt x="1751" y="182"/>
                </a:cubicBezTo>
                <a:cubicBezTo>
                  <a:pt x="1751" y="178"/>
                  <a:pt x="1748" y="175"/>
                  <a:pt x="1744" y="175"/>
                </a:cubicBezTo>
                <a:close/>
                <a:moveTo>
                  <a:pt x="1722" y="194"/>
                </a:moveTo>
                <a:cubicBezTo>
                  <a:pt x="1718" y="194"/>
                  <a:pt x="1714" y="197"/>
                  <a:pt x="1714" y="201"/>
                </a:cubicBezTo>
                <a:cubicBezTo>
                  <a:pt x="1714" y="205"/>
                  <a:pt x="1718" y="208"/>
                  <a:pt x="1722" y="208"/>
                </a:cubicBezTo>
                <a:cubicBezTo>
                  <a:pt x="1726" y="208"/>
                  <a:pt x="1730" y="205"/>
                  <a:pt x="1730" y="201"/>
                </a:cubicBezTo>
                <a:cubicBezTo>
                  <a:pt x="1730" y="197"/>
                  <a:pt x="1726" y="194"/>
                  <a:pt x="1722" y="194"/>
                </a:cubicBezTo>
                <a:close/>
                <a:moveTo>
                  <a:pt x="1744" y="194"/>
                </a:moveTo>
                <a:cubicBezTo>
                  <a:pt x="1740" y="194"/>
                  <a:pt x="1736" y="197"/>
                  <a:pt x="1736" y="201"/>
                </a:cubicBezTo>
                <a:cubicBezTo>
                  <a:pt x="1736" y="205"/>
                  <a:pt x="1740" y="208"/>
                  <a:pt x="1744" y="208"/>
                </a:cubicBezTo>
                <a:cubicBezTo>
                  <a:pt x="1748" y="208"/>
                  <a:pt x="1751" y="205"/>
                  <a:pt x="1751" y="201"/>
                </a:cubicBezTo>
                <a:cubicBezTo>
                  <a:pt x="1751" y="197"/>
                  <a:pt x="1748" y="194"/>
                  <a:pt x="1744" y="194"/>
                </a:cubicBezTo>
                <a:close/>
                <a:moveTo>
                  <a:pt x="1722" y="214"/>
                </a:moveTo>
                <a:cubicBezTo>
                  <a:pt x="1718" y="214"/>
                  <a:pt x="1714" y="217"/>
                  <a:pt x="1714" y="220"/>
                </a:cubicBezTo>
                <a:cubicBezTo>
                  <a:pt x="1714" y="224"/>
                  <a:pt x="1718" y="227"/>
                  <a:pt x="1722" y="227"/>
                </a:cubicBezTo>
                <a:cubicBezTo>
                  <a:pt x="1726" y="227"/>
                  <a:pt x="1730" y="224"/>
                  <a:pt x="1730" y="220"/>
                </a:cubicBezTo>
                <a:cubicBezTo>
                  <a:pt x="1730" y="217"/>
                  <a:pt x="1726" y="214"/>
                  <a:pt x="1722" y="214"/>
                </a:cubicBezTo>
                <a:close/>
                <a:moveTo>
                  <a:pt x="1744" y="214"/>
                </a:moveTo>
                <a:cubicBezTo>
                  <a:pt x="1740" y="214"/>
                  <a:pt x="1736" y="217"/>
                  <a:pt x="1736" y="220"/>
                </a:cubicBezTo>
                <a:cubicBezTo>
                  <a:pt x="1736" y="224"/>
                  <a:pt x="1740" y="227"/>
                  <a:pt x="1744" y="227"/>
                </a:cubicBezTo>
                <a:cubicBezTo>
                  <a:pt x="1748" y="227"/>
                  <a:pt x="1751" y="224"/>
                  <a:pt x="1751" y="220"/>
                </a:cubicBezTo>
                <a:cubicBezTo>
                  <a:pt x="1751" y="217"/>
                  <a:pt x="1748" y="214"/>
                  <a:pt x="1744" y="214"/>
                </a:cubicBezTo>
                <a:close/>
                <a:moveTo>
                  <a:pt x="1722" y="233"/>
                </a:moveTo>
                <a:cubicBezTo>
                  <a:pt x="1718" y="233"/>
                  <a:pt x="1714" y="236"/>
                  <a:pt x="1714" y="239"/>
                </a:cubicBezTo>
                <a:cubicBezTo>
                  <a:pt x="1714" y="243"/>
                  <a:pt x="1718" y="245"/>
                  <a:pt x="1722" y="245"/>
                </a:cubicBezTo>
                <a:cubicBezTo>
                  <a:pt x="1726" y="245"/>
                  <a:pt x="1730" y="243"/>
                  <a:pt x="1730" y="239"/>
                </a:cubicBezTo>
                <a:cubicBezTo>
                  <a:pt x="1730" y="236"/>
                  <a:pt x="1726" y="233"/>
                  <a:pt x="1722" y="233"/>
                </a:cubicBezTo>
                <a:close/>
                <a:moveTo>
                  <a:pt x="1744" y="233"/>
                </a:moveTo>
                <a:cubicBezTo>
                  <a:pt x="1740" y="233"/>
                  <a:pt x="1736" y="236"/>
                  <a:pt x="1736" y="239"/>
                </a:cubicBezTo>
                <a:cubicBezTo>
                  <a:pt x="1736" y="243"/>
                  <a:pt x="1740" y="245"/>
                  <a:pt x="1744" y="245"/>
                </a:cubicBezTo>
                <a:cubicBezTo>
                  <a:pt x="1748" y="245"/>
                  <a:pt x="1751" y="243"/>
                  <a:pt x="1751" y="239"/>
                </a:cubicBezTo>
                <a:cubicBezTo>
                  <a:pt x="1751" y="236"/>
                  <a:pt x="1748" y="233"/>
                  <a:pt x="1744" y="233"/>
                </a:cubicBezTo>
                <a:close/>
                <a:moveTo>
                  <a:pt x="1722" y="252"/>
                </a:moveTo>
                <a:cubicBezTo>
                  <a:pt x="1718" y="252"/>
                  <a:pt x="1714" y="255"/>
                  <a:pt x="1714" y="258"/>
                </a:cubicBezTo>
                <a:cubicBezTo>
                  <a:pt x="1714" y="262"/>
                  <a:pt x="1718" y="265"/>
                  <a:pt x="1722" y="265"/>
                </a:cubicBezTo>
                <a:cubicBezTo>
                  <a:pt x="1726" y="265"/>
                  <a:pt x="1730" y="262"/>
                  <a:pt x="1730" y="258"/>
                </a:cubicBezTo>
                <a:cubicBezTo>
                  <a:pt x="1730" y="255"/>
                  <a:pt x="1726" y="252"/>
                  <a:pt x="1722" y="252"/>
                </a:cubicBezTo>
                <a:close/>
                <a:moveTo>
                  <a:pt x="1744" y="252"/>
                </a:moveTo>
                <a:cubicBezTo>
                  <a:pt x="1740" y="252"/>
                  <a:pt x="1736" y="255"/>
                  <a:pt x="1736" y="258"/>
                </a:cubicBezTo>
                <a:cubicBezTo>
                  <a:pt x="1736" y="262"/>
                  <a:pt x="1740" y="265"/>
                  <a:pt x="1744" y="265"/>
                </a:cubicBezTo>
                <a:cubicBezTo>
                  <a:pt x="1748" y="265"/>
                  <a:pt x="1751" y="262"/>
                  <a:pt x="1751" y="258"/>
                </a:cubicBezTo>
                <a:cubicBezTo>
                  <a:pt x="1751" y="255"/>
                  <a:pt x="1748" y="252"/>
                  <a:pt x="1744" y="252"/>
                </a:cubicBezTo>
                <a:close/>
                <a:moveTo>
                  <a:pt x="1722" y="271"/>
                </a:moveTo>
                <a:cubicBezTo>
                  <a:pt x="1718" y="271"/>
                  <a:pt x="1714" y="274"/>
                  <a:pt x="1714" y="278"/>
                </a:cubicBezTo>
                <a:cubicBezTo>
                  <a:pt x="1714" y="282"/>
                  <a:pt x="1718" y="285"/>
                  <a:pt x="1722" y="285"/>
                </a:cubicBezTo>
                <a:cubicBezTo>
                  <a:pt x="1726" y="285"/>
                  <a:pt x="1730" y="282"/>
                  <a:pt x="1730" y="278"/>
                </a:cubicBezTo>
                <a:cubicBezTo>
                  <a:pt x="1730" y="274"/>
                  <a:pt x="1726" y="271"/>
                  <a:pt x="1722" y="271"/>
                </a:cubicBezTo>
                <a:close/>
                <a:moveTo>
                  <a:pt x="1744" y="271"/>
                </a:moveTo>
                <a:cubicBezTo>
                  <a:pt x="1740" y="271"/>
                  <a:pt x="1736" y="274"/>
                  <a:pt x="1736" y="278"/>
                </a:cubicBezTo>
                <a:cubicBezTo>
                  <a:pt x="1736" y="282"/>
                  <a:pt x="1740" y="285"/>
                  <a:pt x="1744" y="285"/>
                </a:cubicBezTo>
                <a:cubicBezTo>
                  <a:pt x="1748" y="285"/>
                  <a:pt x="1751" y="282"/>
                  <a:pt x="1751" y="278"/>
                </a:cubicBezTo>
                <a:cubicBezTo>
                  <a:pt x="1751" y="274"/>
                  <a:pt x="1748" y="271"/>
                  <a:pt x="1744" y="271"/>
                </a:cubicBezTo>
                <a:close/>
                <a:moveTo>
                  <a:pt x="1766" y="40"/>
                </a:moveTo>
                <a:cubicBezTo>
                  <a:pt x="1762" y="40"/>
                  <a:pt x="1759" y="43"/>
                  <a:pt x="1759" y="46"/>
                </a:cubicBezTo>
                <a:cubicBezTo>
                  <a:pt x="1759" y="50"/>
                  <a:pt x="1762" y="53"/>
                  <a:pt x="1766" y="53"/>
                </a:cubicBezTo>
                <a:cubicBezTo>
                  <a:pt x="1770" y="53"/>
                  <a:pt x="1774" y="50"/>
                  <a:pt x="1774" y="46"/>
                </a:cubicBezTo>
                <a:cubicBezTo>
                  <a:pt x="1774" y="43"/>
                  <a:pt x="1770" y="40"/>
                  <a:pt x="1766" y="40"/>
                </a:cubicBezTo>
                <a:close/>
                <a:moveTo>
                  <a:pt x="1766" y="59"/>
                </a:moveTo>
                <a:cubicBezTo>
                  <a:pt x="1762" y="59"/>
                  <a:pt x="1759" y="62"/>
                  <a:pt x="1759" y="65"/>
                </a:cubicBezTo>
                <a:cubicBezTo>
                  <a:pt x="1759" y="69"/>
                  <a:pt x="1762" y="72"/>
                  <a:pt x="1766" y="72"/>
                </a:cubicBezTo>
                <a:cubicBezTo>
                  <a:pt x="1770" y="72"/>
                  <a:pt x="1774" y="69"/>
                  <a:pt x="1774" y="65"/>
                </a:cubicBezTo>
                <a:cubicBezTo>
                  <a:pt x="1774" y="62"/>
                  <a:pt x="1770" y="59"/>
                  <a:pt x="1766" y="59"/>
                </a:cubicBezTo>
                <a:close/>
                <a:moveTo>
                  <a:pt x="1789" y="59"/>
                </a:moveTo>
                <a:cubicBezTo>
                  <a:pt x="1784" y="59"/>
                  <a:pt x="1781" y="62"/>
                  <a:pt x="1781" y="65"/>
                </a:cubicBezTo>
                <a:cubicBezTo>
                  <a:pt x="1781" y="69"/>
                  <a:pt x="1784" y="72"/>
                  <a:pt x="1789" y="72"/>
                </a:cubicBezTo>
                <a:cubicBezTo>
                  <a:pt x="1793" y="72"/>
                  <a:pt x="1796" y="69"/>
                  <a:pt x="1796" y="65"/>
                </a:cubicBezTo>
                <a:cubicBezTo>
                  <a:pt x="1796" y="62"/>
                  <a:pt x="1793" y="59"/>
                  <a:pt x="1789" y="59"/>
                </a:cubicBezTo>
                <a:close/>
                <a:moveTo>
                  <a:pt x="1766" y="97"/>
                </a:moveTo>
                <a:cubicBezTo>
                  <a:pt x="1762" y="97"/>
                  <a:pt x="1759" y="100"/>
                  <a:pt x="1759" y="104"/>
                </a:cubicBezTo>
                <a:cubicBezTo>
                  <a:pt x="1759" y="107"/>
                  <a:pt x="1762" y="110"/>
                  <a:pt x="1766" y="110"/>
                </a:cubicBezTo>
                <a:cubicBezTo>
                  <a:pt x="1770" y="110"/>
                  <a:pt x="1774" y="107"/>
                  <a:pt x="1774" y="104"/>
                </a:cubicBezTo>
                <a:cubicBezTo>
                  <a:pt x="1774" y="100"/>
                  <a:pt x="1770" y="97"/>
                  <a:pt x="1766" y="97"/>
                </a:cubicBezTo>
                <a:close/>
                <a:moveTo>
                  <a:pt x="1789" y="97"/>
                </a:moveTo>
                <a:cubicBezTo>
                  <a:pt x="1784" y="97"/>
                  <a:pt x="1781" y="100"/>
                  <a:pt x="1781" y="104"/>
                </a:cubicBezTo>
                <a:cubicBezTo>
                  <a:pt x="1781" y="107"/>
                  <a:pt x="1784" y="110"/>
                  <a:pt x="1789" y="110"/>
                </a:cubicBezTo>
                <a:cubicBezTo>
                  <a:pt x="1793" y="110"/>
                  <a:pt x="1796" y="107"/>
                  <a:pt x="1796" y="104"/>
                </a:cubicBezTo>
                <a:cubicBezTo>
                  <a:pt x="1796" y="100"/>
                  <a:pt x="1793" y="97"/>
                  <a:pt x="1789" y="97"/>
                </a:cubicBezTo>
                <a:close/>
                <a:moveTo>
                  <a:pt x="1766" y="116"/>
                </a:moveTo>
                <a:cubicBezTo>
                  <a:pt x="1762" y="116"/>
                  <a:pt x="1759" y="119"/>
                  <a:pt x="1759" y="123"/>
                </a:cubicBezTo>
                <a:cubicBezTo>
                  <a:pt x="1759" y="127"/>
                  <a:pt x="1762" y="130"/>
                  <a:pt x="1766" y="130"/>
                </a:cubicBezTo>
                <a:cubicBezTo>
                  <a:pt x="1770" y="130"/>
                  <a:pt x="1774" y="127"/>
                  <a:pt x="1774" y="123"/>
                </a:cubicBezTo>
                <a:cubicBezTo>
                  <a:pt x="1774" y="119"/>
                  <a:pt x="1770" y="116"/>
                  <a:pt x="1766" y="116"/>
                </a:cubicBezTo>
                <a:close/>
                <a:moveTo>
                  <a:pt x="1789" y="116"/>
                </a:moveTo>
                <a:cubicBezTo>
                  <a:pt x="1784" y="116"/>
                  <a:pt x="1781" y="119"/>
                  <a:pt x="1781" y="123"/>
                </a:cubicBezTo>
                <a:cubicBezTo>
                  <a:pt x="1781" y="127"/>
                  <a:pt x="1784" y="130"/>
                  <a:pt x="1789" y="130"/>
                </a:cubicBezTo>
                <a:cubicBezTo>
                  <a:pt x="1793" y="130"/>
                  <a:pt x="1796" y="127"/>
                  <a:pt x="1796" y="123"/>
                </a:cubicBezTo>
                <a:cubicBezTo>
                  <a:pt x="1796" y="119"/>
                  <a:pt x="1793" y="116"/>
                  <a:pt x="1789" y="116"/>
                </a:cubicBezTo>
                <a:close/>
                <a:moveTo>
                  <a:pt x="1811" y="59"/>
                </a:moveTo>
                <a:cubicBezTo>
                  <a:pt x="1806" y="59"/>
                  <a:pt x="1803" y="62"/>
                  <a:pt x="1803" y="65"/>
                </a:cubicBezTo>
                <a:cubicBezTo>
                  <a:pt x="1803" y="69"/>
                  <a:pt x="1806" y="72"/>
                  <a:pt x="1811" y="72"/>
                </a:cubicBezTo>
                <a:cubicBezTo>
                  <a:pt x="1815" y="72"/>
                  <a:pt x="1818" y="69"/>
                  <a:pt x="1818" y="65"/>
                </a:cubicBezTo>
                <a:cubicBezTo>
                  <a:pt x="1818" y="62"/>
                  <a:pt x="1815" y="59"/>
                  <a:pt x="1811" y="59"/>
                </a:cubicBezTo>
                <a:close/>
                <a:moveTo>
                  <a:pt x="1811" y="78"/>
                </a:moveTo>
                <a:cubicBezTo>
                  <a:pt x="1806" y="78"/>
                  <a:pt x="1803" y="81"/>
                  <a:pt x="1803" y="85"/>
                </a:cubicBezTo>
                <a:cubicBezTo>
                  <a:pt x="1803" y="88"/>
                  <a:pt x="1806" y="91"/>
                  <a:pt x="1811" y="91"/>
                </a:cubicBezTo>
                <a:cubicBezTo>
                  <a:pt x="1815" y="91"/>
                  <a:pt x="1818" y="88"/>
                  <a:pt x="1818" y="85"/>
                </a:cubicBezTo>
                <a:cubicBezTo>
                  <a:pt x="1818" y="81"/>
                  <a:pt x="1815" y="78"/>
                  <a:pt x="1811" y="78"/>
                </a:cubicBezTo>
                <a:close/>
                <a:moveTo>
                  <a:pt x="1811" y="97"/>
                </a:moveTo>
                <a:cubicBezTo>
                  <a:pt x="1806" y="97"/>
                  <a:pt x="1803" y="100"/>
                  <a:pt x="1803" y="104"/>
                </a:cubicBezTo>
                <a:cubicBezTo>
                  <a:pt x="1803" y="107"/>
                  <a:pt x="1806" y="110"/>
                  <a:pt x="1811" y="110"/>
                </a:cubicBezTo>
                <a:cubicBezTo>
                  <a:pt x="1815" y="110"/>
                  <a:pt x="1818" y="107"/>
                  <a:pt x="1818" y="104"/>
                </a:cubicBezTo>
                <a:cubicBezTo>
                  <a:pt x="1818" y="100"/>
                  <a:pt x="1815" y="97"/>
                  <a:pt x="1811" y="97"/>
                </a:cubicBezTo>
                <a:close/>
                <a:moveTo>
                  <a:pt x="1811" y="116"/>
                </a:moveTo>
                <a:cubicBezTo>
                  <a:pt x="1806" y="116"/>
                  <a:pt x="1803" y="119"/>
                  <a:pt x="1803" y="123"/>
                </a:cubicBezTo>
                <a:cubicBezTo>
                  <a:pt x="1803" y="127"/>
                  <a:pt x="1806" y="130"/>
                  <a:pt x="1811" y="130"/>
                </a:cubicBezTo>
                <a:cubicBezTo>
                  <a:pt x="1815" y="130"/>
                  <a:pt x="1818" y="127"/>
                  <a:pt x="1818" y="123"/>
                </a:cubicBezTo>
                <a:cubicBezTo>
                  <a:pt x="1818" y="119"/>
                  <a:pt x="1815" y="116"/>
                  <a:pt x="1811" y="116"/>
                </a:cubicBezTo>
                <a:close/>
                <a:moveTo>
                  <a:pt x="1766" y="136"/>
                </a:moveTo>
                <a:cubicBezTo>
                  <a:pt x="1762" y="136"/>
                  <a:pt x="1759" y="139"/>
                  <a:pt x="1759" y="143"/>
                </a:cubicBezTo>
                <a:cubicBezTo>
                  <a:pt x="1759" y="146"/>
                  <a:pt x="1762" y="149"/>
                  <a:pt x="1766" y="149"/>
                </a:cubicBezTo>
                <a:cubicBezTo>
                  <a:pt x="1770" y="149"/>
                  <a:pt x="1774" y="146"/>
                  <a:pt x="1774" y="143"/>
                </a:cubicBezTo>
                <a:cubicBezTo>
                  <a:pt x="1774" y="139"/>
                  <a:pt x="1770" y="136"/>
                  <a:pt x="1766" y="136"/>
                </a:cubicBezTo>
                <a:close/>
                <a:moveTo>
                  <a:pt x="1789" y="136"/>
                </a:moveTo>
                <a:cubicBezTo>
                  <a:pt x="1784" y="136"/>
                  <a:pt x="1781" y="139"/>
                  <a:pt x="1781" y="143"/>
                </a:cubicBezTo>
                <a:cubicBezTo>
                  <a:pt x="1781" y="146"/>
                  <a:pt x="1784" y="149"/>
                  <a:pt x="1789" y="149"/>
                </a:cubicBezTo>
                <a:cubicBezTo>
                  <a:pt x="1793" y="149"/>
                  <a:pt x="1796" y="146"/>
                  <a:pt x="1796" y="143"/>
                </a:cubicBezTo>
                <a:cubicBezTo>
                  <a:pt x="1796" y="139"/>
                  <a:pt x="1793" y="136"/>
                  <a:pt x="1789" y="136"/>
                </a:cubicBezTo>
                <a:close/>
                <a:moveTo>
                  <a:pt x="1766" y="155"/>
                </a:moveTo>
                <a:cubicBezTo>
                  <a:pt x="1762" y="155"/>
                  <a:pt x="1759" y="158"/>
                  <a:pt x="1759" y="162"/>
                </a:cubicBezTo>
                <a:cubicBezTo>
                  <a:pt x="1759" y="166"/>
                  <a:pt x="1762" y="169"/>
                  <a:pt x="1766" y="169"/>
                </a:cubicBezTo>
                <a:cubicBezTo>
                  <a:pt x="1770" y="169"/>
                  <a:pt x="1774" y="166"/>
                  <a:pt x="1774" y="162"/>
                </a:cubicBezTo>
                <a:cubicBezTo>
                  <a:pt x="1774" y="158"/>
                  <a:pt x="1770" y="155"/>
                  <a:pt x="1766" y="155"/>
                </a:cubicBezTo>
                <a:close/>
                <a:moveTo>
                  <a:pt x="1789" y="155"/>
                </a:moveTo>
                <a:cubicBezTo>
                  <a:pt x="1784" y="155"/>
                  <a:pt x="1781" y="158"/>
                  <a:pt x="1781" y="162"/>
                </a:cubicBezTo>
                <a:cubicBezTo>
                  <a:pt x="1781" y="166"/>
                  <a:pt x="1784" y="169"/>
                  <a:pt x="1789" y="169"/>
                </a:cubicBezTo>
                <a:cubicBezTo>
                  <a:pt x="1793" y="169"/>
                  <a:pt x="1796" y="166"/>
                  <a:pt x="1796" y="162"/>
                </a:cubicBezTo>
                <a:cubicBezTo>
                  <a:pt x="1796" y="158"/>
                  <a:pt x="1793" y="155"/>
                  <a:pt x="1789" y="155"/>
                </a:cubicBezTo>
                <a:close/>
                <a:moveTo>
                  <a:pt x="1766" y="175"/>
                </a:moveTo>
                <a:cubicBezTo>
                  <a:pt x="1762" y="175"/>
                  <a:pt x="1759" y="178"/>
                  <a:pt x="1759" y="182"/>
                </a:cubicBezTo>
                <a:cubicBezTo>
                  <a:pt x="1759" y="185"/>
                  <a:pt x="1762" y="188"/>
                  <a:pt x="1766" y="188"/>
                </a:cubicBezTo>
                <a:cubicBezTo>
                  <a:pt x="1770" y="188"/>
                  <a:pt x="1774" y="185"/>
                  <a:pt x="1774" y="182"/>
                </a:cubicBezTo>
                <a:cubicBezTo>
                  <a:pt x="1774" y="178"/>
                  <a:pt x="1770" y="175"/>
                  <a:pt x="1766" y="175"/>
                </a:cubicBezTo>
                <a:close/>
                <a:moveTo>
                  <a:pt x="1789" y="175"/>
                </a:moveTo>
                <a:cubicBezTo>
                  <a:pt x="1784" y="175"/>
                  <a:pt x="1781" y="178"/>
                  <a:pt x="1781" y="182"/>
                </a:cubicBezTo>
                <a:cubicBezTo>
                  <a:pt x="1781" y="185"/>
                  <a:pt x="1784" y="188"/>
                  <a:pt x="1789" y="188"/>
                </a:cubicBezTo>
                <a:cubicBezTo>
                  <a:pt x="1793" y="188"/>
                  <a:pt x="1796" y="185"/>
                  <a:pt x="1796" y="182"/>
                </a:cubicBezTo>
                <a:cubicBezTo>
                  <a:pt x="1796" y="178"/>
                  <a:pt x="1793" y="175"/>
                  <a:pt x="1789" y="175"/>
                </a:cubicBezTo>
                <a:close/>
                <a:moveTo>
                  <a:pt x="1766" y="194"/>
                </a:moveTo>
                <a:cubicBezTo>
                  <a:pt x="1762" y="194"/>
                  <a:pt x="1759" y="197"/>
                  <a:pt x="1759" y="201"/>
                </a:cubicBezTo>
                <a:cubicBezTo>
                  <a:pt x="1759" y="205"/>
                  <a:pt x="1762" y="208"/>
                  <a:pt x="1766" y="208"/>
                </a:cubicBezTo>
                <a:cubicBezTo>
                  <a:pt x="1770" y="208"/>
                  <a:pt x="1774" y="205"/>
                  <a:pt x="1774" y="201"/>
                </a:cubicBezTo>
                <a:cubicBezTo>
                  <a:pt x="1774" y="197"/>
                  <a:pt x="1770" y="194"/>
                  <a:pt x="1766" y="194"/>
                </a:cubicBezTo>
                <a:close/>
                <a:moveTo>
                  <a:pt x="1789" y="194"/>
                </a:moveTo>
                <a:cubicBezTo>
                  <a:pt x="1784" y="194"/>
                  <a:pt x="1781" y="197"/>
                  <a:pt x="1781" y="201"/>
                </a:cubicBezTo>
                <a:cubicBezTo>
                  <a:pt x="1781" y="205"/>
                  <a:pt x="1784" y="208"/>
                  <a:pt x="1789" y="208"/>
                </a:cubicBezTo>
                <a:cubicBezTo>
                  <a:pt x="1793" y="208"/>
                  <a:pt x="1796" y="205"/>
                  <a:pt x="1796" y="201"/>
                </a:cubicBezTo>
                <a:cubicBezTo>
                  <a:pt x="1796" y="197"/>
                  <a:pt x="1793" y="194"/>
                  <a:pt x="1789" y="194"/>
                </a:cubicBezTo>
                <a:close/>
                <a:moveTo>
                  <a:pt x="1766" y="214"/>
                </a:moveTo>
                <a:cubicBezTo>
                  <a:pt x="1762" y="214"/>
                  <a:pt x="1759" y="217"/>
                  <a:pt x="1759" y="220"/>
                </a:cubicBezTo>
                <a:cubicBezTo>
                  <a:pt x="1759" y="224"/>
                  <a:pt x="1762" y="227"/>
                  <a:pt x="1766" y="227"/>
                </a:cubicBezTo>
                <a:cubicBezTo>
                  <a:pt x="1770" y="227"/>
                  <a:pt x="1774" y="224"/>
                  <a:pt x="1774" y="220"/>
                </a:cubicBezTo>
                <a:cubicBezTo>
                  <a:pt x="1774" y="217"/>
                  <a:pt x="1770" y="214"/>
                  <a:pt x="1766" y="214"/>
                </a:cubicBezTo>
                <a:close/>
                <a:moveTo>
                  <a:pt x="1789" y="214"/>
                </a:moveTo>
                <a:cubicBezTo>
                  <a:pt x="1784" y="214"/>
                  <a:pt x="1781" y="217"/>
                  <a:pt x="1781" y="220"/>
                </a:cubicBezTo>
                <a:cubicBezTo>
                  <a:pt x="1781" y="224"/>
                  <a:pt x="1784" y="227"/>
                  <a:pt x="1789" y="227"/>
                </a:cubicBezTo>
                <a:cubicBezTo>
                  <a:pt x="1793" y="227"/>
                  <a:pt x="1796" y="224"/>
                  <a:pt x="1796" y="220"/>
                </a:cubicBezTo>
                <a:cubicBezTo>
                  <a:pt x="1796" y="217"/>
                  <a:pt x="1793" y="214"/>
                  <a:pt x="1789" y="214"/>
                </a:cubicBezTo>
                <a:close/>
                <a:moveTo>
                  <a:pt x="1766" y="233"/>
                </a:moveTo>
                <a:cubicBezTo>
                  <a:pt x="1762" y="233"/>
                  <a:pt x="1759" y="236"/>
                  <a:pt x="1759" y="239"/>
                </a:cubicBezTo>
                <a:cubicBezTo>
                  <a:pt x="1759" y="243"/>
                  <a:pt x="1762" y="245"/>
                  <a:pt x="1766" y="245"/>
                </a:cubicBezTo>
                <a:cubicBezTo>
                  <a:pt x="1770" y="245"/>
                  <a:pt x="1774" y="243"/>
                  <a:pt x="1774" y="239"/>
                </a:cubicBezTo>
                <a:cubicBezTo>
                  <a:pt x="1774" y="236"/>
                  <a:pt x="1770" y="233"/>
                  <a:pt x="1766" y="233"/>
                </a:cubicBezTo>
                <a:close/>
                <a:moveTo>
                  <a:pt x="1789" y="233"/>
                </a:moveTo>
                <a:cubicBezTo>
                  <a:pt x="1784" y="233"/>
                  <a:pt x="1781" y="236"/>
                  <a:pt x="1781" y="239"/>
                </a:cubicBezTo>
                <a:cubicBezTo>
                  <a:pt x="1781" y="243"/>
                  <a:pt x="1784" y="245"/>
                  <a:pt x="1789" y="245"/>
                </a:cubicBezTo>
                <a:cubicBezTo>
                  <a:pt x="1793" y="245"/>
                  <a:pt x="1796" y="243"/>
                  <a:pt x="1796" y="239"/>
                </a:cubicBezTo>
                <a:cubicBezTo>
                  <a:pt x="1796" y="236"/>
                  <a:pt x="1793" y="233"/>
                  <a:pt x="1789" y="233"/>
                </a:cubicBezTo>
                <a:close/>
                <a:moveTo>
                  <a:pt x="1766" y="252"/>
                </a:moveTo>
                <a:cubicBezTo>
                  <a:pt x="1762" y="252"/>
                  <a:pt x="1759" y="255"/>
                  <a:pt x="1759" y="258"/>
                </a:cubicBezTo>
                <a:cubicBezTo>
                  <a:pt x="1759" y="262"/>
                  <a:pt x="1762" y="265"/>
                  <a:pt x="1766" y="265"/>
                </a:cubicBezTo>
                <a:cubicBezTo>
                  <a:pt x="1770" y="265"/>
                  <a:pt x="1774" y="262"/>
                  <a:pt x="1774" y="258"/>
                </a:cubicBezTo>
                <a:cubicBezTo>
                  <a:pt x="1774" y="255"/>
                  <a:pt x="1770" y="252"/>
                  <a:pt x="1766" y="252"/>
                </a:cubicBezTo>
                <a:close/>
                <a:moveTo>
                  <a:pt x="1789" y="252"/>
                </a:moveTo>
                <a:cubicBezTo>
                  <a:pt x="1784" y="252"/>
                  <a:pt x="1781" y="255"/>
                  <a:pt x="1781" y="258"/>
                </a:cubicBezTo>
                <a:cubicBezTo>
                  <a:pt x="1781" y="262"/>
                  <a:pt x="1784" y="265"/>
                  <a:pt x="1789" y="265"/>
                </a:cubicBezTo>
                <a:cubicBezTo>
                  <a:pt x="1793" y="265"/>
                  <a:pt x="1796" y="262"/>
                  <a:pt x="1796" y="258"/>
                </a:cubicBezTo>
                <a:cubicBezTo>
                  <a:pt x="1796" y="255"/>
                  <a:pt x="1793" y="252"/>
                  <a:pt x="1789" y="252"/>
                </a:cubicBezTo>
                <a:close/>
                <a:moveTo>
                  <a:pt x="1766" y="271"/>
                </a:moveTo>
                <a:cubicBezTo>
                  <a:pt x="1762" y="271"/>
                  <a:pt x="1759" y="274"/>
                  <a:pt x="1759" y="278"/>
                </a:cubicBezTo>
                <a:cubicBezTo>
                  <a:pt x="1759" y="282"/>
                  <a:pt x="1762" y="285"/>
                  <a:pt x="1766" y="285"/>
                </a:cubicBezTo>
                <a:cubicBezTo>
                  <a:pt x="1770" y="285"/>
                  <a:pt x="1774" y="282"/>
                  <a:pt x="1774" y="278"/>
                </a:cubicBezTo>
                <a:cubicBezTo>
                  <a:pt x="1774" y="274"/>
                  <a:pt x="1770" y="271"/>
                  <a:pt x="1766" y="271"/>
                </a:cubicBezTo>
                <a:close/>
                <a:moveTo>
                  <a:pt x="1789" y="271"/>
                </a:moveTo>
                <a:cubicBezTo>
                  <a:pt x="1784" y="271"/>
                  <a:pt x="1781" y="274"/>
                  <a:pt x="1781" y="278"/>
                </a:cubicBezTo>
                <a:cubicBezTo>
                  <a:pt x="1781" y="282"/>
                  <a:pt x="1784" y="285"/>
                  <a:pt x="1789" y="285"/>
                </a:cubicBezTo>
                <a:cubicBezTo>
                  <a:pt x="1793" y="285"/>
                  <a:pt x="1796" y="282"/>
                  <a:pt x="1796" y="278"/>
                </a:cubicBezTo>
                <a:cubicBezTo>
                  <a:pt x="1796" y="274"/>
                  <a:pt x="1793" y="271"/>
                  <a:pt x="1789" y="271"/>
                </a:cubicBezTo>
                <a:close/>
                <a:moveTo>
                  <a:pt x="1811" y="136"/>
                </a:moveTo>
                <a:cubicBezTo>
                  <a:pt x="1806" y="136"/>
                  <a:pt x="1803" y="139"/>
                  <a:pt x="1803" y="143"/>
                </a:cubicBezTo>
                <a:cubicBezTo>
                  <a:pt x="1803" y="146"/>
                  <a:pt x="1806" y="149"/>
                  <a:pt x="1811" y="149"/>
                </a:cubicBezTo>
                <a:cubicBezTo>
                  <a:pt x="1815" y="149"/>
                  <a:pt x="1818" y="146"/>
                  <a:pt x="1818" y="143"/>
                </a:cubicBezTo>
                <a:cubicBezTo>
                  <a:pt x="1818" y="139"/>
                  <a:pt x="1815" y="136"/>
                  <a:pt x="1811" y="136"/>
                </a:cubicBezTo>
                <a:close/>
                <a:moveTo>
                  <a:pt x="1811" y="155"/>
                </a:moveTo>
                <a:cubicBezTo>
                  <a:pt x="1806" y="155"/>
                  <a:pt x="1803" y="158"/>
                  <a:pt x="1803" y="162"/>
                </a:cubicBezTo>
                <a:cubicBezTo>
                  <a:pt x="1803" y="166"/>
                  <a:pt x="1806" y="169"/>
                  <a:pt x="1811" y="169"/>
                </a:cubicBezTo>
                <a:cubicBezTo>
                  <a:pt x="1815" y="169"/>
                  <a:pt x="1818" y="166"/>
                  <a:pt x="1818" y="162"/>
                </a:cubicBezTo>
                <a:cubicBezTo>
                  <a:pt x="1818" y="158"/>
                  <a:pt x="1815" y="155"/>
                  <a:pt x="1811" y="155"/>
                </a:cubicBezTo>
                <a:close/>
                <a:moveTo>
                  <a:pt x="1811" y="175"/>
                </a:moveTo>
                <a:cubicBezTo>
                  <a:pt x="1806" y="175"/>
                  <a:pt x="1803" y="178"/>
                  <a:pt x="1803" y="182"/>
                </a:cubicBezTo>
                <a:cubicBezTo>
                  <a:pt x="1803" y="185"/>
                  <a:pt x="1806" y="188"/>
                  <a:pt x="1811" y="188"/>
                </a:cubicBezTo>
                <a:cubicBezTo>
                  <a:pt x="1815" y="188"/>
                  <a:pt x="1818" y="185"/>
                  <a:pt x="1818" y="182"/>
                </a:cubicBezTo>
                <a:cubicBezTo>
                  <a:pt x="1818" y="178"/>
                  <a:pt x="1815" y="175"/>
                  <a:pt x="1811" y="175"/>
                </a:cubicBezTo>
                <a:close/>
                <a:moveTo>
                  <a:pt x="1811" y="194"/>
                </a:moveTo>
                <a:cubicBezTo>
                  <a:pt x="1806" y="194"/>
                  <a:pt x="1803" y="197"/>
                  <a:pt x="1803" y="201"/>
                </a:cubicBezTo>
                <a:cubicBezTo>
                  <a:pt x="1803" y="205"/>
                  <a:pt x="1806" y="208"/>
                  <a:pt x="1811" y="208"/>
                </a:cubicBezTo>
                <a:cubicBezTo>
                  <a:pt x="1815" y="208"/>
                  <a:pt x="1818" y="205"/>
                  <a:pt x="1818" y="201"/>
                </a:cubicBezTo>
                <a:cubicBezTo>
                  <a:pt x="1818" y="197"/>
                  <a:pt x="1815" y="194"/>
                  <a:pt x="1811" y="194"/>
                </a:cubicBezTo>
                <a:close/>
                <a:moveTo>
                  <a:pt x="1811" y="214"/>
                </a:moveTo>
                <a:cubicBezTo>
                  <a:pt x="1806" y="214"/>
                  <a:pt x="1803" y="217"/>
                  <a:pt x="1803" y="220"/>
                </a:cubicBezTo>
                <a:cubicBezTo>
                  <a:pt x="1803" y="224"/>
                  <a:pt x="1806" y="227"/>
                  <a:pt x="1811" y="227"/>
                </a:cubicBezTo>
                <a:cubicBezTo>
                  <a:pt x="1815" y="227"/>
                  <a:pt x="1818" y="224"/>
                  <a:pt x="1818" y="220"/>
                </a:cubicBezTo>
                <a:cubicBezTo>
                  <a:pt x="1818" y="217"/>
                  <a:pt x="1815" y="214"/>
                  <a:pt x="1811" y="214"/>
                </a:cubicBezTo>
                <a:close/>
                <a:moveTo>
                  <a:pt x="1811" y="233"/>
                </a:moveTo>
                <a:cubicBezTo>
                  <a:pt x="1806" y="233"/>
                  <a:pt x="1803" y="236"/>
                  <a:pt x="1803" y="239"/>
                </a:cubicBezTo>
                <a:cubicBezTo>
                  <a:pt x="1803" y="243"/>
                  <a:pt x="1806" y="245"/>
                  <a:pt x="1811" y="245"/>
                </a:cubicBezTo>
                <a:cubicBezTo>
                  <a:pt x="1815" y="245"/>
                  <a:pt x="1818" y="243"/>
                  <a:pt x="1818" y="239"/>
                </a:cubicBezTo>
                <a:cubicBezTo>
                  <a:pt x="1818" y="236"/>
                  <a:pt x="1815" y="233"/>
                  <a:pt x="1811" y="233"/>
                </a:cubicBezTo>
                <a:close/>
                <a:moveTo>
                  <a:pt x="1811" y="252"/>
                </a:moveTo>
                <a:cubicBezTo>
                  <a:pt x="1806" y="252"/>
                  <a:pt x="1803" y="255"/>
                  <a:pt x="1803" y="258"/>
                </a:cubicBezTo>
                <a:cubicBezTo>
                  <a:pt x="1803" y="262"/>
                  <a:pt x="1806" y="265"/>
                  <a:pt x="1811" y="265"/>
                </a:cubicBezTo>
                <a:cubicBezTo>
                  <a:pt x="1815" y="265"/>
                  <a:pt x="1818" y="262"/>
                  <a:pt x="1818" y="258"/>
                </a:cubicBezTo>
                <a:cubicBezTo>
                  <a:pt x="1818" y="255"/>
                  <a:pt x="1815" y="252"/>
                  <a:pt x="1811" y="252"/>
                </a:cubicBezTo>
                <a:close/>
                <a:moveTo>
                  <a:pt x="1811" y="271"/>
                </a:moveTo>
                <a:cubicBezTo>
                  <a:pt x="1806" y="271"/>
                  <a:pt x="1803" y="274"/>
                  <a:pt x="1803" y="278"/>
                </a:cubicBezTo>
                <a:cubicBezTo>
                  <a:pt x="1803" y="282"/>
                  <a:pt x="1806" y="285"/>
                  <a:pt x="1811" y="285"/>
                </a:cubicBezTo>
                <a:cubicBezTo>
                  <a:pt x="1815" y="285"/>
                  <a:pt x="1818" y="282"/>
                  <a:pt x="1818" y="278"/>
                </a:cubicBezTo>
                <a:cubicBezTo>
                  <a:pt x="1818" y="274"/>
                  <a:pt x="1815" y="271"/>
                  <a:pt x="1811" y="271"/>
                </a:cubicBezTo>
                <a:close/>
                <a:moveTo>
                  <a:pt x="1565" y="290"/>
                </a:moveTo>
                <a:cubicBezTo>
                  <a:pt x="1561" y="290"/>
                  <a:pt x="1558" y="293"/>
                  <a:pt x="1558" y="296"/>
                </a:cubicBezTo>
                <a:cubicBezTo>
                  <a:pt x="1558" y="300"/>
                  <a:pt x="1561" y="303"/>
                  <a:pt x="1565" y="303"/>
                </a:cubicBezTo>
                <a:cubicBezTo>
                  <a:pt x="1570" y="303"/>
                  <a:pt x="1573" y="300"/>
                  <a:pt x="1573" y="296"/>
                </a:cubicBezTo>
                <a:cubicBezTo>
                  <a:pt x="1573" y="293"/>
                  <a:pt x="1570" y="290"/>
                  <a:pt x="1565" y="290"/>
                </a:cubicBezTo>
                <a:close/>
                <a:moveTo>
                  <a:pt x="1565" y="309"/>
                </a:moveTo>
                <a:cubicBezTo>
                  <a:pt x="1561" y="309"/>
                  <a:pt x="1558" y="312"/>
                  <a:pt x="1558" y="316"/>
                </a:cubicBezTo>
                <a:cubicBezTo>
                  <a:pt x="1558" y="320"/>
                  <a:pt x="1561" y="323"/>
                  <a:pt x="1565" y="323"/>
                </a:cubicBezTo>
                <a:cubicBezTo>
                  <a:pt x="1570" y="323"/>
                  <a:pt x="1573" y="320"/>
                  <a:pt x="1573" y="316"/>
                </a:cubicBezTo>
                <a:cubicBezTo>
                  <a:pt x="1573" y="312"/>
                  <a:pt x="1570" y="309"/>
                  <a:pt x="1565" y="309"/>
                </a:cubicBezTo>
                <a:close/>
                <a:moveTo>
                  <a:pt x="1565" y="329"/>
                </a:moveTo>
                <a:cubicBezTo>
                  <a:pt x="1561" y="329"/>
                  <a:pt x="1558" y="332"/>
                  <a:pt x="1558" y="335"/>
                </a:cubicBezTo>
                <a:cubicBezTo>
                  <a:pt x="1558" y="339"/>
                  <a:pt x="1561" y="342"/>
                  <a:pt x="1565" y="342"/>
                </a:cubicBezTo>
                <a:cubicBezTo>
                  <a:pt x="1570" y="342"/>
                  <a:pt x="1573" y="339"/>
                  <a:pt x="1573" y="335"/>
                </a:cubicBezTo>
                <a:cubicBezTo>
                  <a:pt x="1573" y="332"/>
                  <a:pt x="1570" y="329"/>
                  <a:pt x="1565" y="329"/>
                </a:cubicBezTo>
                <a:close/>
                <a:moveTo>
                  <a:pt x="1565" y="348"/>
                </a:moveTo>
                <a:cubicBezTo>
                  <a:pt x="1561" y="348"/>
                  <a:pt x="1558" y="351"/>
                  <a:pt x="1558" y="355"/>
                </a:cubicBezTo>
                <a:cubicBezTo>
                  <a:pt x="1558" y="359"/>
                  <a:pt x="1561" y="362"/>
                  <a:pt x="1565" y="362"/>
                </a:cubicBezTo>
                <a:cubicBezTo>
                  <a:pt x="1570" y="362"/>
                  <a:pt x="1573" y="359"/>
                  <a:pt x="1573" y="355"/>
                </a:cubicBezTo>
                <a:cubicBezTo>
                  <a:pt x="1573" y="351"/>
                  <a:pt x="1570" y="348"/>
                  <a:pt x="1565" y="348"/>
                </a:cubicBezTo>
                <a:close/>
                <a:moveTo>
                  <a:pt x="1565" y="368"/>
                </a:moveTo>
                <a:cubicBezTo>
                  <a:pt x="1561" y="368"/>
                  <a:pt x="1558" y="371"/>
                  <a:pt x="1558" y="374"/>
                </a:cubicBezTo>
                <a:cubicBezTo>
                  <a:pt x="1558" y="378"/>
                  <a:pt x="1561" y="381"/>
                  <a:pt x="1565" y="381"/>
                </a:cubicBezTo>
                <a:cubicBezTo>
                  <a:pt x="1570" y="381"/>
                  <a:pt x="1573" y="378"/>
                  <a:pt x="1573" y="374"/>
                </a:cubicBezTo>
                <a:cubicBezTo>
                  <a:pt x="1573" y="371"/>
                  <a:pt x="1570" y="368"/>
                  <a:pt x="1565" y="368"/>
                </a:cubicBezTo>
                <a:close/>
                <a:moveTo>
                  <a:pt x="1543" y="387"/>
                </a:moveTo>
                <a:cubicBezTo>
                  <a:pt x="1539" y="387"/>
                  <a:pt x="1536" y="390"/>
                  <a:pt x="1536" y="393"/>
                </a:cubicBezTo>
                <a:cubicBezTo>
                  <a:pt x="1536" y="397"/>
                  <a:pt x="1539" y="400"/>
                  <a:pt x="1543" y="400"/>
                </a:cubicBezTo>
                <a:cubicBezTo>
                  <a:pt x="1548" y="400"/>
                  <a:pt x="1551" y="397"/>
                  <a:pt x="1551" y="393"/>
                </a:cubicBezTo>
                <a:cubicBezTo>
                  <a:pt x="1551" y="390"/>
                  <a:pt x="1548" y="387"/>
                  <a:pt x="1543" y="387"/>
                </a:cubicBezTo>
                <a:close/>
                <a:moveTo>
                  <a:pt x="1565" y="387"/>
                </a:moveTo>
                <a:cubicBezTo>
                  <a:pt x="1561" y="387"/>
                  <a:pt x="1558" y="390"/>
                  <a:pt x="1558" y="393"/>
                </a:cubicBezTo>
                <a:cubicBezTo>
                  <a:pt x="1558" y="397"/>
                  <a:pt x="1561" y="400"/>
                  <a:pt x="1565" y="400"/>
                </a:cubicBezTo>
                <a:cubicBezTo>
                  <a:pt x="1570" y="400"/>
                  <a:pt x="1573" y="397"/>
                  <a:pt x="1573" y="393"/>
                </a:cubicBezTo>
                <a:cubicBezTo>
                  <a:pt x="1573" y="390"/>
                  <a:pt x="1570" y="387"/>
                  <a:pt x="1565" y="387"/>
                </a:cubicBezTo>
                <a:close/>
                <a:moveTo>
                  <a:pt x="1543" y="406"/>
                </a:moveTo>
                <a:cubicBezTo>
                  <a:pt x="1539" y="406"/>
                  <a:pt x="1536" y="409"/>
                  <a:pt x="1536" y="413"/>
                </a:cubicBezTo>
                <a:cubicBezTo>
                  <a:pt x="1536" y="416"/>
                  <a:pt x="1539" y="419"/>
                  <a:pt x="1543" y="419"/>
                </a:cubicBezTo>
                <a:cubicBezTo>
                  <a:pt x="1548" y="419"/>
                  <a:pt x="1551" y="416"/>
                  <a:pt x="1551" y="413"/>
                </a:cubicBezTo>
                <a:cubicBezTo>
                  <a:pt x="1551" y="409"/>
                  <a:pt x="1548" y="406"/>
                  <a:pt x="1543" y="406"/>
                </a:cubicBezTo>
                <a:close/>
                <a:moveTo>
                  <a:pt x="1565" y="406"/>
                </a:moveTo>
                <a:cubicBezTo>
                  <a:pt x="1561" y="406"/>
                  <a:pt x="1558" y="409"/>
                  <a:pt x="1558" y="413"/>
                </a:cubicBezTo>
                <a:cubicBezTo>
                  <a:pt x="1558" y="416"/>
                  <a:pt x="1561" y="419"/>
                  <a:pt x="1565" y="419"/>
                </a:cubicBezTo>
                <a:cubicBezTo>
                  <a:pt x="1570" y="419"/>
                  <a:pt x="1573" y="416"/>
                  <a:pt x="1573" y="413"/>
                </a:cubicBezTo>
                <a:cubicBezTo>
                  <a:pt x="1573" y="409"/>
                  <a:pt x="1570" y="406"/>
                  <a:pt x="1565" y="406"/>
                </a:cubicBezTo>
                <a:close/>
                <a:moveTo>
                  <a:pt x="1543" y="425"/>
                </a:moveTo>
                <a:cubicBezTo>
                  <a:pt x="1539" y="425"/>
                  <a:pt x="1536" y="428"/>
                  <a:pt x="1536" y="432"/>
                </a:cubicBezTo>
                <a:cubicBezTo>
                  <a:pt x="1536" y="435"/>
                  <a:pt x="1539" y="438"/>
                  <a:pt x="1543" y="438"/>
                </a:cubicBezTo>
                <a:cubicBezTo>
                  <a:pt x="1548" y="438"/>
                  <a:pt x="1551" y="435"/>
                  <a:pt x="1551" y="432"/>
                </a:cubicBezTo>
                <a:cubicBezTo>
                  <a:pt x="1551" y="428"/>
                  <a:pt x="1548" y="425"/>
                  <a:pt x="1543" y="425"/>
                </a:cubicBezTo>
                <a:close/>
                <a:moveTo>
                  <a:pt x="1565" y="425"/>
                </a:moveTo>
                <a:cubicBezTo>
                  <a:pt x="1561" y="425"/>
                  <a:pt x="1558" y="428"/>
                  <a:pt x="1558" y="432"/>
                </a:cubicBezTo>
                <a:cubicBezTo>
                  <a:pt x="1558" y="435"/>
                  <a:pt x="1561" y="438"/>
                  <a:pt x="1565" y="438"/>
                </a:cubicBezTo>
                <a:cubicBezTo>
                  <a:pt x="1570" y="438"/>
                  <a:pt x="1573" y="435"/>
                  <a:pt x="1573" y="432"/>
                </a:cubicBezTo>
                <a:cubicBezTo>
                  <a:pt x="1573" y="428"/>
                  <a:pt x="1570" y="425"/>
                  <a:pt x="1565" y="425"/>
                </a:cubicBezTo>
                <a:close/>
                <a:moveTo>
                  <a:pt x="1543" y="446"/>
                </a:moveTo>
                <a:cubicBezTo>
                  <a:pt x="1539" y="446"/>
                  <a:pt x="1536" y="448"/>
                  <a:pt x="1536" y="452"/>
                </a:cubicBezTo>
                <a:cubicBezTo>
                  <a:pt x="1536" y="455"/>
                  <a:pt x="1539" y="458"/>
                  <a:pt x="1543" y="458"/>
                </a:cubicBezTo>
                <a:cubicBezTo>
                  <a:pt x="1548" y="458"/>
                  <a:pt x="1551" y="455"/>
                  <a:pt x="1551" y="452"/>
                </a:cubicBezTo>
                <a:cubicBezTo>
                  <a:pt x="1551" y="448"/>
                  <a:pt x="1548" y="446"/>
                  <a:pt x="1543" y="446"/>
                </a:cubicBezTo>
                <a:close/>
                <a:moveTo>
                  <a:pt x="1565" y="446"/>
                </a:moveTo>
                <a:cubicBezTo>
                  <a:pt x="1561" y="446"/>
                  <a:pt x="1558" y="448"/>
                  <a:pt x="1558" y="452"/>
                </a:cubicBezTo>
                <a:cubicBezTo>
                  <a:pt x="1558" y="455"/>
                  <a:pt x="1561" y="458"/>
                  <a:pt x="1565" y="458"/>
                </a:cubicBezTo>
                <a:cubicBezTo>
                  <a:pt x="1570" y="458"/>
                  <a:pt x="1573" y="455"/>
                  <a:pt x="1573" y="452"/>
                </a:cubicBezTo>
                <a:cubicBezTo>
                  <a:pt x="1573" y="448"/>
                  <a:pt x="1570" y="446"/>
                  <a:pt x="1565" y="446"/>
                </a:cubicBezTo>
                <a:close/>
                <a:moveTo>
                  <a:pt x="1543" y="464"/>
                </a:moveTo>
                <a:cubicBezTo>
                  <a:pt x="1539" y="464"/>
                  <a:pt x="1536" y="467"/>
                  <a:pt x="1536" y="471"/>
                </a:cubicBezTo>
                <a:cubicBezTo>
                  <a:pt x="1536" y="475"/>
                  <a:pt x="1539" y="478"/>
                  <a:pt x="1543" y="478"/>
                </a:cubicBezTo>
                <a:cubicBezTo>
                  <a:pt x="1548" y="478"/>
                  <a:pt x="1551" y="475"/>
                  <a:pt x="1551" y="471"/>
                </a:cubicBezTo>
                <a:cubicBezTo>
                  <a:pt x="1551" y="467"/>
                  <a:pt x="1548" y="464"/>
                  <a:pt x="1543" y="464"/>
                </a:cubicBezTo>
                <a:close/>
                <a:moveTo>
                  <a:pt x="1565" y="464"/>
                </a:moveTo>
                <a:cubicBezTo>
                  <a:pt x="1561" y="464"/>
                  <a:pt x="1558" y="467"/>
                  <a:pt x="1558" y="471"/>
                </a:cubicBezTo>
                <a:cubicBezTo>
                  <a:pt x="1558" y="475"/>
                  <a:pt x="1561" y="478"/>
                  <a:pt x="1565" y="478"/>
                </a:cubicBezTo>
                <a:cubicBezTo>
                  <a:pt x="1570" y="478"/>
                  <a:pt x="1573" y="475"/>
                  <a:pt x="1573" y="471"/>
                </a:cubicBezTo>
                <a:cubicBezTo>
                  <a:pt x="1573" y="467"/>
                  <a:pt x="1570" y="464"/>
                  <a:pt x="1565" y="464"/>
                </a:cubicBezTo>
                <a:close/>
                <a:moveTo>
                  <a:pt x="1543" y="484"/>
                </a:moveTo>
                <a:cubicBezTo>
                  <a:pt x="1539" y="484"/>
                  <a:pt x="1536" y="487"/>
                  <a:pt x="1536" y="490"/>
                </a:cubicBezTo>
                <a:cubicBezTo>
                  <a:pt x="1536" y="494"/>
                  <a:pt x="1539" y="497"/>
                  <a:pt x="1543" y="497"/>
                </a:cubicBezTo>
                <a:cubicBezTo>
                  <a:pt x="1548" y="497"/>
                  <a:pt x="1551" y="494"/>
                  <a:pt x="1551" y="490"/>
                </a:cubicBezTo>
                <a:cubicBezTo>
                  <a:pt x="1551" y="487"/>
                  <a:pt x="1548" y="484"/>
                  <a:pt x="1543" y="484"/>
                </a:cubicBezTo>
                <a:close/>
                <a:moveTo>
                  <a:pt x="1565" y="484"/>
                </a:moveTo>
                <a:cubicBezTo>
                  <a:pt x="1561" y="484"/>
                  <a:pt x="1558" y="487"/>
                  <a:pt x="1558" y="490"/>
                </a:cubicBezTo>
                <a:cubicBezTo>
                  <a:pt x="1558" y="494"/>
                  <a:pt x="1561" y="497"/>
                  <a:pt x="1565" y="497"/>
                </a:cubicBezTo>
                <a:cubicBezTo>
                  <a:pt x="1570" y="497"/>
                  <a:pt x="1573" y="494"/>
                  <a:pt x="1573" y="490"/>
                </a:cubicBezTo>
                <a:cubicBezTo>
                  <a:pt x="1573" y="487"/>
                  <a:pt x="1570" y="484"/>
                  <a:pt x="1565" y="484"/>
                </a:cubicBezTo>
                <a:close/>
                <a:moveTo>
                  <a:pt x="1543" y="503"/>
                </a:moveTo>
                <a:cubicBezTo>
                  <a:pt x="1539" y="503"/>
                  <a:pt x="1536" y="506"/>
                  <a:pt x="1536" y="509"/>
                </a:cubicBezTo>
                <a:cubicBezTo>
                  <a:pt x="1536" y="513"/>
                  <a:pt x="1539" y="516"/>
                  <a:pt x="1543" y="516"/>
                </a:cubicBezTo>
                <a:cubicBezTo>
                  <a:pt x="1548" y="516"/>
                  <a:pt x="1551" y="513"/>
                  <a:pt x="1551" y="509"/>
                </a:cubicBezTo>
                <a:cubicBezTo>
                  <a:pt x="1551" y="506"/>
                  <a:pt x="1548" y="503"/>
                  <a:pt x="1543" y="503"/>
                </a:cubicBezTo>
                <a:close/>
                <a:moveTo>
                  <a:pt x="1565" y="503"/>
                </a:moveTo>
                <a:cubicBezTo>
                  <a:pt x="1561" y="503"/>
                  <a:pt x="1558" y="506"/>
                  <a:pt x="1558" y="509"/>
                </a:cubicBezTo>
                <a:cubicBezTo>
                  <a:pt x="1558" y="513"/>
                  <a:pt x="1561" y="516"/>
                  <a:pt x="1565" y="516"/>
                </a:cubicBezTo>
                <a:cubicBezTo>
                  <a:pt x="1570" y="516"/>
                  <a:pt x="1573" y="513"/>
                  <a:pt x="1573" y="509"/>
                </a:cubicBezTo>
                <a:cubicBezTo>
                  <a:pt x="1573" y="506"/>
                  <a:pt x="1570" y="503"/>
                  <a:pt x="1565" y="503"/>
                </a:cubicBezTo>
                <a:close/>
                <a:moveTo>
                  <a:pt x="1543" y="522"/>
                </a:moveTo>
                <a:cubicBezTo>
                  <a:pt x="1539" y="522"/>
                  <a:pt x="1536" y="525"/>
                  <a:pt x="1536" y="529"/>
                </a:cubicBezTo>
                <a:cubicBezTo>
                  <a:pt x="1536" y="533"/>
                  <a:pt x="1539" y="536"/>
                  <a:pt x="1543" y="536"/>
                </a:cubicBezTo>
                <a:cubicBezTo>
                  <a:pt x="1548" y="536"/>
                  <a:pt x="1551" y="533"/>
                  <a:pt x="1551" y="529"/>
                </a:cubicBezTo>
                <a:cubicBezTo>
                  <a:pt x="1551" y="525"/>
                  <a:pt x="1548" y="522"/>
                  <a:pt x="1543" y="522"/>
                </a:cubicBezTo>
                <a:close/>
                <a:moveTo>
                  <a:pt x="1565" y="522"/>
                </a:moveTo>
                <a:cubicBezTo>
                  <a:pt x="1561" y="522"/>
                  <a:pt x="1558" y="525"/>
                  <a:pt x="1558" y="529"/>
                </a:cubicBezTo>
                <a:cubicBezTo>
                  <a:pt x="1558" y="533"/>
                  <a:pt x="1561" y="536"/>
                  <a:pt x="1565" y="536"/>
                </a:cubicBezTo>
                <a:cubicBezTo>
                  <a:pt x="1570" y="536"/>
                  <a:pt x="1573" y="533"/>
                  <a:pt x="1573" y="529"/>
                </a:cubicBezTo>
                <a:cubicBezTo>
                  <a:pt x="1573" y="525"/>
                  <a:pt x="1570" y="522"/>
                  <a:pt x="1565" y="522"/>
                </a:cubicBezTo>
                <a:close/>
                <a:moveTo>
                  <a:pt x="1543" y="542"/>
                </a:moveTo>
                <a:cubicBezTo>
                  <a:pt x="1539" y="542"/>
                  <a:pt x="1536" y="545"/>
                  <a:pt x="1536" y="549"/>
                </a:cubicBezTo>
                <a:cubicBezTo>
                  <a:pt x="1536" y="552"/>
                  <a:pt x="1539" y="556"/>
                  <a:pt x="1543" y="556"/>
                </a:cubicBezTo>
                <a:cubicBezTo>
                  <a:pt x="1548" y="556"/>
                  <a:pt x="1551" y="552"/>
                  <a:pt x="1551" y="549"/>
                </a:cubicBezTo>
                <a:cubicBezTo>
                  <a:pt x="1551" y="545"/>
                  <a:pt x="1548" y="542"/>
                  <a:pt x="1543" y="542"/>
                </a:cubicBezTo>
                <a:close/>
                <a:moveTo>
                  <a:pt x="1565" y="542"/>
                </a:moveTo>
                <a:cubicBezTo>
                  <a:pt x="1561" y="542"/>
                  <a:pt x="1558" y="545"/>
                  <a:pt x="1558" y="549"/>
                </a:cubicBezTo>
                <a:cubicBezTo>
                  <a:pt x="1558" y="552"/>
                  <a:pt x="1561" y="556"/>
                  <a:pt x="1565" y="556"/>
                </a:cubicBezTo>
                <a:cubicBezTo>
                  <a:pt x="1570" y="556"/>
                  <a:pt x="1573" y="552"/>
                  <a:pt x="1573" y="549"/>
                </a:cubicBezTo>
                <a:cubicBezTo>
                  <a:pt x="1573" y="545"/>
                  <a:pt x="1570" y="542"/>
                  <a:pt x="1565" y="542"/>
                </a:cubicBezTo>
                <a:close/>
                <a:moveTo>
                  <a:pt x="1565" y="561"/>
                </a:moveTo>
                <a:cubicBezTo>
                  <a:pt x="1561" y="561"/>
                  <a:pt x="1558" y="564"/>
                  <a:pt x="1558" y="567"/>
                </a:cubicBezTo>
                <a:cubicBezTo>
                  <a:pt x="1558" y="571"/>
                  <a:pt x="1561" y="574"/>
                  <a:pt x="1565" y="574"/>
                </a:cubicBezTo>
                <a:cubicBezTo>
                  <a:pt x="1570" y="574"/>
                  <a:pt x="1573" y="571"/>
                  <a:pt x="1573" y="567"/>
                </a:cubicBezTo>
                <a:cubicBezTo>
                  <a:pt x="1573" y="564"/>
                  <a:pt x="1570" y="561"/>
                  <a:pt x="1565" y="561"/>
                </a:cubicBezTo>
                <a:close/>
                <a:moveTo>
                  <a:pt x="1589" y="290"/>
                </a:moveTo>
                <a:cubicBezTo>
                  <a:pt x="1585" y="290"/>
                  <a:pt x="1581" y="293"/>
                  <a:pt x="1581" y="296"/>
                </a:cubicBezTo>
                <a:cubicBezTo>
                  <a:pt x="1581" y="300"/>
                  <a:pt x="1585" y="303"/>
                  <a:pt x="1589" y="303"/>
                </a:cubicBezTo>
                <a:cubicBezTo>
                  <a:pt x="1593" y="303"/>
                  <a:pt x="1597" y="300"/>
                  <a:pt x="1597" y="296"/>
                </a:cubicBezTo>
                <a:cubicBezTo>
                  <a:pt x="1597" y="293"/>
                  <a:pt x="1593" y="290"/>
                  <a:pt x="1589" y="290"/>
                </a:cubicBezTo>
                <a:close/>
                <a:moveTo>
                  <a:pt x="1611" y="290"/>
                </a:moveTo>
                <a:cubicBezTo>
                  <a:pt x="1607" y="290"/>
                  <a:pt x="1603" y="293"/>
                  <a:pt x="1603" y="296"/>
                </a:cubicBezTo>
                <a:cubicBezTo>
                  <a:pt x="1603" y="300"/>
                  <a:pt x="1607" y="303"/>
                  <a:pt x="1611" y="303"/>
                </a:cubicBezTo>
                <a:cubicBezTo>
                  <a:pt x="1615" y="303"/>
                  <a:pt x="1619" y="300"/>
                  <a:pt x="1619" y="296"/>
                </a:cubicBezTo>
                <a:cubicBezTo>
                  <a:pt x="1619" y="293"/>
                  <a:pt x="1615" y="290"/>
                  <a:pt x="1611" y="290"/>
                </a:cubicBezTo>
                <a:close/>
                <a:moveTo>
                  <a:pt x="1589" y="309"/>
                </a:moveTo>
                <a:cubicBezTo>
                  <a:pt x="1585" y="309"/>
                  <a:pt x="1581" y="312"/>
                  <a:pt x="1581" y="316"/>
                </a:cubicBezTo>
                <a:cubicBezTo>
                  <a:pt x="1581" y="320"/>
                  <a:pt x="1585" y="323"/>
                  <a:pt x="1589" y="323"/>
                </a:cubicBezTo>
                <a:cubicBezTo>
                  <a:pt x="1593" y="323"/>
                  <a:pt x="1597" y="320"/>
                  <a:pt x="1597" y="316"/>
                </a:cubicBezTo>
                <a:cubicBezTo>
                  <a:pt x="1597" y="312"/>
                  <a:pt x="1593" y="309"/>
                  <a:pt x="1589" y="309"/>
                </a:cubicBezTo>
                <a:close/>
                <a:moveTo>
                  <a:pt x="1611" y="309"/>
                </a:moveTo>
                <a:cubicBezTo>
                  <a:pt x="1607" y="309"/>
                  <a:pt x="1603" y="312"/>
                  <a:pt x="1603" y="316"/>
                </a:cubicBezTo>
                <a:cubicBezTo>
                  <a:pt x="1603" y="320"/>
                  <a:pt x="1607" y="323"/>
                  <a:pt x="1611" y="323"/>
                </a:cubicBezTo>
                <a:cubicBezTo>
                  <a:pt x="1615" y="323"/>
                  <a:pt x="1619" y="320"/>
                  <a:pt x="1619" y="316"/>
                </a:cubicBezTo>
                <a:cubicBezTo>
                  <a:pt x="1619" y="312"/>
                  <a:pt x="1615" y="309"/>
                  <a:pt x="1611" y="309"/>
                </a:cubicBezTo>
                <a:close/>
                <a:moveTo>
                  <a:pt x="1589" y="329"/>
                </a:moveTo>
                <a:cubicBezTo>
                  <a:pt x="1585" y="329"/>
                  <a:pt x="1581" y="332"/>
                  <a:pt x="1581" y="335"/>
                </a:cubicBezTo>
                <a:cubicBezTo>
                  <a:pt x="1581" y="339"/>
                  <a:pt x="1585" y="342"/>
                  <a:pt x="1589" y="342"/>
                </a:cubicBezTo>
                <a:cubicBezTo>
                  <a:pt x="1593" y="342"/>
                  <a:pt x="1597" y="339"/>
                  <a:pt x="1597" y="335"/>
                </a:cubicBezTo>
                <a:cubicBezTo>
                  <a:pt x="1597" y="332"/>
                  <a:pt x="1593" y="329"/>
                  <a:pt x="1589" y="329"/>
                </a:cubicBezTo>
                <a:close/>
                <a:moveTo>
                  <a:pt x="1611" y="329"/>
                </a:moveTo>
                <a:cubicBezTo>
                  <a:pt x="1607" y="329"/>
                  <a:pt x="1603" y="332"/>
                  <a:pt x="1603" y="335"/>
                </a:cubicBezTo>
                <a:cubicBezTo>
                  <a:pt x="1603" y="339"/>
                  <a:pt x="1607" y="342"/>
                  <a:pt x="1611" y="342"/>
                </a:cubicBezTo>
                <a:cubicBezTo>
                  <a:pt x="1615" y="342"/>
                  <a:pt x="1619" y="339"/>
                  <a:pt x="1619" y="335"/>
                </a:cubicBezTo>
                <a:cubicBezTo>
                  <a:pt x="1619" y="332"/>
                  <a:pt x="1615" y="329"/>
                  <a:pt x="1611" y="329"/>
                </a:cubicBezTo>
                <a:close/>
                <a:moveTo>
                  <a:pt x="1589" y="348"/>
                </a:moveTo>
                <a:cubicBezTo>
                  <a:pt x="1585" y="348"/>
                  <a:pt x="1581" y="351"/>
                  <a:pt x="1581" y="355"/>
                </a:cubicBezTo>
                <a:cubicBezTo>
                  <a:pt x="1581" y="359"/>
                  <a:pt x="1585" y="362"/>
                  <a:pt x="1589" y="362"/>
                </a:cubicBezTo>
                <a:cubicBezTo>
                  <a:pt x="1593" y="362"/>
                  <a:pt x="1597" y="359"/>
                  <a:pt x="1597" y="355"/>
                </a:cubicBezTo>
                <a:cubicBezTo>
                  <a:pt x="1597" y="351"/>
                  <a:pt x="1593" y="348"/>
                  <a:pt x="1589" y="348"/>
                </a:cubicBezTo>
                <a:close/>
                <a:moveTo>
                  <a:pt x="1611" y="348"/>
                </a:moveTo>
                <a:cubicBezTo>
                  <a:pt x="1607" y="348"/>
                  <a:pt x="1603" y="351"/>
                  <a:pt x="1603" y="355"/>
                </a:cubicBezTo>
                <a:cubicBezTo>
                  <a:pt x="1603" y="359"/>
                  <a:pt x="1607" y="362"/>
                  <a:pt x="1611" y="362"/>
                </a:cubicBezTo>
                <a:cubicBezTo>
                  <a:pt x="1615" y="362"/>
                  <a:pt x="1619" y="359"/>
                  <a:pt x="1619" y="355"/>
                </a:cubicBezTo>
                <a:cubicBezTo>
                  <a:pt x="1619" y="351"/>
                  <a:pt x="1615" y="348"/>
                  <a:pt x="1611" y="348"/>
                </a:cubicBezTo>
                <a:close/>
                <a:moveTo>
                  <a:pt x="1589" y="368"/>
                </a:moveTo>
                <a:cubicBezTo>
                  <a:pt x="1585" y="368"/>
                  <a:pt x="1581" y="371"/>
                  <a:pt x="1581" y="374"/>
                </a:cubicBezTo>
                <a:cubicBezTo>
                  <a:pt x="1581" y="378"/>
                  <a:pt x="1585" y="381"/>
                  <a:pt x="1589" y="381"/>
                </a:cubicBezTo>
                <a:cubicBezTo>
                  <a:pt x="1593" y="381"/>
                  <a:pt x="1597" y="378"/>
                  <a:pt x="1597" y="374"/>
                </a:cubicBezTo>
                <a:cubicBezTo>
                  <a:pt x="1597" y="371"/>
                  <a:pt x="1593" y="368"/>
                  <a:pt x="1589" y="368"/>
                </a:cubicBezTo>
                <a:close/>
                <a:moveTo>
                  <a:pt x="1611" y="368"/>
                </a:moveTo>
                <a:cubicBezTo>
                  <a:pt x="1607" y="368"/>
                  <a:pt x="1603" y="371"/>
                  <a:pt x="1603" y="374"/>
                </a:cubicBezTo>
                <a:cubicBezTo>
                  <a:pt x="1603" y="378"/>
                  <a:pt x="1607" y="381"/>
                  <a:pt x="1611" y="381"/>
                </a:cubicBezTo>
                <a:cubicBezTo>
                  <a:pt x="1615" y="381"/>
                  <a:pt x="1619" y="378"/>
                  <a:pt x="1619" y="374"/>
                </a:cubicBezTo>
                <a:cubicBezTo>
                  <a:pt x="1619" y="371"/>
                  <a:pt x="1615" y="368"/>
                  <a:pt x="1611" y="368"/>
                </a:cubicBezTo>
                <a:close/>
                <a:moveTo>
                  <a:pt x="1589" y="387"/>
                </a:moveTo>
                <a:cubicBezTo>
                  <a:pt x="1585" y="387"/>
                  <a:pt x="1581" y="390"/>
                  <a:pt x="1581" y="393"/>
                </a:cubicBezTo>
                <a:cubicBezTo>
                  <a:pt x="1581" y="397"/>
                  <a:pt x="1585" y="400"/>
                  <a:pt x="1589" y="400"/>
                </a:cubicBezTo>
                <a:cubicBezTo>
                  <a:pt x="1593" y="400"/>
                  <a:pt x="1597" y="397"/>
                  <a:pt x="1597" y="393"/>
                </a:cubicBezTo>
                <a:cubicBezTo>
                  <a:pt x="1597" y="390"/>
                  <a:pt x="1593" y="387"/>
                  <a:pt x="1589" y="387"/>
                </a:cubicBezTo>
                <a:close/>
                <a:moveTo>
                  <a:pt x="1611" y="387"/>
                </a:moveTo>
                <a:cubicBezTo>
                  <a:pt x="1607" y="387"/>
                  <a:pt x="1603" y="390"/>
                  <a:pt x="1603" y="393"/>
                </a:cubicBezTo>
                <a:cubicBezTo>
                  <a:pt x="1603" y="397"/>
                  <a:pt x="1607" y="400"/>
                  <a:pt x="1611" y="400"/>
                </a:cubicBezTo>
                <a:cubicBezTo>
                  <a:pt x="1615" y="400"/>
                  <a:pt x="1619" y="397"/>
                  <a:pt x="1619" y="393"/>
                </a:cubicBezTo>
                <a:cubicBezTo>
                  <a:pt x="1619" y="390"/>
                  <a:pt x="1615" y="387"/>
                  <a:pt x="1611" y="387"/>
                </a:cubicBezTo>
                <a:close/>
                <a:moveTo>
                  <a:pt x="1589" y="406"/>
                </a:moveTo>
                <a:cubicBezTo>
                  <a:pt x="1585" y="406"/>
                  <a:pt x="1581" y="409"/>
                  <a:pt x="1581" y="413"/>
                </a:cubicBezTo>
                <a:cubicBezTo>
                  <a:pt x="1581" y="416"/>
                  <a:pt x="1585" y="419"/>
                  <a:pt x="1589" y="419"/>
                </a:cubicBezTo>
                <a:cubicBezTo>
                  <a:pt x="1593" y="419"/>
                  <a:pt x="1597" y="416"/>
                  <a:pt x="1597" y="413"/>
                </a:cubicBezTo>
                <a:cubicBezTo>
                  <a:pt x="1597" y="409"/>
                  <a:pt x="1593" y="406"/>
                  <a:pt x="1589" y="406"/>
                </a:cubicBezTo>
                <a:close/>
                <a:moveTo>
                  <a:pt x="1611" y="406"/>
                </a:moveTo>
                <a:cubicBezTo>
                  <a:pt x="1607" y="406"/>
                  <a:pt x="1603" y="409"/>
                  <a:pt x="1603" y="413"/>
                </a:cubicBezTo>
                <a:cubicBezTo>
                  <a:pt x="1603" y="416"/>
                  <a:pt x="1607" y="419"/>
                  <a:pt x="1611" y="419"/>
                </a:cubicBezTo>
                <a:cubicBezTo>
                  <a:pt x="1615" y="419"/>
                  <a:pt x="1619" y="416"/>
                  <a:pt x="1619" y="413"/>
                </a:cubicBezTo>
                <a:cubicBezTo>
                  <a:pt x="1619" y="409"/>
                  <a:pt x="1615" y="406"/>
                  <a:pt x="1611" y="406"/>
                </a:cubicBezTo>
                <a:close/>
                <a:moveTo>
                  <a:pt x="1589" y="425"/>
                </a:moveTo>
                <a:cubicBezTo>
                  <a:pt x="1585" y="425"/>
                  <a:pt x="1581" y="428"/>
                  <a:pt x="1581" y="432"/>
                </a:cubicBezTo>
                <a:cubicBezTo>
                  <a:pt x="1581" y="435"/>
                  <a:pt x="1585" y="438"/>
                  <a:pt x="1589" y="438"/>
                </a:cubicBezTo>
                <a:cubicBezTo>
                  <a:pt x="1593" y="438"/>
                  <a:pt x="1597" y="435"/>
                  <a:pt x="1597" y="432"/>
                </a:cubicBezTo>
                <a:cubicBezTo>
                  <a:pt x="1597" y="428"/>
                  <a:pt x="1593" y="425"/>
                  <a:pt x="1589" y="425"/>
                </a:cubicBezTo>
                <a:close/>
                <a:moveTo>
                  <a:pt x="1611" y="425"/>
                </a:moveTo>
                <a:cubicBezTo>
                  <a:pt x="1607" y="425"/>
                  <a:pt x="1603" y="428"/>
                  <a:pt x="1603" y="432"/>
                </a:cubicBezTo>
                <a:cubicBezTo>
                  <a:pt x="1603" y="435"/>
                  <a:pt x="1607" y="438"/>
                  <a:pt x="1611" y="438"/>
                </a:cubicBezTo>
                <a:cubicBezTo>
                  <a:pt x="1615" y="438"/>
                  <a:pt x="1619" y="435"/>
                  <a:pt x="1619" y="432"/>
                </a:cubicBezTo>
                <a:cubicBezTo>
                  <a:pt x="1619" y="428"/>
                  <a:pt x="1615" y="425"/>
                  <a:pt x="1611" y="425"/>
                </a:cubicBezTo>
                <a:close/>
                <a:moveTo>
                  <a:pt x="1633" y="290"/>
                </a:moveTo>
                <a:cubicBezTo>
                  <a:pt x="1629" y="290"/>
                  <a:pt x="1625" y="293"/>
                  <a:pt x="1625" y="296"/>
                </a:cubicBezTo>
                <a:cubicBezTo>
                  <a:pt x="1625" y="300"/>
                  <a:pt x="1629" y="303"/>
                  <a:pt x="1633" y="303"/>
                </a:cubicBezTo>
                <a:cubicBezTo>
                  <a:pt x="1637" y="303"/>
                  <a:pt x="1641" y="300"/>
                  <a:pt x="1641" y="296"/>
                </a:cubicBezTo>
                <a:cubicBezTo>
                  <a:pt x="1641" y="293"/>
                  <a:pt x="1637" y="290"/>
                  <a:pt x="1633" y="290"/>
                </a:cubicBezTo>
                <a:close/>
                <a:moveTo>
                  <a:pt x="1655" y="290"/>
                </a:moveTo>
                <a:cubicBezTo>
                  <a:pt x="1651" y="290"/>
                  <a:pt x="1648" y="293"/>
                  <a:pt x="1648" y="296"/>
                </a:cubicBezTo>
                <a:cubicBezTo>
                  <a:pt x="1648" y="300"/>
                  <a:pt x="1651" y="303"/>
                  <a:pt x="1655" y="303"/>
                </a:cubicBezTo>
                <a:cubicBezTo>
                  <a:pt x="1659" y="303"/>
                  <a:pt x="1662" y="300"/>
                  <a:pt x="1662" y="296"/>
                </a:cubicBezTo>
                <a:cubicBezTo>
                  <a:pt x="1662" y="293"/>
                  <a:pt x="1659" y="290"/>
                  <a:pt x="1655" y="290"/>
                </a:cubicBezTo>
                <a:close/>
                <a:moveTo>
                  <a:pt x="1633" y="309"/>
                </a:moveTo>
                <a:cubicBezTo>
                  <a:pt x="1629" y="309"/>
                  <a:pt x="1625" y="312"/>
                  <a:pt x="1625" y="316"/>
                </a:cubicBezTo>
                <a:cubicBezTo>
                  <a:pt x="1625" y="320"/>
                  <a:pt x="1629" y="323"/>
                  <a:pt x="1633" y="323"/>
                </a:cubicBezTo>
                <a:cubicBezTo>
                  <a:pt x="1637" y="323"/>
                  <a:pt x="1641" y="320"/>
                  <a:pt x="1641" y="316"/>
                </a:cubicBezTo>
                <a:cubicBezTo>
                  <a:pt x="1641" y="312"/>
                  <a:pt x="1637" y="309"/>
                  <a:pt x="1633" y="309"/>
                </a:cubicBezTo>
                <a:close/>
                <a:moveTo>
                  <a:pt x="1655" y="309"/>
                </a:moveTo>
                <a:cubicBezTo>
                  <a:pt x="1651" y="309"/>
                  <a:pt x="1648" y="312"/>
                  <a:pt x="1648" y="316"/>
                </a:cubicBezTo>
                <a:cubicBezTo>
                  <a:pt x="1648" y="320"/>
                  <a:pt x="1651" y="323"/>
                  <a:pt x="1655" y="323"/>
                </a:cubicBezTo>
                <a:cubicBezTo>
                  <a:pt x="1659" y="323"/>
                  <a:pt x="1662" y="320"/>
                  <a:pt x="1662" y="316"/>
                </a:cubicBezTo>
                <a:cubicBezTo>
                  <a:pt x="1662" y="312"/>
                  <a:pt x="1659" y="309"/>
                  <a:pt x="1655" y="309"/>
                </a:cubicBezTo>
                <a:close/>
                <a:moveTo>
                  <a:pt x="1633" y="329"/>
                </a:moveTo>
                <a:cubicBezTo>
                  <a:pt x="1629" y="329"/>
                  <a:pt x="1625" y="332"/>
                  <a:pt x="1625" y="335"/>
                </a:cubicBezTo>
                <a:cubicBezTo>
                  <a:pt x="1625" y="339"/>
                  <a:pt x="1629" y="342"/>
                  <a:pt x="1633" y="342"/>
                </a:cubicBezTo>
                <a:cubicBezTo>
                  <a:pt x="1637" y="342"/>
                  <a:pt x="1641" y="339"/>
                  <a:pt x="1641" y="335"/>
                </a:cubicBezTo>
                <a:cubicBezTo>
                  <a:pt x="1641" y="332"/>
                  <a:pt x="1637" y="329"/>
                  <a:pt x="1633" y="329"/>
                </a:cubicBezTo>
                <a:close/>
                <a:moveTo>
                  <a:pt x="1655" y="329"/>
                </a:moveTo>
                <a:cubicBezTo>
                  <a:pt x="1651" y="329"/>
                  <a:pt x="1648" y="332"/>
                  <a:pt x="1648" y="335"/>
                </a:cubicBezTo>
                <a:cubicBezTo>
                  <a:pt x="1648" y="339"/>
                  <a:pt x="1651" y="342"/>
                  <a:pt x="1655" y="342"/>
                </a:cubicBezTo>
                <a:cubicBezTo>
                  <a:pt x="1659" y="342"/>
                  <a:pt x="1662" y="339"/>
                  <a:pt x="1662" y="335"/>
                </a:cubicBezTo>
                <a:cubicBezTo>
                  <a:pt x="1662" y="332"/>
                  <a:pt x="1659" y="329"/>
                  <a:pt x="1655" y="329"/>
                </a:cubicBezTo>
                <a:close/>
                <a:moveTo>
                  <a:pt x="1633" y="348"/>
                </a:moveTo>
                <a:cubicBezTo>
                  <a:pt x="1629" y="348"/>
                  <a:pt x="1625" y="351"/>
                  <a:pt x="1625" y="355"/>
                </a:cubicBezTo>
                <a:cubicBezTo>
                  <a:pt x="1625" y="359"/>
                  <a:pt x="1629" y="362"/>
                  <a:pt x="1633" y="362"/>
                </a:cubicBezTo>
                <a:cubicBezTo>
                  <a:pt x="1637" y="362"/>
                  <a:pt x="1641" y="359"/>
                  <a:pt x="1641" y="355"/>
                </a:cubicBezTo>
                <a:cubicBezTo>
                  <a:pt x="1641" y="351"/>
                  <a:pt x="1637" y="348"/>
                  <a:pt x="1633" y="348"/>
                </a:cubicBezTo>
                <a:close/>
                <a:moveTo>
                  <a:pt x="1655" y="348"/>
                </a:moveTo>
                <a:cubicBezTo>
                  <a:pt x="1651" y="348"/>
                  <a:pt x="1648" y="351"/>
                  <a:pt x="1648" y="355"/>
                </a:cubicBezTo>
                <a:cubicBezTo>
                  <a:pt x="1648" y="359"/>
                  <a:pt x="1651" y="362"/>
                  <a:pt x="1655" y="362"/>
                </a:cubicBezTo>
                <a:cubicBezTo>
                  <a:pt x="1659" y="362"/>
                  <a:pt x="1662" y="359"/>
                  <a:pt x="1662" y="355"/>
                </a:cubicBezTo>
                <a:cubicBezTo>
                  <a:pt x="1662" y="351"/>
                  <a:pt x="1659" y="348"/>
                  <a:pt x="1655" y="348"/>
                </a:cubicBezTo>
                <a:close/>
                <a:moveTo>
                  <a:pt x="1633" y="368"/>
                </a:moveTo>
                <a:cubicBezTo>
                  <a:pt x="1629" y="368"/>
                  <a:pt x="1625" y="371"/>
                  <a:pt x="1625" y="374"/>
                </a:cubicBezTo>
                <a:cubicBezTo>
                  <a:pt x="1625" y="378"/>
                  <a:pt x="1629" y="381"/>
                  <a:pt x="1633" y="381"/>
                </a:cubicBezTo>
                <a:cubicBezTo>
                  <a:pt x="1637" y="381"/>
                  <a:pt x="1641" y="378"/>
                  <a:pt x="1641" y="374"/>
                </a:cubicBezTo>
                <a:cubicBezTo>
                  <a:pt x="1641" y="371"/>
                  <a:pt x="1637" y="368"/>
                  <a:pt x="1633" y="368"/>
                </a:cubicBezTo>
                <a:close/>
                <a:moveTo>
                  <a:pt x="1655" y="368"/>
                </a:moveTo>
                <a:cubicBezTo>
                  <a:pt x="1651" y="368"/>
                  <a:pt x="1648" y="371"/>
                  <a:pt x="1648" y="374"/>
                </a:cubicBezTo>
                <a:cubicBezTo>
                  <a:pt x="1648" y="378"/>
                  <a:pt x="1651" y="381"/>
                  <a:pt x="1655" y="381"/>
                </a:cubicBezTo>
                <a:cubicBezTo>
                  <a:pt x="1659" y="381"/>
                  <a:pt x="1662" y="378"/>
                  <a:pt x="1662" y="374"/>
                </a:cubicBezTo>
                <a:cubicBezTo>
                  <a:pt x="1662" y="371"/>
                  <a:pt x="1659" y="368"/>
                  <a:pt x="1655" y="368"/>
                </a:cubicBezTo>
                <a:close/>
                <a:moveTo>
                  <a:pt x="1633" y="387"/>
                </a:moveTo>
                <a:cubicBezTo>
                  <a:pt x="1629" y="387"/>
                  <a:pt x="1625" y="390"/>
                  <a:pt x="1625" y="393"/>
                </a:cubicBezTo>
                <a:cubicBezTo>
                  <a:pt x="1625" y="397"/>
                  <a:pt x="1629" y="400"/>
                  <a:pt x="1633" y="400"/>
                </a:cubicBezTo>
                <a:cubicBezTo>
                  <a:pt x="1637" y="400"/>
                  <a:pt x="1641" y="397"/>
                  <a:pt x="1641" y="393"/>
                </a:cubicBezTo>
                <a:cubicBezTo>
                  <a:pt x="1641" y="390"/>
                  <a:pt x="1637" y="387"/>
                  <a:pt x="1633" y="387"/>
                </a:cubicBezTo>
                <a:close/>
                <a:moveTo>
                  <a:pt x="1655" y="387"/>
                </a:moveTo>
                <a:cubicBezTo>
                  <a:pt x="1651" y="387"/>
                  <a:pt x="1648" y="390"/>
                  <a:pt x="1648" y="393"/>
                </a:cubicBezTo>
                <a:cubicBezTo>
                  <a:pt x="1648" y="397"/>
                  <a:pt x="1651" y="400"/>
                  <a:pt x="1655" y="400"/>
                </a:cubicBezTo>
                <a:cubicBezTo>
                  <a:pt x="1659" y="400"/>
                  <a:pt x="1662" y="397"/>
                  <a:pt x="1662" y="393"/>
                </a:cubicBezTo>
                <a:cubicBezTo>
                  <a:pt x="1662" y="390"/>
                  <a:pt x="1659" y="387"/>
                  <a:pt x="1655" y="387"/>
                </a:cubicBezTo>
                <a:close/>
                <a:moveTo>
                  <a:pt x="1633" y="406"/>
                </a:moveTo>
                <a:cubicBezTo>
                  <a:pt x="1629" y="406"/>
                  <a:pt x="1625" y="409"/>
                  <a:pt x="1625" y="413"/>
                </a:cubicBezTo>
                <a:cubicBezTo>
                  <a:pt x="1625" y="416"/>
                  <a:pt x="1629" y="419"/>
                  <a:pt x="1633" y="419"/>
                </a:cubicBezTo>
                <a:cubicBezTo>
                  <a:pt x="1637" y="419"/>
                  <a:pt x="1641" y="416"/>
                  <a:pt x="1641" y="413"/>
                </a:cubicBezTo>
                <a:cubicBezTo>
                  <a:pt x="1641" y="409"/>
                  <a:pt x="1637" y="406"/>
                  <a:pt x="1633" y="406"/>
                </a:cubicBezTo>
                <a:close/>
                <a:moveTo>
                  <a:pt x="1655" y="406"/>
                </a:moveTo>
                <a:cubicBezTo>
                  <a:pt x="1651" y="406"/>
                  <a:pt x="1648" y="409"/>
                  <a:pt x="1648" y="413"/>
                </a:cubicBezTo>
                <a:cubicBezTo>
                  <a:pt x="1648" y="416"/>
                  <a:pt x="1651" y="419"/>
                  <a:pt x="1655" y="419"/>
                </a:cubicBezTo>
                <a:cubicBezTo>
                  <a:pt x="1659" y="419"/>
                  <a:pt x="1662" y="416"/>
                  <a:pt x="1662" y="413"/>
                </a:cubicBezTo>
                <a:cubicBezTo>
                  <a:pt x="1662" y="409"/>
                  <a:pt x="1659" y="406"/>
                  <a:pt x="1655" y="406"/>
                </a:cubicBezTo>
                <a:close/>
                <a:moveTo>
                  <a:pt x="1633" y="425"/>
                </a:moveTo>
                <a:cubicBezTo>
                  <a:pt x="1629" y="425"/>
                  <a:pt x="1625" y="428"/>
                  <a:pt x="1625" y="432"/>
                </a:cubicBezTo>
                <a:cubicBezTo>
                  <a:pt x="1625" y="435"/>
                  <a:pt x="1629" y="438"/>
                  <a:pt x="1633" y="438"/>
                </a:cubicBezTo>
                <a:cubicBezTo>
                  <a:pt x="1637" y="438"/>
                  <a:pt x="1641" y="435"/>
                  <a:pt x="1641" y="432"/>
                </a:cubicBezTo>
                <a:cubicBezTo>
                  <a:pt x="1641" y="428"/>
                  <a:pt x="1637" y="425"/>
                  <a:pt x="1633" y="425"/>
                </a:cubicBezTo>
                <a:close/>
                <a:moveTo>
                  <a:pt x="1655" y="425"/>
                </a:moveTo>
                <a:cubicBezTo>
                  <a:pt x="1651" y="425"/>
                  <a:pt x="1648" y="428"/>
                  <a:pt x="1648" y="432"/>
                </a:cubicBezTo>
                <a:cubicBezTo>
                  <a:pt x="1648" y="435"/>
                  <a:pt x="1651" y="438"/>
                  <a:pt x="1655" y="438"/>
                </a:cubicBezTo>
                <a:cubicBezTo>
                  <a:pt x="1659" y="438"/>
                  <a:pt x="1662" y="435"/>
                  <a:pt x="1662" y="432"/>
                </a:cubicBezTo>
                <a:cubicBezTo>
                  <a:pt x="1662" y="428"/>
                  <a:pt x="1659" y="425"/>
                  <a:pt x="1655" y="425"/>
                </a:cubicBezTo>
                <a:close/>
                <a:moveTo>
                  <a:pt x="1677" y="290"/>
                </a:moveTo>
                <a:cubicBezTo>
                  <a:pt x="1673" y="290"/>
                  <a:pt x="1670" y="293"/>
                  <a:pt x="1670" y="296"/>
                </a:cubicBezTo>
                <a:cubicBezTo>
                  <a:pt x="1670" y="300"/>
                  <a:pt x="1673" y="303"/>
                  <a:pt x="1677" y="303"/>
                </a:cubicBezTo>
                <a:cubicBezTo>
                  <a:pt x="1682" y="303"/>
                  <a:pt x="1685" y="300"/>
                  <a:pt x="1685" y="296"/>
                </a:cubicBezTo>
                <a:cubicBezTo>
                  <a:pt x="1685" y="293"/>
                  <a:pt x="1682" y="290"/>
                  <a:pt x="1677" y="290"/>
                </a:cubicBezTo>
                <a:close/>
                <a:moveTo>
                  <a:pt x="1700" y="290"/>
                </a:moveTo>
                <a:cubicBezTo>
                  <a:pt x="1696" y="290"/>
                  <a:pt x="1692" y="293"/>
                  <a:pt x="1692" y="296"/>
                </a:cubicBezTo>
                <a:cubicBezTo>
                  <a:pt x="1692" y="300"/>
                  <a:pt x="1696" y="303"/>
                  <a:pt x="1700" y="303"/>
                </a:cubicBezTo>
                <a:cubicBezTo>
                  <a:pt x="1704" y="303"/>
                  <a:pt x="1708" y="300"/>
                  <a:pt x="1708" y="296"/>
                </a:cubicBezTo>
                <a:cubicBezTo>
                  <a:pt x="1708" y="293"/>
                  <a:pt x="1704" y="290"/>
                  <a:pt x="1700" y="290"/>
                </a:cubicBezTo>
                <a:close/>
                <a:moveTo>
                  <a:pt x="1677" y="309"/>
                </a:moveTo>
                <a:cubicBezTo>
                  <a:pt x="1673" y="309"/>
                  <a:pt x="1670" y="312"/>
                  <a:pt x="1670" y="316"/>
                </a:cubicBezTo>
                <a:cubicBezTo>
                  <a:pt x="1670" y="320"/>
                  <a:pt x="1673" y="323"/>
                  <a:pt x="1677" y="323"/>
                </a:cubicBezTo>
                <a:cubicBezTo>
                  <a:pt x="1682" y="323"/>
                  <a:pt x="1685" y="320"/>
                  <a:pt x="1685" y="316"/>
                </a:cubicBezTo>
                <a:cubicBezTo>
                  <a:pt x="1685" y="312"/>
                  <a:pt x="1682" y="309"/>
                  <a:pt x="1677" y="309"/>
                </a:cubicBezTo>
                <a:close/>
                <a:moveTo>
                  <a:pt x="1700" y="309"/>
                </a:moveTo>
                <a:cubicBezTo>
                  <a:pt x="1696" y="309"/>
                  <a:pt x="1692" y="312"/>
                  <a:pt x="1692" y="316"/>
                </a:cubicBezTo>
                <a:cubicBezTo>
                  <a:pt x="1692" y="320"/>
                  <a:pt x="1696" y="323"/>
                  <a:pt x="1700" y="323"/>
                </a:cubicBezTo>
                <a:cubicBezTo>
                  <a:pt x="1704" y="323"/>
                  <a:pt x="1708" y="320"/>
                  <a:pt x="1708" y="316"/>
                </a:cubicBezTo>
                <a:cubicBezTo>
                  <a:pt x="1708" y="312"/>
                  <a:pt x="1704" y="309"/>
                  <a:pt x="1700" y="309"/>
                </a:cubicBezTo>
                <a:close/>
                <a:moveTo>
                  <a:pt x="1677" y="329"/>
                </a:moveTo>
                <a:cubicBezTo>
                  <a:pt x="1673" y="329"/>
                  <a:pt x="1670" y="332"/>
                  <a:pt x="1670" y="335"/>
                </a:cubicBezTo>
                <a:cubicBezTo>
                  <a:pt x="1670" y="339"/>
                  <a:pt x="1673" y="342"/>
                  <a:pt x="1677" y="342"/>
                </a:cubicBezTo>
                <a:cubicBezTo>
                  <a:pt x="1682" y="342"/>
                  <a:pt x="1685" y="339"/>
                  <a:pt x="1685" y="335"/>
                </a:cubicBezTo>
                <a:cubicBezTo>
                  <a:pt x="1685" y="332"/>
                  <a:pt x="1682" y="329"/>
                  <a:pt x="1677" y="329"/>
                </a:cubicBezTo>
                <a:close/>
                <a:moveTo>
                  <a:pt x="1700" y="329"/>
                </a:moveTo>
                <a:cubicBezTo>
                  <a:pt x="1696" y="329"/>
                  <a:pt x="1692" y="332"/>
                  <a:pt x="1692" y="335"/>
                </a:cubicBezTo>
                <a:cubicBezTo>
                  <a:pt x="1692" y="339"/>
                  <a:pt x="1696" y="342"/>
                  <a:pt x="1700" y="342"/>
                </a:cubicBezTo>
                <a:cubicBezTo>
                  <a:pt x="1704" y="342"/>
                  <a:pt x="1708" y="339"/>
                  <a:pt x="1708" y="335"/>
                </a:cubicBezTo>
                <a:cubicBezTo>
                  <a:pt x="1708" y="332"/>
                  <a:pt x="1704" y="329"/>
                  <a:pt x="1700" y="329"/>
                </a:cubicBezTo>
                <a:close/>
                <a:moveTo>
                  <a:pt x="1677" y="348"/>
                </a:moveTo>
                <a:cubicBezTo>
                  <a:pt x="1673" y="348"/>
                  <a:pt x="1670" y="351"/>
                  <a:pt x="1670" y="355"/>
                </a:cubicBezTo>
                <a:cubicBezTo>
                  <a:pt x="1670" y="359"/>
                  <a:pt x="1673" y="362"/>
                  <a:pt x="1677" y="362"/>
                </a:cubicBezTo>
                <a:cubicBezTo>
                  <a:pt x="1682" y="362"/>
                  <a:pt x="1685" y="359"/>
                  <a:pt x="1685" y="355"/>
                </a:cubicBezTo>
                <a:cubicBezTo>
                  <a:pt x="1685" y="351"/>
                  <a:pt x="1682" y="348"/>
                  <a:pt x="1677" y="348"/>
                </a:cubicBezTo>
                <a:close/>
                <a:moveTo>
                  <a:pt x="1700" y="348"/>
                </a:moveTo>
                <a:cubicBezTo>
                  <a:pt x="1696" y="348"/>
                  <a:pt x="1692" y="351"/>
                  <a:pt x="1692" y="355"/>
                </a:cubicBezTo>
                <a:cubicBezTo>
                  <a:pt x="1692" y="359"/>
                  <a:pt x="1696" y="362"/>
                  <a:pt x="1700" y="362"/>
                </a:cubicBezTo>
                <a:cubicBezTo>
                  <a:pt x="1704" y="362"/>
                  <a:pt x="1708" y="359"/>
                  <a:pt x="1708" y="355"/>
                </a:cubicBezTo>
                <a:cubicBezTo>
                  <a:pt x="1708" y="351"/>
                  <a:pt x="1704" y="348"/>
                  <a:pt x="1700" y="348"/>
                </a:cubicBezTo>
                <a:close/>
                <a:moveTo>
                  <a:pt x="1677" y="368"/>
                </a:moveTo>
                <a:cubicBezTo>
                  <a:pt x="1673" y="368"/>
                  <a:pt x="1670" y="371"/>
                  <a:pt x="1670" y="374"/>
                </a:cubicBezTo>
                <a:cubicBezTo>
                  <a:pt x="1670" y="378"/>
                  <a:pt x="1673" y="381"/>
                  <a:pt x="1677" y="381"/>
                </a:cubicBezTo>
                <a:cubicBezTo>
                  <a:pt x="1682" y="381"/>
                  <a:pt x="1685" y="378"/>
                  <a:pt x="1685" y="374"/>
                </a:cubicBezTo>
                <a:cubicBezTo>
                  <a:pt x="1685" y="371"/>
                  <a:pt x="1682" y="368"/>
                  <a:pt x="1677" y="368"/>
                </a:cubicBezTo>
                <a:close/>
                <a:moveTo>
                  <a:pt x="1700" y="368"/>
                </a:moveTo>
                <a:cubicBezTo>
                  <a:pt x="1696" y="368"/>
                  <a:pt x="1692" y="371"/>
                  <a:pt x="1692" y="374"/>
                </a:cubicBezTo>
                <a:cubicBezTo>
                  <a:pt x="1692" y="378"/>
                  <a:pt x="1696" y="381"/>
                  <a:pt x="1700" y="381"/>
                </a:cubicBezTo>
                <a:cubicBezTo>
                  <a:pt x="1704" y="381"/>
                  <a:pt x="1708" y="378"/>
                  <a:pt x="1708" y="374"/>
                </a:cubicBezTo>
                <a:cubicBezTo>
                  <a:pt x="1708" y="371"/>
                  <a:pt x="1704" y="368"/>
                  <a:pt x="1700" y="368"/>
                </a:cubicBezTo>
                <a:close/>
                <a:moveTo>
                  <a:pt x="1677" y="387"/>
                </a:moveTo>
                <a:cubicBezTo>
                  <a:pt x="1673" y="387"/>
                  <a:pt x="1670" y="390"/>
                  <a:pt x="1670" y="393"/>
                </a:cubicBezTo>
                <a:cubicBezTo>
                  <a:pt x="1670" y="397"/>
                  <a:pt x="1673" y="400"/>
                  <a:pt x="1677" y="400"/>
                </a:cubicBezTo>
                <a:cubicBezTo>
                  <a:pt x="1682" y="400"/>
                  <a:pt x="1685" y="397"/>
                  <a:pt x="1685" y="393"/>
                </a:cubicBezTo>
                <a:cubicBezTo>
                  <a:pt x="1685" y="390"/>
                  <a:pt x="1682" y="387"/>
                  <a:pt x="1677" y="387"/>
                </a:cubicBezTo>
                <a:close/>
                <a:moveTo>
                  <a:pt x="1700" y="387"/>
                </a:moveTo>
                <a:cubicBezTo>
                  <a:pt x="1696" y="387"/>
                  <a:pt x="1692" y="390"/>
                  <a:pt x="1692" y="393"/>
                </a:cubicBezTo>
                <a:cubicBezTo>
                  <a:pt x="1692" y="397"/>
                  <a:pt x="1696" y="400"/>
                  <a:pt x="1700" y="400"/>
                </a:cubicBezTo>
                <a:cubicBezTo>
                  <a:pt x="1704" y="400"/>
                  <a:pt x="1708" y="397"/>
                  <a:pt x="1708" y="393"/>
                </a:cubicBezTo>
                <a:cubicBezTo>
                  <a:pt x="1708" y="390"/>
                  <a:pt x="1704" y="387"/>
                  <a:pt x="1700" y="387"/>
                </a:cubicBezTo>
                <a:close/>
                <a:moveTo>
                  <a:pt x="1677" y="406"/>
                </a:moveTo>
                <a:cubicBezTo>
                  <a:pt x="1673" y="406"/>
                  <a:pt x="1670" y="409"/>
                  <a:pt x="1670" y="413"/>
                </a:cubicBezTo>
                <a:cubicBezTo>
                  <a:pt x="1670" y="416"/>
                  <a:pt x="1673" y="419"/>
                  <a:pt x="1677" y="419"/>
                </a:cubicBezTo>
                <a:cubicBezTo>
                  <a:pt x="1682" y="419"/>
                  <a:pt x="1685" y="416"/>
                  <a:pt x="1685" y="413"/>
                </a:cubicBezTo>
                <a:cubicBezTo>
                  <a:pt x="1685" y="409"/>
                  <a:pt x="1682" y="406"/>
                  <a:pt x="1677" y="406"/>
                </a:cubicBezTo>
                <a:close/>
                <a:moveTo>
                  <a:pt x="1700" y="406"/>
                </a:moveTo>
                <a:cubicBezTo>
                  <a:pt x="1696" y="406"/>
                  <a:pt x="1692" y="409"/>
                  <a:pt x="1692" y="413"/>
                </a:cubicBezTo>
                <a:cubicBezTo>
                  <a:pt x="1692" y="416"/>
                  <a:pt x="1696" y="419"/>
                  <a:pt x="1700" y="419"/>
                </a:cubicBezTo>
                <a:cubicBezTo>
                  <a:pt x="1704" y="419"/>
                  <a:pt x="1708" y="416"/>
                  <a:pt x="1708" y="413"/>
                </a:cubicBezTo>
                <a:cubicBezTo>
                  <a:pt x="1708" y="409"/>
                  <a:pt x="1704" y="406"/>
                  <a:pt x="1700" y="406"/>
                </a:cubicBezTo>
                <a:close/>
                <a:moveTo>
                  <a:pt x="1677" y="425"/>
                </a:moveTo>
                <a:cubicBezTo>
                  <a:pt x="1673" y="425"/>
                  <a:pt x="1670" y="428"/>
                  <a:pt x="1670" y="432"/>
                </a:cubicBezTo>
                <a:cubicBezTo>
                  <a:pt x="1670" y="435"/>
                  <a:pt x="1673" y="438"/>
                  <a:pt x="1677" y="438"/>
                </a:cubicBezTo>
                <a:cubicBezTo>
                  <a:pt x="1682" y="438"/>
                  <a:pt x="1685" y="435"/>
                  <a:pt x="1685" y="432"/>
                </a:cubicBezTo>
                <a:cubicBezTo>
                  <a:pt x="1685" y="428"/>
                  <a:pt x="1682" y="425"/>
                  <a:pt x="1677" y="425"/>
                </a:cubicBezTo>
                <a:close/>
                <a:moveTo>
                  <a:pt x="1700" y="425"/>
                </a:moveTo>
                <a:cubicBezTo>
                  <a:pt x="1696" y="425"/>
                  <a:pt x="1692" y="428"/>
                  <a:pt x="1692" y="432"/>
                </a:cubicBezTo>
                <a:cubicBezTo>
                  <a:pt x="1692" y="435"/>
                  <a:pt x="1696" y="438"/>
                  <a:pt x="1700" y="438"/>
                </a:cubicBezTo>
                <a:cubicBezTo>
                  <a:pt x="1704" y="438"/>
                  <a:pt x="1708" y="435"/>
                  <a:pt x="1708" y="432"/>
                </a:cubicBezTo>
                <a:cubicBezTo>
                  <a:pt x="1708" y="428"/>
                  <a:pt x="1704" y="425"/>
                  <a:pt x="1700" y="425"/>
                </a:cubicBezTo>
                <a:close/>
                <a:moveTo>
                  <a:pt x="1722" y="290"/>
                </a:moveTo>
                <a:cubicBezTo>
                  <a:pt x="1718" y="290"/>
                  <a:pt x="1714" y="293"/>
                  <a:pt x="1714" y="296"/>
                </a:cubicBezTo>
                <a:cubicBezTo>
                  <a:pt x="1714" y="300"/>
                  <a:pt x="1718" y="303"/>
                  <a:pt x="1722" y="303"/>
                </a:cubicBezTo>
                <a:cubicBezTo>
                  <a:pt x="1726" y="303"/>
                  <a:pt x="1730" y="300"/>
                  <a:pt x="1730" y="296"/>
                </a:cubicBezTo>
                <a:cubicBezTo>
                  <a:pt x="1730" y="293"/>
                  <a:pt x="1726" y="290"/>
                  <a:pt x="1722" y="290"/>
                </a:cubicBezTo>
                <a:close/>
                <a:moveTo>
                  <a:pt x="1744" y="290"/>
                </a:moveTo>
                <a:cubicBezTo>
                  <a:pt x="1740" y="290"/>
                  <a:pt x="1736" y="293"/>
                  <a:pt x="1736" y="296"/>
                </a:cubicBezTo>
                <a:cubicBezTo>
                  <a:pt x="1736" y="300"/>
                  <a:pt x="1740" y="303"/>
                  <a:pt x="1744" y="303"/>
                </a:cubicBezTo>
                <a:cubicBezTo>
                  <a:pt x="1748" y="303"/>
                  <a:pt x="1751" y="300"/>
                  <a:pt x="1751" y="296"/>
                </a:cubicBezTo>
                <a:cubicBezTo>
                  <a:pt x="1751" y="293"/>
                  <a:pt x="1748" y="290"/>
                  <a:pt x="1744" y="290"/>
                </a:cubicBezTo>
                <a:close/>
                <a:moveTo>
                  <a:pt x="1722" y="309"/>
                </a:moveTo>
                <a:cubicBezTo>
                  <a:pt x="1718" y="309"/>
                  <a:pt x="1714" y="312"/>
                  <a:pt x="1714" y="316"/>
                </a:cubicBezTo>
                <a:cubicBezTo>
                  <a:pt x="1714" y="320"/>
                  <a:pt x="1718" y="323"/>
                  <a:pt x="1722" y="323"/>
                </a:cubicBezTo>
                <a:cubicBezTo>
                  <a:pt x="1726" y="323"/>
                  <a:pt x="1730" y="320"/>
                  <a:pt x="1730" y="316"/>
                </a:cubicBezTo>
                <a:cubicBezTo>
                  <a:pt x="1730" y="312"/>
                  <a:pt x="1726" y="309"/>
                  <a:pt x="1722" y="309"/>
                </a:cubicBezTo>
                <a:close/>
                <a:moveTo>
                  <a:pt x="1744" y="309"/>
                </a:moveTo>
                <a:cubicBezTo>
                  <a:pt x="1740" y="309"/>
                  <a:pt x="1736" y="312"/>
                  <a:pt x="1736" y="316"/>
                </a:cubicBezTo>
                <a:cubicBezTo>
                  <a:pt x="1736" y="320"/>
                  <a:pt x="1740" y="323"/>
                  <a:pt x="1744" y="323"/>
                </a:cubicBezTo>
                <a:cubicBezTo>
                  <a:pt x="1748" y="323"/>
                  <a:pt x="1751" y="320"/>
                  <a:pt x="1751" y="316"/>
                </a:cubicBezTo>
                <a:cubicBezTo>
                  <a:pt x="1751" y="312"/>
                  <a:pt x="1748" y="309"/>
                  <a:pt x="1744" y="309"/>
                </a:cubicBezTo>
                <a:close/>
                <a:moveTo>
                  <a:pt x="1722" y="329"/>
                </a:moveTo>
                <a:cubicBezTo>
                  <a:pt x="1718" y="329"/>
                  <a:pt x="1714" y="332"/>
                  <a:pt x="1714" y="335"/>
                </a:cubicBezTo>
                <a:cubicBezTo>
                  <a:pt x="1714" y="339"/>
                  <a:pt x="1718" y="342"/>
                  <a:pt x="1722" y="342"/>
                </a:cubicBezTo>
                <a:cubicBezTo>
                  <a:pt x="1726" y="342"/>
                  <a:pt x="1730" y="339"/>
                  <a:pt x="1730" y="335"/>
                </a:cubicBezTo>
                <a:cubicBezTo>
                  <a:pt x="1730" y="332"/>
                  <a:pt x="1726" y="329"/>
                  <a:pt x="1722" y="329"/>
                </a:cubicBezTo>
                <a:close/>
                <a:moveTo>
                  <a:pt x="1744" y="329"/>
                </a:moveTo>
                <a:cubicBezTo>
                  <a:pt x="1740" y="329"/>
                  <a:pt x="1736" y="332"/>
                  <a:pt x="1736" y="335"/>
                </a:cubicBezTo>
                <a:cubicBezTo>
                  <a:pt x="1736" y="339"/>
                  <a:pt x="1740" y="342"/>
                  <a:pt x="1744" y="342"/>
                </a:cubicBezTo>
                <a:cubicBezTo>
                  <a:pt x="1748" y="342"/>
                  <a:pt x="1751" y="339"/>
                  <a:pt x="1751" y="335"/>
                </a:cubicBezTo>
                <a:cubicBezTo>
                  <a:pt x="1751" y="332"/>
                  <a:pt x="1748" y="329"/>
                  <a:pt x="1744" y="329"/>
                </a:cubicBezTo>
                <a:close/>
                <a:moveTo>
                  <a:pt x="1722" y="348"/>
                </a:moveTo>
                <a:cubicBezTo>
                  <a:pt x="1718" y="348"/>
                  <a:pt x="1714" y="351"/>
                  <a:pt x="1714" y="355"/>
                </a:cubicBezTo>
                <a:cubicBezTo>
                  <a:pt x="1714" y="359"/>
                  <a:pt x="1718" y="362"/>
                  <a:pt x="1722" y="362"/>
                </a:cubicBezTo>
                <a:cubicBezTo>
                  <a:pt x="1726" y="362"/>
                  <a:pt x="1730" y="359"/>
                  <a:pt x="1730" y="355"/>
                </a:cubicBezTo>
                <a:cubicBezTo>
                  <a:pt x="1730" y="351"/>
                  <a:pt x="1726" y="348"/>
                  <a:pt x="1722" y="348"/>
                </a:cubicBezTo>
                <a:close/>
                <a:moveTo>
                  <a:pt x="1744" y="348"/>
                </a:moveTo>
                <a:cubicBezTo>
                  <a:pt x="1740" y="348"/>
                  <a:pt x="1736" y="351"/>
                  <a:pt x="1736" y="355"/>
                </a:cubicBezTo>
                <a:cubicBezTo>
                  <a:pt x="1736" y="359"/>
                  <a:pt x="1740" y="362"/>
                  <a:pt x="1744" y="362"/>
                </a:cubicBezTo>
                <a:cubicBezTo>
                  <a:pt x="1748" y="362"/>
                  <a:pt x="1751" y="359"/>
                  <a:pt x="1751" y="355"/>
                </a:cubicBezTo>
                <a:cubicBezTo>
                  <a:pt x="1751" y="351"/>
                  <a:pt x="1748" y="348"/>
                  <a:pt x="1744" y="348"/>
                </a:cubicBezTo>
                <a:close/>
                <a:moveTo>
                  <a:pt x="1722" y="368"/>
                </a:moveTo>
                <a:cubicBezTo>
                  <a:pt x="1718" y="368"/>
                  <a:pt x="1714" y="371"/>
                  <a:pt x="1714" y="374"/>
                </a:cubicBezTo>
                <a:cubicBezTo>
                  <a:pt x="1714" y="378"/>
                  <a:pt x="1718" y="381"/>
                  <a:pt x="1722" y="381"/>
                </a:cubicBezTo>
                <a:cubicBezTo>
                  <a:pt x="1726" y="381"/>
                  <a:pt x="1730" y="378"/>
                  <a:pt x="1730" y="374"/>
                </a:cubicBezTo>
                <a:cubicBezTo>
                  <a:pt x="1730" y="371"/>
                  <a:pt x="1726" y="368"/>
                  <a:pt x="1722" y="368"/>
                </a:cubicBezTo>
                <a:close/>
                <a:moveTo>
                  <a:pt x="1744" y="368"/>
                </a:moveTo>
                <a:cubicBezTo>
                  <a:pt x="1740" y="368"/>
                  <a:pt x="1736" y="371"/>
                  <a:pt x="1736" y="374"/>
                </a:cubicBezTo>
                <a:cubicBezTo>
                  <a:pt x="1736" y="378"/>
                  <a:pt x="1740" y="381"/>
                  <a:pt x="1744" y="381"/>
                </a:cubicBezTo>
                <a:cubicBezTo>
                  <a:pt x="1748" y="381"/>
                  <a:pt x="1751" y="378"/>
                  <a:pt x="1751" y="374"/>
                </a:cubicBezTo>
                <a:cubicBezTo>
                  <a:pt x="1751" y="371"/>
                  <a:pt x="1748" y="368"/>
                  <a:pt x="1744" y="368"/>
                </a:cubicBezTo>
                <a:close/>
                <a:moveTo>
                  <a:pt x="1722" y="387"/>
                </a:moveTo>
                <a:cubicBezTo>
                  <a:pt x="1718" y="387"/>
                  <a:pt x="1714" y="390"/>
                  <a:pt x="1714" y="393"/>
                </a:cubicBezTo>
                <a:cubicBezTo>
                  <a:pt x="1714" y="397"/>
                  <a:pt x="1718" y="400"/>
                  <a:pt x="1722" y="400"/>
                </a:cubicBezTo>
                <a:cubicBezTo>
                  <a:pt x="1726" y="400"/>
                  <a:pt x="1730" y="397"/>
                  <a:pt x="1730" y="393"/>
                </a:cubicBezTo>
                <a:cubicBezTo>
                  <a:pt x="1730" y="390"/>
                  <a:pt x="1726" y="387"/>
                  <a:pt x="1722" y="387"/>
                </a:cubicBezTo>
                <a:close/>
                <a:moveTo>
                  <a:pt x="1744" y="387"/>
                </a:moveTo>
                <a:cubicBezTo>
                  <a:pt x="1740" y="387"/>
                  <a:pt x="1736" y="390"/>
                  <a:pt x="1736" y="393"/>
                </a:cubicBezTo>
                <a:cubicBezTo>
                  <a:pt x="1736" y="397"/>
                  <a:pt x="1740" y="400"/>
                  <a:pt x="1744" y="400"/>
                </a:cubicBezTo>
                <a:cubicBezTo>
                  <a:pt x="1748" y="400"/>
                  <a:pt x="1751" y="397"/>
                  <a:pt x="1751" y="393"/>
                </a:cubicBezTo>
                <a:cubicBezTo>
                  <a:pt x="1751" y="390"/>
                  <a:pt x="1748" y="387"/>
                  <a:pt x="1744" y="387"/>
                </a:cubicBezTo>
                <a:close/>
                <a:moveTo>
                  <a:pt x="1722" y="406"/>
                </a:moveTo>
                <a:cubicBezTo>
                  <a:pt x="1718" y="406"/>
                  <a:pt x="1714" y="409"/>
                  <a:pt x="1714" y="413"/>
                </a:cubicBezTo>
                <a:cubicBezTo>
                  <a:pt x="1714" y="416"/>
                  <a:pt x="1718" y="419"/>
                  <a:pt x="1722" y="419"/>
                </a:cubicBezTo>
                <a:cubicBezTo>
                  <a:pt x="1726" y="419"/>
                  <a:pt x="1730" y="416"/>
                  <a:pt x="1730" y="413"/>
                </a:cubicBezTo>
                <a:cubicBezTo>
                  <a:pt x="1730" y="409"/>
                  <a:pt x="1726" y="406"/>
                  <a:pt x="1722" y="406"/>
                </a:cubicBezTo>
                <a:close/>
                <a:moveTo>
                  <a:pt x="1744" y="406"/>
                </a:moveTo>
                <a:cubicBezTo>
                  <a:pt x="1740" y="406"/>
                  <a:pt x="1736" y="409"/>
                  <a:pt x="1736" y="413"/>
                </a:cubicBezTo>
                <a:cubicBezTo>
                  <a:pt x="1736" y="416"/>
                  <a:pt x="1740" y="419"/>
                  <a:pt x="1744" y="419"/>
                </a:cubicBezTo>
                <a:cubicBezTo>
                  <a:pt x="1748" y="419"/>
                  <a:pt x="1751" y="416"/>
                  <a:pt x="1751" y="413"/>
                </a:cubicBezTo>
                <a:cubicBezTo>
                  <a:pt x="1751" y="409"/>
                  <a:pt x="1748" y="406"/>
                  <a:pt x="1744" y="406"/>
                </a:cubicBezTo>
                <a:close/>
                <a:moveTo>
                  <a:pt x="1722" y="425"/>
                </a:moveTo>
                <a:cubicBezTo>
                  <a:pt x="1718" y="425"/>
                  <a:pt x="1714" y="428"/>
                  <a:pt x="1714" y="432"/>
                </a:cubicBezTo>
                <a:cubicBezTo>
                  <a:pt x="1714" y="435"/>
                  <a:pt x="1718" y="438"/>
                  <a:pt x="1722" y="438"/>
                </a:cubicBezTo>
                <a:cubicBezTo>
                  <a:pt x="1726" y="438"/>
                  <a:pt x="1730" y="435"/>
                  <a:pt x="1730" y="432"/>
                </a:cubicBezTo>
                <a:cubicBezTo>
                  <a:pt x="1730" y="428"/>
                  <a:pt x="1726" y="425"/>
                  <a:pt x="1722" y="425"/>
                </a:cubicBezTo>
                <a:close/>
                <a:moveTo>
                  <a:pt x="1744" y="425"/>
                </a:moveTo>
                <a:cubicBezTo>
                  <a:pt x="1740" y="425"/>
                  <a:pt x="1736" y="428"/>
                  <a:pt x="1736" y="432"/>
                </a:cubicBezTo>
                <a:cubicBezTo>
                  <a:pt x="1736" y="435"/>
                  <a:pt x="1740" y="438"/>
                  <a:pt x="1744" y="438"/>
                </a:cubicBezTo>
                <a:cubicBezTo>
                  <a:pt x="1748" y="438"/>
                  <a:pt x="1751" y="435"/>
                  <a:pt x="1751" y="432"/>
                </a:cubicBezTo>
                <a:cubicBezTo>
                  <a:pt x="1751" y="428"/>
                  <a:pt x="1748" y="425"/>
                  <a:pt x="1744" y="425"/>
                </a:cubicBezTo>
                <a:close/>
                <a:moveTo>
                  <a:pt x="1589" y="446"/>
                </a:moveTo>
                <a:cubicBezTo>
                  <a:pt x="1585" y="446"/>
                  <a:pt x="1581" y="448"/>
                  <a:pt x="1581" y="452"/>
                </a:cubicBezTo>
                <a:cubicBezTo>
                  <a:pt x="1581" y="455"/>
                  <a:pt x="1585" y="458"/>
                  <a:pt x="1589" y="458"/>
                </a:cubicBezTo>
                <a:cubicBezTo>
                  <a:pt x="1593" y="458"/>
                  <a:pt x="1597" y="455"/>
                  <a:pt x="1597" y="452"/>
                </a:cubicBezTo>
                <a:cubicBezTo>
                  <a:pt x="1597" y="448"/>
                  <a:pt x="1593" y="446"/>
                  <a:pt x="1589" y="446"/>
                </a:cubicBezTo>
                <a:close/>
                <a:moveTo>
                  <a:pt x="1611" y="446"/>
                </a:moveTo>
                <a:cubicBezTo>
                  <a:pt x="1607" y="446"/>
                  <a:pt x="1603" y="448"/>
                  <a:pt x="1603" y="452"/>
                </a:cubicBezTo>
                <a:cubicBezTo>
                  <a:pt x="1603" y="455"/>
                  <a:pt x="1607" y="458"/>
                  <a:pt x="1611" y="458"/>
                </a:cubicBezTo>
                <a:cubicBezTo>
                  <a:pt x="1615" y="458"/>
                  <a:pt x="1619" y="455"/>
                  <a:pt x="1619" y="452"/>
                </a:cubicBezTo>
                <a:cubicBezTo>
                  <a:pt x="1619" y="448"/>
                  <a:pt x="1615" y="446"/>
                  <a:pt x="1611" y="446"/>
                </a:cubicBezTo>
                <a:close/>
                <a:moveTo>
                  <a:pt x="1589" y="464"/>
                </a:moveTo>
                <a:cubicBezTo>
                  <a:pt x="1585" y="464"/>
                  <a:pt x="1581" y="467"/>
                  <a:pt x="1581" y="471"/>
                </a:cubicBezTo>
                <a:cubicBezTo>
                  <a:pt x="1581" y="475"/>
                  <a:pt x="1585" y="478"/>
                  <a:pt x="1589" y="478"/>
                </a:cubicBezTo>
                <a:cubicBezTo>
                  <a:pt x="1593" y="478"/>
                  <a:pt x="1597" y="475"/>
                  <a:pt x="1597" y="471"/>
                </a:cubicBezTo>
                <a:cubicBezTo>
                  <a:pt x="1597" y="467"/>
                  <a:pt x="1593" y="464"/>
                  <a:pt x="1589" y="464"/>
                </a:cubicBezTo>
                <a:close/>
                <a:moveTo>
                  <a:pt x="1611" y="464"/>
                </a:moveTo>
                <a:cubicBezTo>
                  <a:pt x="1607" y="464"/>
                  <a:pt x="1603" y="467"/>
                  <a:pt x="1603" y="471"/>
                </a:cubicBezTo>
                <a:cubicBezTo>
                  <a:pt x="1603" y="475"/>
                  <a:pt x="1607" y="478"/>
                  <a:pt x="1611" y="478"/>
                </a:cubicBezTo>
                <a:cubicBezTo>
                  <a:pt x="1615" y="478"/>
                  <a:pt x="1619" y="475"/>
                  <a:pt x="1619" y="471"/>
                </a:cubicBezTo>
                <a:cubicBezTo>
                  <a:pt x="1619" y="467"/>
                  <a:pt x="1615" y="464"/>
                  <a:pt x="1611" y="464"/>
                </a:cubicBezTo>
                <a:close/>
                <a:moveTo>
                  <a:pt x="1589" y="484"/>
                </a:moveTo>
                <a:cubicBezTo>
                  <a:pt x="1585" y="484"/>
                  <a:pt x="1581" y="487"/>
                  <a:pt x="1581" y="490"/>
                </a:cubicBezTo>
                <a:cubicBezTo>
                  <a:pt x="1581" y="494"/>
                  <a:pt x="1585" y="497"/>
                  <a:pt x="1589" y="497"/>
                </a:cubicBezTo>
                <a:cubicBezTo>
                  <a:pt x="1593" y="497"/>
                  <a:pt x="1597" y="494"/>
                  <a:pt x="1597" y="490"/>
                </a:cubicBezTo>
                <a:cubicBezTo>
                  <a:pt x="1597" y="487"/>
                  <a:pt x="1593" y="484"/>
                  <a:pt x="1589" y="484"/>
                </a:cubicBezTo>
                <a:close/>
                <a:moveTo>
                  <a:pt x="1611" y="484"/>
                </a:moveTo>
                <a:cubicBezTo>
                  <a:pt x="1607" y="484"/>
                  <a:pt x="1603" y="487"/>
                  <a:pt x="1603" y="490"/>
                </a:cubicBezTo>
                <a:cubicBezTo>
                  <a:pt x="1603" y="494"/>
                  <a:pt x="1607" y="497"/>
                  <a:pt x="1611" y="497"/>
                </a:cubicBezTo>
                <a:cubicBezTo>
                  <a:pt x="1615" y="497"/>
                  <a:pt x="1619" y="494"/>
                  <a:pt x="1619" y="490"/>
                </a:cubicBezTo>
                <a:cubicBezTo>
                  <a:pt x="1619" y="487"/>
                  <a:pt x="1615" y="484"/>
                  <a:pt x="1611" y="484"/>
                </a:cubicBezTo>
                <a:close/>
                <a:moveTo>
                  <a:pt x="1589" y="503"/>
                </a:moveTo>
                <a:cubicBezTo>
                  <a:pt x="1585" y="503"/>
                  <a:pt x="1581" y="506"/>
                  <a:pt x="1581" y="509"/>
                </a:cubicBezTo>
                <a:cubicBezTo>
                  <a:pt x="1581" y="513"/>
                  <a:pt x="1585" y="516"/>
                  <a:pt x="1589" y="516"/>
                </a:cubicBezTo>
                <a:cubicBezTo>
                  <a:pt x="1593" y="516"/>
                  <a:pt x="1597" y="513"/>
                  <a:pt x="1597" y="509"/>
                </a:cubicBezTo>
                <a:cubicBezTo>
                  <a:pt x="1597" y="506"/>
                  <a:pt x="1593" y="503"/>
                  <a:pt x="1589" y="503"/>
                </a:cubicBezTo>
                <a:close/>
                <a:moveTo>
                  <a:pt x="1611" y="503"/>
                </a:moveTo>
                <a:cubicBezTo>
                  <a:pt x="1607" y="503"/>
                  <a:pt x="1603" y="506"/>
                  <a:pt x="1603" y="509"/>
                </a:cubicBezTo>
                <a:cubicBezTo>
                  <a:pt x="1603" y="513"/>
                  <a:pt x="1607" y="516"/>
                  <a:pt x="1611" y="516"/>
                </a:cubicBezTo>
                <a:cubicBezTo>
                  <a:pt x="1615" y="516"/>
                  <a:pt x="1619" y="513"/>
                  <a:pt x="1619" y="509"/>
                </a:cubicBezTo>
                <a:cubicBezTo>
                  <a:pt x="1619" y="506"/>
                  <a:pt x="1615" y="503"/>
                  <a:pt x="1611" y="503"/>
                </a:cubicBezTo>
                <a:close/>
                <a:moveTo>
                  <a:pt x="1589" y="522"/>
                </a:moveTo>
                <a:cubicBezTo>
                  <a:pt x="1585" y="522"/>
                  <a:pt x="1581" y="525"/>
                  <a:pt x="1581" y="529"/>
                </a:cubicBezTo>
                <a:cubicBezTo>
                  <a:pt x="1581" y="533"/>
                  <a:pt x="1585" y="536"/>
                  <a:pt x="1589" y="536"/>
                </a:cubicBezTo>
                <a:cubicBezTo>
                  <a:pt x="1593" y="536"/>
                  <a:pt x="1597" y="533"/>
                  <a:pt x="1597" y="529"/>
                </a:cubicBezTo>
                <a:cubicBezTo>
                  <a:pt x="1597" y="525"/>
                  <a:pt x="1593" y="522"/>
                  <a:pt x="1589" y="522"/>
                </a:cubicBezTo>
                <a:close/>
                <a:moveTo>
                  <a:pt x="1611" y="522"/>
                </a:moveTo>
                <a:cubicBezTo>
                  <a:pt x="1607" y="522"/>
                  <a:pt x="1603" y="525"/>
                  <a:pt x="1603" y="529"/>
                </a:cubicBezTo>
                <a:cubicBezTo>
                  <a:pt x="1603" y="533"/>
                  <a:pt x="1607" y="536"/>
                  <a:pt x="1611" y="536"/>
                </a:cubicBezTo>
                <a:cubicBezTo>
                  <a:pt x="1615" y="536"/>
                  <a:pt x="1619" y="533"/>
                  <a:pt x="1619" y="529"/>
                </a:cubicBezTo>
                <a:cubicBezTo>
                  <a:pt x="1619" y="525"/>
                  <a:pt x="1615" y="522"/>
                  <a:pt x="1611" y="522"/>
                </a:cubicBezTo>
                <a:close/>
                <a:moveTo>
                  <a:pt x="1589" y="542"/>
                </a:moveTo>
                <a:cubicBezTo>
                  <a:pt x="1585" y="542"/>
                  <a:pt x="1581" y="545"/>
                  <a:pt x="1581" y="549"/>
                </a:cubicBezTo>
                <a:cubicBezTo>
                  <a:pt x="1581" y="552"/>
                  <a:pt x="1585" y="556"/>
                  <a:pt x="1589" y="556"/>
                </a:cubicBezTo>
                <a:cubicBezTo>
                  <a:pt x="1593" y="556"/>
                  <a:pt x="1597" y="552"/>
                  <a:pt x="1597" y="549"/>
                </a:cubicBezTo>
                <a:cubicBezTo>
                  <a:pt x="1597" y="545"/>
                  <a:pt x="1593" y="542"/>
                  <a:pt x="1589" y="542"/>
                </a:cubicBezTo>
                <a:close/>
                <a:moveTo>
                  <a:pt x="1611" y="542"/>
                </a:moveTo>
                <a:cubicBezTo>
                  <a:pt x="1607" y="542"/>
                  <a:pt x="1603" y="545"/>
                  <a:pt x="1603" y="549"/>
                </a:cubicBezTo>
                <a:cubicBezTo>
                  <a:pt x="1603" y="552"/>
                  <a:pt x="1607" y="556"/>
                  <a:pt x="1611" y="556"/>
                </a:cubicBezTo>
                <a:cubicBezTo>
                  <a:pt x="1615" y="556"/>
                  <a:pt x="1619" y="552"/>
                  <a:pt x="1619" y="549"/>
                </a:cubicBezTo>
                <a:cubicBezTo>
                  <a:pt x="1619" y="545"/>
                  <a:pt x="1615" y="542"/>
                  <a:pt x="1611" y="542"/>
                </a:cubicBezTo>
                <a:close/>
                <a:moveTo>
                  <a:pt x="1589" y="561"/>
                </a:moveTo>
                <a:cubicBezTo>
                  <a:pt x="1585" y="561"/>
                  <a:pt x="1581" y="564"/>
                  <a:pt x="1581" y="567"/>
                </a:cubicBezTo>
                <a:cubicBezTo>
                  <a:pt x="1581" y="571"/>
                  <a:pt x="1585" y="574"/>
                  <a:pt x="1589" y="574"/>
                </a:cubicBezTo>
                <a:cubicBezTo>
                  <a:pt x="1593" y="574"/>
                  <a:pt x="1597" y="571"/>
                  <a:pt x="1597" y="567"/>
                </a:cubicBezTo>
                <a:cubicBezTo>
                  <a:pt x="1597" y="564"/>
                  <a:pt x="1593" y="561"/>
                  <a:pt x="1589" y="561"/>
                </a:cubicBezTo>
                <a:close/>
                <a:moveTo>
                  <a:pt x="1611" y="561"/>
                </a:moveTo>
                <a:cubicBezTo>
                  <a:pt x="1607" y="561"/>
                  <a:pt x="1603" y="564"/>
                  <a:pt x="1603" y="567"/>
                </a:cubicBezTo>
                <a:cubicBezTo>
                  <a:pt x="1603" y="571"/>
                  <a:pt x="1607" y="574"/>
                  <a:pt x="1611" y="574"/>
                </a:cubicBezTo>
                <a:cubicBezTo>
                  <a:pt x="1615" y="574"/>
                  <a:pt x="1619" y="571"/>
                  <a:pt x="1619" y="567"/>
                </a:cubicBezTo>
                <a:cubicBezTo>
                  <a:pt x="1619" y="564"/>
                  <a:pt x="1615" y="561"/>
                  <a:pt x="1611" y="561"/>
                </a:cubicBezTo>
                <a:close/>
                <a:moveTo>
                  <a:pt x="1589" y="580"/>
                </a:moveTo>
                <a:cubicBezTo>
                  <a:pt x="1585" y="580"/>
                  <a:pt x="1581" y="583"/>
                  <a:pt x="1581" y="587"/>
                </a:cubicBezTo>
                <a:cubicBezTo>
                  <a:pt x="1581" y="590"/>
                  <a:pt x="1585" y="593"/>
                  <a:pt x="1589" y="593"/>
                </a:cubicBezTo>
                <a:cubicBezTo>
                  <a:pt x="1593" y="593"/>
                  <a:pt x="1597" y="590"/>
                  <a:pt x="1597" y="587"/>
                </a:cubicBezTo>
                <a:cubicBezTo>
                  <a:pt x="1597" y="583"/>
                  <a:pt x="1593" y="580"/>
                  <a:pt x="1589" y="580"/>
                </a:cubicBezTo>
                <a:close/>
                <a:moveTo>
                  <a:pt x="1611" y="580"/>
                </a:moveTo>
                <a:cubicBezTo>
                  <a:pt x="1607" y="580"/>
                  <a:pt x="1603" y="583"/>
                  <a:pt x="1603" y="587"/>
                </a:cubicBezTo>
                <a:cubicBezTo>
                  <a:pt x="1603" y="590"/>
                  <a:pt x="1607" y="593"/>
                  <a:pt x="1611" y="593"/>
                </a:cubicBezTo>
                <a:cubicBezTo>
                  <a:pt x="1615" y="593"/>
                  <a:pt x="1619" y="590"/>
                  <a:pt x="1619" y="587"/>
                </a:cubicBezTo>
                <a:cubicBezTo>
                  <a:pt x="1619" y="583"/>
                  <a:pt x="1615" y="580"/>
                  <a:pt x="1611" y="580"/>
                </a:cubicBezTo>
                <a:close/>
                <a:moveTo>
                  <a:pt x="1633" y="446"/>
                </a:moveTo>
                <a:cubicBezTo>
                  <a:pt x="1629" y="446"/>
                  <a:pt x="1625" y="448"/>
                  <a:pt x="1625" y="452"/>
                </a:cubicBezTo>
                <a:cubicBezTo>
                  <a:pt x="1625" y="455"/>
                  <a:pt x="1629" y="458"/>
                  <a:pt x="1633" y="458"/>
                </a:cubicBezTo>
                <a:cubicBezTo>
                  <a:pt x="1637" y="458"/>
                  <a:pt x="1641" y="455"/>
                  <a:pt x="1641" y="452"/>
                </a:cubicBezTo>
                <a:cubicBezTo>
                  <a:pt x="1641" y="448"/>
                  <a:pt x="1637" y="446"/>
                  <a:pt x="1633" y="446"/>
                </a:cubicBezTo>
                <a:close/>
                <a:moveTo>
                  <a:pt x="1655" y="446"/>
                </a:moveTo>
                <a:cubicBezTo>
                  <a:pt x="1651" y="446"/>
                  <a:pt x="1648" y="448"/>
                  <a:pt x="1648" y="452"/>
                </a:cubicBezTo>
                <a:cubicBezTo>
                  <a:pt x="1648" y="455"/>
                  <a:pt x="1651" y="458"/>
                  <a:pt x="1655" y="458"/>
                </a:cubicBezTo>
                <a:cubicBezTo>
                  <a:pt x="1659" y="458"/>
                  <a:pt x="1662" y="455"/>
                  <a:pt x="1662" y="452"/>
                </a:cubicBezTo>
                <a:cubicBezTo>
                  <a:pt x="1662" y="448"/>
                  <a:pt x="1659" y="446"/>
                  <a:pt x="1655" y="446"/>
                </a:cubicBezTo>
                <a:close/>
                <a:moveTo>
                  <a:pt x="1633" y="464"/>
                </a:moveTo>
                <a:cubicBezTo>
                  <a:pt x="1629" y="464"/>
                  <a:pt x="1625" y="467"/>
                  <a:pt x="1625" y="471"/>
                </a:cubicBezTo>
                <a:cubicBezTo>
                  <a:pt x="1625" y="475"/>
                  <a:pt x="1629" y="478"/>
                  <a:pt x="1633" y="478"/>
                </a:cubicBezTo>
                <a:cubicBezTo>
                  <a:pt x="1637" y="478"/>
                  <a:pt x="1641" y="475"/>
                  <a:pt x="1641" y="471"/>
                </a:cubicBezTo>
                <a:cubicBezTo>
                  <a:pt x="1641" y="467"/>
                  <a:pt x="1637" y="464"/>
                  <a:pt x="1633" y="464"/>
                </a:cubicBezTo>
                <a:close/>
                <a:moveTo>
                  <a:pt x="1655" y="464"/>
                </a:moveTo>
                <a:cubicBezTo>
                  <a:pt x="1651" y="464"/>
                  <a:pt x="1648" y="467"/>
                  <a:pt x="1648" y="471"/>
                </a:cubicBezTo>
                <a:cubicBezTo>
                  <a:pt x="1648" y="475"/>
                  <a:pt x="1651" y="478"/>
                  <a:pt x="1655" y="478"/>
                </a:cubicBezTo>
                <a:cubicBezTo>
                  <a:pt x="1659" y="478"/>
                  <a:pt x="1662" y="475"/>
                  <a:pt x="1662" y="471"/>
                </a:cubicBezTo>
                <a:cubicBezTo>
                  <a:pt x="1662" y="467"/>
                  <a:pt x="1659" y="464"/>
                  <a:pt x="1655" y="464"/>
                </a:cubicBezTo>
                <a:close/>
                <a:moveTo>
                  <a:pt x="1633" y="484"/>
                </a:moveTo>
                <a:cubicBezTo>
                  <a:pt x="1629" y="484"/>
                  <a:pt x="1625" y="487"/>
                  <a:pt x="1625" y="490"/>
                </a:cubicBezTo>
                <a:cubicBezTo>
                  <a:pt x="1625" y="494"/>
                  <a:pt x="1629" y="497"/>
                  <a:pt x="1633" y="497"/>
                </a:cubicBezTo>
                <a:cubicBezTo>
                  <a:pt x="1637" y="497"/>
                  <a:pt x="1641" y="494"/>
                  <a:pt x="1641" y="490"/>
                </a:cubicBezTo>
                <a:cubicBezTo>
                  <a:pt x="1641" y="487"/>
                  <a:pt x="1637" y="484"/>
                  <a:pt x="1633" y="484"/>
                </a:cubicBezTo>
                <a:close/>
                <a:moveTo>
                  <a:pt x="1655" y="484"/>
                </a:moveTo>
                <a:cubicBezTo>
                  <a:pt x="1651" y="484"/>
                  <a:pt x="1648" y="487"/>
                  <a:pt x="1648" y="490"/>
                </a:cubicBezTo>
                <a:cubicBezTo>
                  <a:pt x="1648" y="494"/>
                  <a:pt x="1651" y="497"/>
                  <a:pt x="1655" y="497"/>
                </a:cubicBezTo>
                <a:cubicBezTo>
                  <a:pt x="1659" y="497"/>
                  <a:pt x="1662" y="494"/>
                  <a:pt x="1662" y="490"/>
                </a:cubicBezTo>
                <a:cubicBezTo>
                  <a:pt x="1662" y="487"/>
                  <a:pt x="1659" y="484"/>
                  <a:pt x="1655" y="484"/>
                </a:cubicBezTo>
                <a:close/>
                <a:moveTo>
                  <a:pt x="1633" y="503"/>
                </a:moveTo>
                <a:cubicBezTo>
                  <a:pt x="1629" y="503"/>
                  <a:pt x="1625" y="506"/>
                  <a:pt x="1625" y="509"/>
                </a:cubicBezTo>
                <a:cubicBezTo>
                  <a:pt x="1625" y="513"/>
                  <a:pt x="1629" y="516"/>
                  <a:pt x="1633" y="516"/>
                </a:cubicBezTo>
                <a:cubicBezTo>
                  <a:pt x="1637" y="516"/>
                  <a:pt x="1641" y="513"/>
                  <a:pt x="1641" y="509"/>
                </a:cubicBezTo>
                <a:cubicBezTo>
                  <a:pt x="1641" y="506"/>
                  <a:pt x="1637" y="503"/>
                  <a:pt x="1633" y="503"/>
                </a:cubicBezTo>
                <a:close/>
                <a:moveTo>
                  <a:pt x="1655" y="503"/>
                </a:moveTo>
                <a:cubicBezTo>
                  <a:pt x="1651" y="503"/>
                  <a:pt x="1648" y="506"/>
                  <a:pt x="1648" y="509"/>
                </a:cubicBezTo>
                <a:cubicBezTo>
                  <a:pt x="1648" y="513"/>
                  <a:pt x="1651" y="516"/>
                  <a:pt x="1655" y="516"/>
                </a:cubicBezTo>
                <a:cubicBezTo>
                  <a:pt x="1659" y="516"/>
                  <a:pt x="1662" y="513"/>
                  <a:pt x="1662" y="509"/>
                </a:cubicBezTo>
                <a:cubicBezTo>
                  <a:pt x="1662" y="506"/>
                  <a:pt x="1659" y="503"/>
                  <a:pt x="1655" y="503"/>
                </a:cubicBezTo>
                <a:close/>
                <a:moveTo>
                  <a:pt x="1633" y="522"/>
                </a:moveTo>
                <a:cubicBezTo>
                  <a:pt x="1629" y="522"/>
                  <a:pt x="1625" y="525"/>
                  <a:pt x="1625" y="529"/>
                </a:cubicBezTo>
                <a:cubicBezTo>
                  <a:pt x="1625" y="533"/>
                  <a:pt x="1629" y="536"/>
                  <a:pt x="1633" y="536"/>
                </a:cubicBezTo>
                <a:cubicBezTo>
                  <a:pt x="1637" y="536"/>
                  <a:pt x="1641" y="533"/>
                  <a:pt x="1641" y="529"/>
                </a:cubicBezTo>
                <a:cubicBezTo>
                  <a:pt x="1641" y="525"/>
                  <a:pt x="1637" y="522"/>
                  <a:pt x="1633" y="522"/>
                </a:cubicBezTo>
                <a:close/>
                <a:moveTo>
                  <a:pt x="1655" y="522"/>
                </a:moveTo>
                <a:cubicBezTo>
                  <a:pt x="1651" y="522"/>
                  <a:pt x="1648" y="525"/>
                  <a:pt x="1648" y="529"/>
                </a:cubicBezTo>
                <a:cubicBezTo>
                  <a:pt x="1648" y="533"/>
                  <a:pt x="1651" y="536"/>
                  <a:pt x="1655" y="536"/>
                </a:cubicBezTo>
                <a:cubicBezTo>
                  <a:pt x="1659" y="536"/>
                  <a:pt x="1662" y="533"/>
                  <a:pt x="1662" y="529"/>
                </a:cubicBezTo>
                <a:cubicBezTo>
                  <a:pt x="1662" y="525"/>
                  <a:pt x="1659" y="522"/>
                  <a:pt x="1655" y="522"/>
                </a:cubicBezTo>
                <a:close/>
                <a:moveTo>
                  <a:pt x="1633" y="542"/>
                </a:moveTo>
                <a:cubicBezTo>
                  <a:pt x="1629" y="542"/>
                  <a:pt x="1625" y="545"/>
                  <a:pt x="1625" y="549"/>
                </a:cubicBezTo>
                <a:cubicBezTo>
                  <a:pt x="1625" y="552"/>
                  <a:pt x="1629" y="556"/>
                  <a:pt x="1633" y="556"/>
                </a:cubicBezTo>
                <a:cubicBezTo>
                  <a:pt x="1637" y="556"/>
                  <a:pt x="1641" y="552"/>
                  <a:pt x="1641" y="549"/>
                </a:cubicBezTo>
                <a:cubicBezTo>
                  <a:pt x="1641" y="545"/>
                  <a:pt x="1637" y="542"/>
                  <a:pt x="1633" y="542"/>
                </a:cubicBezTo>
                <a:close/>
                <a:moveTo>
                  <a:pt x="1655" y="542"/>
                </a:moveTo>
                <a:cubicBezTo>
                  <a:pt x="1651" y="542"/>
                  <a:pt x="1648" y="545"/>
                  <a:pt x="1648" y="549"/>
                </a:cubicBezTo>
                <a:cubicBezTo>
                  <a:pt x="1648" y="552"/>
                  <a:pt x="1651" y="556"/>
                  <a:pt x="1655" y="556"/>
                </a:cubicBezTo>
                <a:cubicBezTo>
                  <a:pt x="1659" y="556"/>
                  <a:pt x="1662" y="552"/>
                  <a:pt x="1662" y="549"/>
                </a:cubicBezTo>
                <a:cubicBezTo>
                  <a:pt x="1662" y="545"/>
                  <a:pt x="1659" y="542"/>
                  <a:pt x="1655" y="542"/>
                </a:cubicBezTo>
                <a:close/>
                <a:moveTo>
                  <a:pt x="1633" y="561"/>
                </a:moveTo>
                <a:cubicBezTo>
                  <a:pt x="1629" y="561"/>
                  <a:pt x="1625" y="564"/>
                  <a:pt x="1625" y="567"/>
                </a:cubicBezTo>
                <a:cubicBezTo>
                  <a:pt x="1625" y="571"/>
                  <a:pt x="1629" y="574"/>
                  <a:pt x="1633" y="574"/>
                </a:cubicBezTo>
                <a:cubicBezTo>
                  <a:pt x="1637" y="574"/>
                  <a:pt x="1641" y="571"/>
                  <a:pt x="1641" y="567"/>
                </a:cubicBezTo>
                <a:cubicBezTo>
                  <a:pt x="1641" y="564"/>
                  <a:pt x="1637" y="561"/>
                  <a:pt x="1633" y="561"/>
                </a:cubicBezTo>
                <a:close/>
                <a:moveTo>
                  <a:pt x="1655" y="561"/>
                </a:moveTo>
                <a:cubicBezTo>
                  <a:pt x="1651" y="561"/>
                  <a:pt x="1648" y="564"/>
                  <a:pt x="1648" y="567"/>
                </a:cubicBezTo>
                <a:cubicBezTo>
                  <a:pt x="1648" y="571"/>
                  <a:pt x="1651" y="574"/>
                  <a:pt x="1655" y="574"/>
                </a:cubicBezTo>
                <a:cubicBezTo>
                  <a:pt x="1659" y="574"/>
                  <a:pt x="1662" y="571"/>
                  <a:pt x="1662" y="567"/>
                </a:cubicBezTo>
                <a:cubicBezTo>
                  <a:pt x="1662" y="564"/>
                  <a:pt x="1659" y="561"/>
                  <a:pt x="1655" y="561"/>
                </a:cubicBezTo>
                <a:close/>
                <a:moveTo>
                  <a:pt x="1633" y="580"/>
                </a:moveTo>
                <a:cubicBezTo>
                  <a:pt x="1629" y="580"/>
                  <a:pt x="1625" y="583"/>
                  <a:pt x="1625" y="587"/>
                </a:cubicBezTo>
                <a:cubicBezTo>
                  <a:pt x="1625" y="590"/>
                  <a:pt x="1629" y="593"/>
                  <a:pt x="1633" y="593"/>
                </a:cubicBezTo>
                <a:cubicBezTo>
                  <a:pt x="1637" y="593"/>
                  <a:pt x="1641" y="590"/>
                  <a:pt x="1641" y="587"/>
                </a:cubicBezTo>
                <a:cubicBezTo>
                  <a:pt x="1641" y="583"/>
                  <a:pt x="1637" y="580"/>
                  <a:pt x="1633" y="580"/>
                </a:cubicBezTo>
                <a:close/>
                <a:moveTo>
                  <a:pt x="1655" y="580"/>
                </a:moveTo>
                <a:cubicBezTo>
                  <a:pt x="1651" y="580"/>
                  <a:pt x="1648" y="583"/>
                  <a:pt x="1648" y="587"/>
                </a:cubicBezTo>
                <a:cubicBezTo>
                  <a:pt x="1648" y="590"/>
                  <a:pt x="1651" y="593"/>
                  <a:pt x="1655" y="593"/>
                </a:cubicBezTo>
                <a:cubicBezTo>
                  <a:pt x="1659" y="593"/>
                  <a:pt x="1662" y="590"/>
                  <a:pt x="1662" y="587"/>
                </a:cubicBezTo>
                <a:cubicBezTo>
                  <a:pt x="1662" y="583"/>
                  <a:pt x="1659" y="580"/>
                  <a:pt x="1655" y="580"/>
                </a:cubicBezTo>
                <a:close/>
                <a:moveTo>
                  <a:pt x="1677" y="446"/>
                </a:moveTo>
                <a:cubicBezTo>
                  <a:pt x="1673" y="446"/>
                  <a:pt x="1670" y="448"/>
                  <a:pt x="1670" y="452"/>
                </a:cubicBezTo>
                <a:cubicBezTo>
                  <a:pt x="1670" y="455"/>
                  <a:pt x="1673" y="458"/>
                  <a:pt x="1677" y="458"/>
                </a:cubicBezTo>
                <a:cubicBezTo>
                  <a:pt x="1682" y="458"/>
                  <a:pt x="1685" y="455"/>
                  <a:pt x="1685" y="452"/>
                </a:cubicBezTo>
                <a:cubicBezTo>
                  <a:pt x="1685" y="448"/>
                  <a:pt x="1682" y="446"/>
                  <a:pt x="1677" y="446"/>
                </a:cubicBezTo>
                <a:close/>
                <a:moveTo>
                  <a:pt x="1700" y="446"/>
                </a:moveTo>
                <a:cubicBezTo>
                  <a:pt x="1696" y="446"/>
                  <a:pt x="1692" y="448"/>
                  <a:pt x="1692" y="452"/>
                </a:cubicBezTo>
                <a:cubicBezTo>
                  <a:pt x="1692" y="455"/>
                  <a:pt x="1696" y="458"/>
                  <a:pt x="1700" y="458"/>
                </a:cubicBezTo>
                <a:cubicBezTo>
                  <a:pt x="1704" y="458"/>
                  <a:pt x="1708" y="455"/>
                  <a:pt x="1708" y="452"/>
                </a:cubicBezTo>
                <a:cubicBezTo>
                  <a:pt x="1708" y="448"/>
                  <a:pt x="1704" y="446"/>
                  <a:pt x="1700" y="446"/>
                </a:cubicBezTo>
                <a:close/>
                <a:moveTo>
                  <a:pt x="1677" y="464"/>
                </a:moveTo>
                <a:cubicBezTo>
                  <a:pt x="1673" y="464"/>
                  <a:pt x="1670" y="467"/>
                  <a:pt x="1670" y="471"/>
                </a:cubicBezTo>
                <a:cubicBezTo>
                  <a:pt x="1670" y="475"/>
                  <a:pt x="1673" y="478"/>
                  <a:pt x="1677" y="478"/>
                </a:cubicBezTo>
                <a:cubicBezTo>
                  <a:pt x="1682" y="478"/>
                  <a:pt x="1685" y="475"/>
                  <a:pt x="1685" y="471"/>
                </a:cubicBezTo>
                <a:cubicBezTo>
                  <a:pt x="1685" y="467"/>
                  <a:pt x="1682" y="464"/>
                  <a:pt x="1677" y="464"/>
                </a:cubicBezTo>
                <a:close/>
                <a:moveTo>
                  <a:pt x="1700" y="464"/>
                </a:moveTo>
                <a:cubicBezTo>
                  <a:pt x="1696" y="464"/>
                  <a:pt x="1692" y="467"/>
                  <a:pt x="1692" y="471"/>
                </a:cubicBezTo>
                <a:cubicBezTo>
                  <a:pt x="1692" y="475"/>
                  <a:pt x="1696" y="478"/>
                  <a:pt x="1700" y="478"/>
                </a:cubicBezTo>
                <a:cubicBezTo>
                  <a:pt x="1704" y="478"/>
                  <a:pt x="1708" y="475"/>
                  <a:pt x="1708" y="471"/>
                </a:cubicBezTo>
                <a:cubicBezTo>
                  <a:pt x="1708" y="467"/>
                  <a:pt x="1704" y="464"/>
                  <a:pt x="1700" y="464"/>
                </a:cubicBezTo>
                <a:close/>
                <a:moveTo>
                  <a:pt x="1677" y="484"/>
                </a:moveTo>
                <a:cubicBezTo>
                  <a:pt x="1673" y="484"/>
                  <a:pt x="1670" y="487"/>
                  <a:pt x="1670" y="490"/>
                </a:cubicBezTo>
                <a:cubicBezTo>
                  <a:pt x="1670" y="494"/>
                  <a:pt x="1673" y="497"/>
                  <a:pt x="1677" y="497"/>
                </a:cubicBezTo>
                <a:cubicBezTo>
                  <a:pt x="1682" y="497"/>
                  <a:pt x="1685" y="494"/>
                  <a:pt x="1685" y="490"/>
                </a:cubicBezTo>
                <a:cubicBezTo>
                  <a:pt x="1685" y="487"/>
                  <a:pt x="1682" y="484"/>
                  <a:pt x="1677" y="484"/>
                </a:cubicBezTo>
                <a:close/>
                <a:moveTo>
                  <a:pt x="1700" y="484"/>
                </a:moveTo>
                <a:cubicBezTo>
                  <a:pt x="1696" y="484"/>
                  <a:pt x="1692" y="487"/>
                  <a:pt x="1692" y="490"/>
                </a:cubicBezTo>
                <a:cubicBezTo>
                  <a:pt x="1692" y="494"/>
                  <a:pt x="1696" y="497"/>
                  <a:pt x="1700" y="497"/>
                </a:cubicBezTo>
                <a:cubicBezTo>
                  <a:pt x="1704" y="497"/>
                  <a:pt x="1708" y="494"/>
                  <a:pt x="1708" y="490"/>
                </a:cubicBezTo>
                <a:cubicBezTo>
                  <a:pt x="1708" y="487"/>
                  <a:pt x="1704" y="484"/>
                  <a:pt x="1700" y="484"/>
                </a:cubicBezTo>
                <a:close/>
                <a:moveTo>
                  <a:pt x="1677" y="503"/>
                </a:moveTo>
                <a:cubicBezTo>
                  <a:pt x="1673" y="503"/>
                  <a:pt x="1670" y="506"/>
                  <a:pt x="1670" y="509"/>
                </a:cubicBezTo>
                <a:cubicBezTo>
                  <a:pt x="1670" y="513"/>
                  <a:pt x="1673" y="516"/>
                  <a:pt x="1677" y="516"/>
                </a:cubicBezTo>
                <a:cubicBezTo>
                  <a:pt x="1682" y="516"/>
                  <a:pt x="1685" y="513"/>
                  <a:pt x="1685" y="509"/>
                </a:cubicBezTo>
                <a:cubicBezTo>
                  <a:pt x="1685" y="506"/>
                  <a:pt x="1682" y="503"/>
                  <a:pt x="1677" y="503"/>
                </a:cubicBezTo>
                <a:close/>
                <a:moveTo>
                  <a:pt x="1700" y="503"/>
                </a:moveTo>
                <a:cubicBezTo>
                  <a:pt x="1696" y="503"/>
                  <a:pt x="1692" y="506"/>
                  <a:pt x="1692" y="509"/>
                </a:cubicBezTo>
                <a:cubicBezTo>
                  <a:pt x="1692" y="513"/>
                  <a:pt x="1696" y="516"/>
                  <a:pt x="1700" y="516"/>
                </a:cubicBezTo>
                <a:cubicBezTo>
                  <a:pt x="1704" y="516"/>
                  <a:pt x="1708" y="513"/>
                  <a:pt x="1708" y="509"/>
                </a:cubicBezTo>
                <a:cubicBezTo>
                  <a:pt x="1708" y="506"/>
                  <a:pt x="1704" y="503"/>
                  <a:pt x="1700" y="503"/>
                </a:cubicBezTo>
                <a:close/>
                <a:moveTo>
                  <a:pt x="1677" y="522"/>
                </a:moveTo>
                <a:cubicBezTo>
                  <a:pt x="1673" y="522"/>
                  <a:pt x="1670" y="525"/>
                  <a:pt x="1670" y="529"/>
                </a:cubicBezTo>
                <a:cubicBezTo>
                  <a:pt x="1670" y="533"/>
                  <a:pt x="1673" y="536"/>
                  <a:pt x="1677" y="536"/>
                </a:cubicBezTo>
                <a:cubicBezTo>
                  <a:pt x="1682" y="536"/>
                  <a:pt x="1685" y="533"/>
                  <a:pt x="1685" y="529"/>
                </a:cubicBezTo>
                <a:cubicBezTo>
                  <a:pt x="1685" y="525"/>
                  <a:pt x="1682" y="522"/>
                  <a:pt x="1677" y="522"/>
                </a:cubicBezTo>
                <a:close/>
                <a:moveTo>
                  <a:pt x="1700" y="522"/>
                </a:moveTo>
                <a:cubicBezTo>
                  <a:pt x="1696" y="522"/>
                  <a:pt x="1692" y="525"/>
                  <a:pt x="1692" y="529"/>
                </a:cubicBezTo>
                <a:cubicBezTo>
                  <a:pt x="1692" y="533"/>
                  <a:pt x="1696" y="536"/>
                  <a:pt x="1700" y="536"/>
                </a:cubicBezTo>
                <a:cubicBezTo>
                  <a:pt x="1704" y="536"/>
                  <a:pt x="1708" y="533"/>
                  <a:pt x="1708" y="529"/>
                </a:cubicBezTo>
                <a:cubicBezTo>
                  <a:pt x="1708" y="525"/>
                  <a:pt x="1704" y="522"/>
                  <a:pt x="1700" y="522"/>
                </a:cubicBezTo>
                <a:close/>
                <a:moveTo>
                  <a:pt x="1677" y="542"/>
                </a:moveTo>
                <a:cubicBezTo>
                  <a:pt x="1673" y="542"/>
                  <a:pt x="1670" y="545"/>
                  <a:pt x="1670" y="549"/>
                </a:cubicBezTo>
                <a:cubicBezTo>
                  <a:pt x="1670" y="552"/>
                  <a:pt x="1673" y="556"/>
                  <a:pt x="1677" y="556"/>
                </a:cubicBezTo>
                <a:cubicBezTo>
                  <a:pt x="1682" y="556"/>
                  <a:pt x="1685" y="552"/>
                  <a:pt x="1685" y="549"/>
                </a:cubicBezTo>
                <a:cubicBezTo>
                  <a:pt x="1685" y="545"/>
                  <a:pt x="1682" y="542"/>
                  <a:pt x="1677" y="542"/>
                </a:cubicBezTo>
                <a:close/>
                <a:moveTo>
                  <a:pt x="1700" y="542"/>
                </a:moveTo>
                <a:cubicBezTo>
                  <a:pt x="1696" y="542"/>
                  <a:pt x="1692" y="545"/>
                  <a:pt x="1692" y="549"/>
                </a:cubicBezTo>
                <a:cubicBezTo>
                  <a:pt x="1692" y="552"/>
                  <a:pt x="1696" y="556"/>
                  <a:pt x="1700" y="556"/>
                </a:cubicBezTo>
                <a:cubicBezTo>
                  <a:pt x="1704" y="556"/>
                  <a:pt x="1708" y="552"/>
                  <a:pt x="1708" y="549"/>
                </a:cubicBezTo>
                <a:cubicBezTo>
                  <a:pt x="1708" y="545"/>
                  <a:pt x="1704" y="542"/>
                  <a:pt x="1700" y="542"/>
                </a:cubicBezTo>
                <a:close/>
                <a:moveTo>
                  <a:pt x="1677" y="561"/>
                </a:moveTo>
                <a:cubicBezTo>
                  <a:pt x="1673" y="561"/>
                  <a:pt x="1670" y="564"/>
                  <a:pt x="1670" y="567"/>
                </a:cubicBezTo>
                <a:cubicBezTo>
                  <a:pt x="1670" y="571"/>
                  <a:pt x="1673" y="574"/>
                  <a:pt x="1677" y="574"/>
                </a:cubicBezTo>
                <a:cubicBezTo>
                  <a:pt x="1682" y="574"/>
                  <a:pt x="1685" y="571"/>
                  <a:pt x="1685" y="567"/>
                </a:cubicBezTo>
                <a:cubicBezTo>
                  <a:pt x="1685" y="564"/>
                  <a:pt x="1682" y="561"/>
                  <a:pt x="1677" y="561"/>
                </a:cubicBezTo>
                <a:close/>
                <a:moveTo>
                  <a:pt x="1700" y="561"/>
                </a:moveTo>
                <a:cubicBezTo>
                  <a:pt x="1696" y="561"/>
                  <a:pt x="1692" y="564"/>
                  <a:pt x="1692" y="567"/>
                </a:cubicBezTo>
                <a:cubicBezTo>
                  <a:pt x="1692" y="571"/>
                  <a:pt x="1696" y="574"/>
                  <a:pt x="1700" y="574"/>
                </a:cubicBezTo>
                <a:cubicBezTo>
                  <a:pt x="1704" y="574"/>
                  <a:pt x="1708" y="571"/>
                  <a:pt x="1708" y="567"/>
                </a:cubicBezTo>
                <a:cubicBezTo>
                  <a:pt x="1708" y="564"/>
                  <a:pt x="1704" y="561"/>
                  <a:pt x="1700" y="561"/>
                </a:cubicBezTo>
                <a:close/>
                <a:moveTo>
                  <a:pt x="1677" y="580"/>
                </a:moveTo>
                <a:cubicBezTo>
                  <a:pt x="1673" y="580"/>
                  <a:pt x="1670" y="583"/>
                  <a:pt x="1670" y="587"/>
                </a:cubicBezTo>
                <a:cubicBezTo>
                  <a:pt x="1670" y="590"/>
                  <a:pt x="1673" y="593"/>
                  <a:pt x="1677" y="593"/>
                </a:cubicBezTo>
                <a:cubicBezTo>
                  <a:pt x="1682" y="593"/>
                  <a:pt x="1685" y="590"/>
                  <a:pt x="1685" y="587"/>
                </a:cubicBezTo>
                <a:cubicBezTo>
                  <a:pt x="1685" y="583"/>
                  <a:pt x="1682" y="580"/>
                  <a:pt x="1677" y="580"/>
                </a:cubicBezTo>
                <a:close/>
                <a:moveTo>
                  <a:pt x="1700" y="580"/>
                </a:moveTo>
                <a:cubicBezTo>
                  <a:pt x="1696" y="580"/>
                  <a:pt x="1692" y="583"/>
                  <a:pt x="1692" y="587"/>
                </a:cubicBezTo>
                <a:cubicBezTo>
                  <a:pt x="1692" y="590"/>
                  <a:pt x="1696" y="593"/>
                  <a:pt x="1700" y="593"/>
                </a:cubicBezTo>
                <a:cubicBezTo>
                  <a:pt x="1704" y="593"/>
                  <a:pt x="1708" y="590"/>
                  <a:pt x="1708" y="587"/>
                </a:cubicBezTo>
                <a:cubicBezTo>
                  <a:pt x="1708" y="583"/>
                  <a:pt x="1704" y="580"/>
                  <a:pt x="1700" y="580"/>
                </a:cubicBezTo>
                <a:close/>
                <a:moveTo>
                  <a:pt x="1722" y="446"/>
                </a:moveTo>
                <a:cubicBezTo>
                  <a:pt x="1718" y="446"/>
                  <a:pt x="1714" y="448"/>
                  <a:pt x="1714" y="452"/>
                </a:cubicBezTo>
                <a:cubicBezTo>
                  <a:pt x="1714" y="455"/>
                  <a:pt x="1718" y="458"/>
                  <a:pt x="1722" y="458"/>
                </a:cubicBezTo>
                <a:cubicBezTo>
                  <a:pt x="1726" y="458"/>
                  <a:pt x="1730" y="455"/>
                  <a:pt x="1730" y="452"/>
                </a:cubicBezTo>
                <a:cubicBezTo>
                  <a:pt x="1730" y="448"/>
                  <a:pt x="1726" y="446"/>
                  <a:pt x="1722" y="446"/>
                </a:cubicBezTo>
                <a:close/>
                <a:moveTo>
                  <a:pt x="1744" y="446"/>
                </a:moveTo>
                <a:cubicBezTo>
                  <a:pt x="1740" y="446"/>
                  <a:pt x="1736" y="448"/>
                  <a:pt x="1736" y="452"/>
                </a:cubicBezTo>
                <a:cubicBezTo>
                  <a:pt x="1736" y="455"/>
                  <a:pt x="1740" y="458"/>
                  <a:pt x="1744" y="458"/>
                </a:cubicBezTo>
                <a:cubicBezTo>
                  <a:pt x="1748" y="458"/>
                  <a:pt x="1751" y="455"/>
                  <a:pt x="1751" y="452"/>
                </a:cubicBezTo>
                <a:cubicBezTo>
                  <a:pt x="1751" y="448"/>
                  <a:pt x="1748" y="446"/>
                  <a:pt x="1744" y="446"/>
                </a:cubicBezTo>
                <a:close/>
                <a:moveTo>
                  <a:pt x="1722" y="464"/>
                </a:moveTo>
                <a:cubicBezTo>
                  <a:pt x="1718" y="464"/>
                  <a:pt x="1714" y="467"/>
                  <a:pt x="1714" y="471"/>
                </a:cubicBezTo>
                <a:cubicBezTo>
                  <a:pt x="1714" y="475"/>
                  <a:pt x="1718" y="478"/>
                  <a:pt x="1722" y="478"/>
                </a:cubicBezTo>
                <a:cubicBezTo>
                  <a:pt x="1726" y="478"/>
                  <a:pt x="1730" y="475"/>
                  <a:pt x="1730" y="471"/>
                </a:cubicBezTo>
                <a:cubicBezTo>
                  <a:pt x="1730" y="467"/>
                  <a:pt x="1726" y="464"/>
                  <a:pt x="1722" y="464"/>
                </a:cubicBezTo>
                <a:close/>
                <a:moveTo>
                  <a:pt x="1744" y="464"/>
                </a:moveTo>
                <a:cubicBezTo>
                  <a:pt x="1740" y="464"/>
                  <a:pt x="1736" y="467"/>
                  <a:pt x="1736" y="471"/>
                </a:cubicBezTo>
                <a:cubicBezTo>
                  <a:pt x="1736" y="475"/>
                  <a:pt x="1740" y="478"/>
                  <a:pt x="1744" y="478"/>
                </a:cubicBezTo>
                <a:cubicBezTo>
                  <a:pt x="1748" y="478"/>
                  <a:pt x="1751" y="475"/>
                  <a:pt x="1751" y="471"/>
                </a:cubicBezTo>
                <a:cubicBezTo>
                  <a:pt x="1751" y="467"/>
                  <a:pt x="1748" y="464"/>
                  <a:pt x="1744" y="464"/>
                </a:cubicBezTo>
                <a:close/>
                <a:moveTo>
                  <a:pt x="1722" y="484"/>
                </a:moveTo>
                <a:cubicBezTo>
                  <a:pt x="1718" y="484"/>
                  <a:pt x="1714" y="487"/>
                  <a:pt x="1714" y="490"/>
                </a:cubicBezTo>
                <a:cubicBezTo>
                  <a:pt x="1714" y="494"/>
                  <a:pt x="1718" y="497"/>
                  <a:pt x="1722" y="497"/>
                </a:cubicBezTo>
                <a:cubicBezTo>
                  <a:pt x="1726" y="497"/>
                  <a:pt x="1730" y="494"/>
                  <a:pt x="1730" y="490"/>
                </a:cubicBezTo>
                <a:cubicBezTo>
                  <a:pt x="1730" y="487"/>
                  <a:pt x="1726" y="484"/>
                  <a:pt x="1722" y="484"/>
                </a:cubicBezTo>
                <a:close/>
                <a:moveTo>
                  <a:pt x="1744" y="484"/>
                </a:moveTo>
                <a:cubicBezTo>
                  <a:pt x="1740" y="484"/>
                  <a:pt x="1736" y="487"/>
                  <a:pt x="1736" y="490"/>
                </a:cubicBezTo>
                <a:cubicBezTo>
                  <a:pt x="1736" y="494"/>
                  <a:pt x="1740" y="497"/>
                  <a:pt x="1744" y="497"/>
                </a:cubicBezTo>
                <a:cubicBezTo>
                  <a:pt x="1748" y="497"/>
                  <a:pt x="1751" y="494"/>
                  <a:pt x="1751" y="490"/>
                </a:cubicBezTo>
                <a:cubicBezTo>
                  <a:pt x="1751" y="487"/>
                  <a:pt x="1748" y="484"/>
                  <a:pt x="1744" y="484"/>
                </a:cubicBezTo>
                <a:close/>
                <a:moveTo>
                  <a:pt x="1722" y="503"/>
                </a:moveTo>
                <a:cubicBezTo>
                  <a:pt x="1718" y="503"/>
                  <a:pt x="1714" y="506"/>
                  <a:pt x="1714" y="509"/>
                </a:cubicBezTo>
                <a:cubicBezTo>
                  <a:pt x="1714" y="513"/>
                  <a:pt x="1718" y="516"/>
                  <a:pt x="1722" y="516"/>
                </a:cubicBezTo>
                <a:cubicBezTo>
                  <a:pt x="1726" y="516"/>
                  <a:pt x="1730" y="513"/>
                  <a:pt x="1730" y="509"/>
                </a:cubicBezTo>
                <a:cubicBezTo>
                  <a:pt x="1730" y="506"/>
                  <a:pt x="1726" y="503"/>
                  <a:pt x="1722" y="503"/>
                </a:cubicBezTo>
                <a:close/>
                <a:moveTo>
                  <a:pt x="1744" y="503"/>
                </a:moveTo>
                <a:cubicBezTo>
                  <a:pt x="1740" y="503"/>
                  <a:pt x="1736" y="506"/>
                  <a:pt x="1736" y="509"/>
                </a:cubicBezTo>
                <a:cubicBezTo>
                  <a:pt x="1736" y="513"/>
                  <a:pt x="1740" y="516"/>
                  <a:pt x="1744" y="516"/>
                </a:cubicBezTo>
                <a:cubicBezTo>
                  <a:pt x="1748" y="516"/>
                  <a:pt x="1751" y="513"/>
                  <a:pt x="1751" y="509"/>
                </a:cubicBezTo>
                <a:cubicBezTo>
                  <a:pt x="1751" y="506"/>
                  <a:pt x="1748" y="503"/>
                  <a:pt x="1744" y="503"/>
                </a:cubicBezTo>
                <a:close/>
                <a:moveTo>
                  <a:pt x="1722" y="522"/>
                </a:moveTo>
                <a:cubicBezTo>
                  <a:pt x="1718" y="522"/>
                  <a:pt x="1714" y="525"/>
                  <a:pt x="1714" y="529"/>
                </a:cubicBezTo>
                <a:cubicBezTo>
                  <a:pt x="1714" y="533"/>
                  <a:pt x="1718" y="536"/>
                  <a:pt x="1722" y="536"/>
                </a:cubicBezTo>
                <a:cubicBezTo>
                  <a:pt x="1726" y="536"/>
                  <a:pt x="1730" y="533"/>
                  <a:pt x="1730" y="529"/>
                </a:cubicBezTo>
                <a:cubicBezTo>
                  <a:pt x="1730" y="525"/>
                  <a:pt x="1726" y="522"/>
                  <a:pt x="1722" y="522"/>
                </a:cubicBezTo>
                <a:close/>
                <a:moveTo>
                  <a:pt x="1744" y="522"/>
                </a:moveTo>
                <a:cubicBezTo>
                  <a:pt x="1740" y="522"/>
                  <a:pt x="1736" y="525"/>
                  <a:pt x="1736" y="529"/>
                </a:cubicBezTo>
                <a:cubicBezTo>
                  <a:pt x="1736" y="533"/>
                  <a:pt x="1740" y="536"/>
                  <a:pt x="1744" y="536"/>
                </a:cubicBezTo>
                <a:cubicBezTo>
                  <a:pt x="1748" y="536"/>
                  <a:pt x="1751" y="533"/>
                  <a:pt x="1751" y="529"/>
                </a:cubicBezTo>
                <a:cubicBezTo>
                  <a:pt x="1751" y="525"/>
                  <a:pt x="1748" y="522"/>
                  <a:pt x="1744" y="522"/>
                </a:cubicBezTo>
                <a:close/>
                <a:moveTo>
                  <a:pt x="1722" y="542"/>
                </a:moveTo>
                <a:cubicBezTo>
                  <a:pt x="1718" y="542"/>
                  <a:pt x="1714" y="545"/>
                  <a:pt x="1714" y="549"/>
                </a:cubicBezTo>
                <a:cubicBezTo>
                  <a:pt x="1714" y="552"/>
                  <a:pt x="1718" y="556"/>
                  <a:pt x="1722" y="556"/>
                </a:cubicBezTo>
                <a:cubicBezTo>
                  <a:pt x="1726" y="556"/>
                  <a:pt x="1730" y="552"/>
                  <a:pt x="1730" y="549"/>
                </a:cubicBezTo>
                <a:cubicBezTo>
                  <a:pt x="1730" y="545"/>
                  <a:pt x="1726" y="542"/>
                  <a:pt x="1722" y="542"/>
                </a:cubicBezTo>
                <a:close/>
                <a:moveTo>
                  <a:pt x="1744" y="542"/>
                </a:moveTo>
                <a:cubicBezTo>
                  <a:pt x="1740" y="542"/>
                  <a:pt x="1736" y="545"/>
                  <a:pt x="1736" y="549"/>
                </a:cubicBezTo>
                <a:cubicBezTo>
                  <a:pt x="1736" y="552"/>
                  <a:pt x="1740" y="556"/>
                  <a:pt x="1744" y="556"/>
                </a:cubicBezTo>
                <a:cubicBezTo>
                  <a:pt x="1748" y="556"/>
                  <a:pt x="1751" y="552"/>
                  <a:pt x="1751" y="549"/>
                </a:cubicBezTo>
                <a:cubicBezTo>
                  <a:pt x="1751" y="545"/>
                  <a:pt x="1748" y="542"/>
                  <a:pt x="1744" y="542"/>
                </a:cubicBezTo>
                <a:close/>
                <a:moveTo>
                  <a:pt x="1722" y="561"/>
                </a:moveTo>
                <a:cubicBezTo>
                  <a:pt x="1718" y="561"/>
                  <a:pt x="1714" y="564"/>
                  <a:pt x="1714" y="567"/>
                </a:cubicBezTo>
                <a:cubicBezTo>
                  <a:pt x="1714" y="571"/>
                  <a:pt x="1718" y="574"/>
                  <a:pt x="1722" y="574"/>
                </a:cubicBezTo>
                <a:cubicBezTo>
                  <a:pt x="1726" y="574"/>
                  <a:pt x="1730" y="571"/>
                  <a:pt x="1730" y="567"/>
                </a:cubicBezTo>
                <a:cubicBezTo>
                  <a:pt x="1730" y="564"/>
                  <a:pt x="1726" y="561"/>
                  <a:pt x="1722" y="561"/>
                </a:cubicBezTo>
                <a:close/>
                <a:moveTo>
                  <a:pt x="1744" y="561"/>
                </a:moveTo>
                <a:cubicBezTo>
                  <a:pt x="1740" y="561"/>
                  <a:pt x="1736" y="564"/>
                  <a:pt x="1736" y="567"/>
                </a:cubicBezTo>
                <a:cubicBezTo>
                  <a:pt x="1736" y="571"/>
                  <a:pt x="1740" y="574"/>
                  <a:pt x="1744" y="574"/>
                </a:cubicBezTo>
                <a:cubicBezTo>
                  <a:pt x="1748" y="574"/>
                  <a:pt x="1751" y="571"/>
                  <a:pt x="1751" y="567"/>
                </a:cubicBezTo>
                <a:cubicBezTo>
                  <a:pt x="1751" y="564"/>
                  <a:pt x="1748" y="561"/>
                  <a:pt x="1744" y="561"/>
                </a:cubicBezTo>
                <a:close/>
                <a:moveTo>
                  <a:pt x="1722" y="580"/>
                </a:moveTo>
                <a:cubicBezTo>
                  <a:pt x="1718" y="580"/>
                  <a:pt x="1714" y="583"/>
                  <a:pt x="1714" y="587"/>
                </a:cubicBezTo>
                <a:cubicBezTo>
                  <a:pt x="1714" y="590"/>
                  <a:pt x="1718" y="593"/>
                  <a:pt x="1722" y="593"/>
                </a:cubicBezTo>
                <a:cubicBezTo>
                  <a:pt x="1726" y="593"/>
                  <a:pt x="1730" y="590"/>
                  <a:pt x="1730" y="587"/>
                </a:cubicBezTo>
                <a:cubicBezTo>
                  <a:pt x="1730" y="583"/>
                  <a:pt x="1726" y="580"/>
                  <a:pt x="1722" y="580"/>
                </a:cubicBezTo>
                <a:close/>
                <a:moveTo>
                  <a:pt x="1744" y="580"/>
                </a:moveTo>
                <a:cubicBezTo>
                  <a:pt x="1740" y="580"/>
                  <a:pt x="1736" y="583"/>
                  <a:pt x="1736" y="587"/>
                </a:cubicBezTo>
                <a:cubicBezTo>
                  <a:pt x="1736" y="590"/>
                  <a:pt x="1740" y="593"/>
                  <a:pt x="1744" y="593"/>
                </a:cubicBezTo>
                <a:cubicBezTo>
                  <a:pt x="1748" y="593"/>
                  <a:pt x="1751" y="590"/>
                  <a:pt x="1751" y="587"/>
                </a:cubicBezTo>
                <a:cubicBezTo>
                  <a:pt x="1751" y="583"/>
                  <a:pt x="1748" y="580"/>
                  <a:pt x="1744" y="580"/>
                </a:cubicBezTo>
                <a:close/>
                <a:moveTo>
                  <a:pt x="1766" y="290"/>
                </a:moveTo>
                <a:cubicBezTo>
                  <a:pt x="1762" y="290"/>
                  <a:pt x="1759" y="293"/>
                  <a:pt x="1759" y="296"/>
                </a:cubicBezTo>
                <a:cubicBezTo>
                  <a:pt x="1759" y="300"/>
                  <a:pt x="1762" y="303"/>
                  <a:pt x="1766" y="303"/>
                </a:cubicBezTo>
                <a:cubicBezTo>
                  <a:pt x="1770" y="303"/>
                  <a:pt x="1774" y="300"/>
                  <a:pt x="1774" y="296"/>
                </a:cubicBezTo>
                <a:cubicBezTo>
                  <a:pt x="1774" y="293"/>
                  <a:pt x="1770" y="290"/>
                  <a:pt x="1766" y="290"/>
                </a:cubicBezTo>
                <a:close/>
                <a:moveTo>
                  <a:pt x="1789" y="290"/>
                </a:moveTo>
                <a:cubicBezTo>
                  <a:pt x="1784" y="290"/>
                  <a:pt x="1781" y="293"/>
                  <a:pt x="1781" y="296"/>
                </a:cubicBezTo>
                <a:cubicBezTo>
                  <a:pt x="1781" y="300"/>
                  <a:pt x="1784" y="303"/>
                  <a:pt x="1789" y="303"/>
                </a:cubicBezTo>
                <a:cubicBezTo>
                  <a:pt x="1793" y="303"/>
                  <a:pt x="1796" y="300"/>
                  <a:pt x="1796" y="296"/>
                </a:cubicBezTo>
                <a:cubicBezTo>
                  <a:pt x="1796" y="293"/>
                  <a:pt x="1793" y="290"/>
                  <a:pt x="1789" y="290"/>
                </a:cubicBezTo>
                <a:close/>
                <a:moveTo>
                  <a:pt x="1766" y="309"/>
                </a:moveTo>
                <a:cubicBezTo>
                  <a:pt x="1762" y="309"/>
                  <a:pt x="1759" y="312"/>
                  <a:pt x="1759" y="316"/>
                </a:cubicBezTo>
                <a:cubicBezTo>
                  <a:pt x="1759" y="320"/>
                  <a:pt x="1762" y="323"/>
                  <a:pt x="1766" y="323"/>
                </a:cubicBezTo>
                <a:cubicBezTo>
                  <a:pt x="1770" y="323"/>
                  <a:pt x="1774" y="320"/>
                  <a:pt x="1774" y="316"/>
                </a:cubicBezTo>
                <a:cubicBezTo>
                  <a:pt x="1774" y="312"/>
                  <a:pt x="1770" y="309"/>
                  <a:pt x="1766" y="309"/>
                </a:cubicBezTo>
                <a:close/>
                <a:moveTo>
                  <a:pt x="1789" y="309"/>
                </a:moveTo>
                <a:cubicBezTo>
                  <a:pt x="1784" y="309"/>
                  <a:pt x="1781" y="312"/>
                  <a:pt x="1781" y="316"/>
                </a:cubicBezTo>
                <a:cubicBezTo>
                  <a:pt x="1781" y="320"/>
                  <a:pt x="1784" y="323"/>
                  <a:pt x="1789" y="323"/>
                </a:cubicBezTo>
                <a:cubicBezTo>
                  <a:pt x="1793" y="323"/>
                  <a:pt x="1796" y="320"/>
                  <a:pt x="1796" y="316"/>
                </a:cubicBezTo>
                <a:cubicBezTo>
                  <a:pt x="1796" y="312"/>
                  <a:pt x="1793" y="309"/>
                  <a:pt x="1789" y="309"/>
                </a:cubicBezTo>
                <a:close/>
                <a:moveTo>
                  <a:pt x="1766" y="329"/>
                </a:moveTo>
                <a:cubicBezTo>
                  <a:pt x="1762" y="329"/>
                  <a:pt x="1759" y="332"/>
                  <a:pt x="1759" y="335"/>
                </a:cubicBezTo>
                <a:cubicBezTo>
                  <a:pt x="1759" y="339"/>
                  <a:pt x="1762" y="342"/>
                  <a:pt x="1766" y="342"/>
                </a:cubicBezTo>
                <a:cubicBezTo>
                  <a:pt x="1770" y="342"/>
                  <a:pt x="1774" y="339"/>
                  <a:pt x="1774" y="335"/>
                </a:cubicBezTo>
                <a:cubicBezTo>
                  <a:pt x="1774" y="332"/>
                  <a:pt x="1770" y="329"/>
                  <a:pt x="1766" y="329"/>
                </a:cubicBezTo>
                <a:close/>
                <a:moveTo>
                  <a:pt x="1789" y="329"/>
                </a:moveTo>
                <a:cubicBezTo>
                  <a:pt x="1784" y="329"/>
                  <a:pt x="1781" y="332"/>
                  <a:pt x="1781" y="335"/>
                </a:cubicBezTo>
                <a:cubicBezTo>
                  <a:pt x="1781" y="339"/>
                  <a:pt x="1784" y="342"/>
                  <a:pt x="1789" y="342"/>
                </a:cubicBezTo>
                <a:cubicBezTo>
                  <a:pt x="1793" y="342"/>
                  <a:pt x="1796" y="339"/>
                  <a:pt x="1796" y="335"/>
                </a:cubicBezTo>
                <a:cubicBezTo>
                  <a:pt x="1796" y="332"/>
                  <a:pt x="1793" y="329"/>
                  <a:pt x="1789" y="329"/>
                </a:cubicBezTo>
                <a:close/>
                <a:moveTo>
                  <a:pt x="1766" y="348"/>
                </a:moveTo>
                <a:cubicBezTo>
                  <a:pt x="1762" y="348"/>
                  <a:pt x="1759" y="351"/>
                  <a:pt x="1759" y="355"/>
                </a:cubicBezTo>
                <a:cubicBezTo>
                  <a:pt x="1759" y="359"/>
                  <a:pt x="1762" y="362"/>
                  <a:pt x="1766" y="362"/>
                </a:cubicBezTo>
                <a:cubicBezTo>
                  <a:pt x="1770" y="362"/>
                  <a:pt x="1774" y="359"/>
                  <a:pt x="1774" y="355"/>
                </a:cubicBezTo>
                <a:cubicBezTo>
                  <a:pt x="1774" y="351"/>
                  <a:pt x="1770" y="348"/>
                  <a:pt x="1766" y="348"/>
                </a:cubicBezTo>
                <a:close/>
                <a:moveTo>
                  <a:pt x="1789" y="348"/>
                </a:moveTo>
                <a:cubicBezTo>
                  <a:pt x="1784" y="348"/>
                  <a:pt x="1781" y="351"/>
                  <a:pt x="1781" y="355"/>
                </a:cubicBezTo>
                <a:cubicBezTo>
                  <a:pt x="1781" y="359"/>
                  <a:pt x="1784" y="362"/>
                  <a:pt x="1789" y="362"/>
                </a:cubicBezTo>
                <a:cubicBezTo>
                  <a:pt x="1793" y="362"/>
                  <a:pt x="1796" y="359"/>
                  <a:pt x="1796" y="355"/>
                </a:cubicBezTo>
                <a:cubicBezTo>
                  <a:pt x="1796" y="351"/>
                  <a:pt x="1793" y="348"/>
                  <a:pt x="1789" y="348"/>
                </a:cubicBezTo>
                <a:close/>
                <a:moveTo>
                  <a:pt x="1766" y="368"/>
                </a:moveTo>
                <a:cubicBezTo>
                  <a:pt x="1762" y="368"/>
                  <a:pt x="1759" y="371"/>
                  <a:pt x="1759" y="374"/>
                </a:cubicBezTo>
                <a:cubicBezTo>
                  <a:pt x="1759" y="378"/>
                  <a:pt x="1762" y="381"/>
                  <a:pt x="1766" y="381"/>
                </a:cubicBezTo>
                <a:cubicBezTo>
                  <a:pt x="1770" y="381"/>
                  <a:pt x="1774" y="378"/>
                  <a:pt x="1774" y="374"/>
                </a:cubicBezTo>
                <a:cubicBezTo>
                  <a:pt x="1774" y="371"/>
                  <a:pt x="1770" y="368"/>
                  <a:pt x="1766" y="368"/>
                </a:cubicBezTo>
                <a:close/>
                <a:moveTo>
                  <a:pt x="1789" y="368"/>
                </a:moveTo>
                <a:cubicBezTo>
                  <a:pt x="1784" y="368"/>
                  <a:pt x="1781" y="371"/>
                  <a:pt x="1781" y="374"/>
                </a:cubicBezTo>
                <a:cubicBezTo>
                  <a:pt x="1781" y="378"/>
                  <a:pt x="1784" y="381"/>
                  <a:pt x="1789" y="381"/>
                </a:cubicBezTo>
                <a:cubicBezTo>
                  <a:pt x="1793" y="381"/>
                  <a:pt x="1796" y="378"/>
                  <a:pt x="1796" y="374"/>
                </a:cubicBezTo>
                <a:cubicBezTo>
                  <a:pt x="1796" y="371"/>
                  <a:pt x="1793" y="368"/>
                  <a:pt x="1789" y="368"/>
                </a:cubicBezTo>
                <a:close/>
                <a:moveTo>
                  <a:pt x="1766" y="387"/>
                </a:moveTo>
                <a:cubicBezTo>
                  <a:pt x="1762" y="387"/>
                  <a:pt x="1759" y="390"/>
                  <a:pt x="1759" y="393"/>
                </a:cubicBezTo>
                <a:cubicBezTo>
                  <a:pt x="1759" y="397"/>
                  <a:pt x="1762" y="400"/>
                  <a:pt x="1766" y="400"/>
                </a:cubicBezTo>
                <a:cubicBezTo>
                  <a:pt x="1770" y="400"/>
                  <a:pt x="1774" y="397"/>
                  <a:pt x="1774" y="393"/>
                </a:cubicBezTo>
                <a:cubicBezTo>
                  <a:pt x="1774" y="390"/>
                  <a:pt x="1770" y="387"/>
                  <a:pt x="1766" y="387"/>
                </a:cubicBezTo>
                <a:close/>
                <a:moveTo>
                  <a:pt x="1789" y="387"/>
                </a:moveTo>
                <a:cubicBezTo>
                  <a:pt x="1784" y="387"/>
                  <a:pt x="1781" y="390"/>
                  <a:pt x="1781" y="393"/>
                </a:cubicBezTo>
                <a:cubicBezTo>
                  <a:pt x="1781" y="397"/>
                  <a:pt x="1784" y="400"/>
                  <a:pt x="1789" y="400"/>
                </a:cubicBezTo>
                <a:cubicBezTo>
                  <a:pt x="1793" y="400"/>
                  <a:pt x="1796" y="397"/>
                  <a:pt x="1796" y="393"/>
                </a:cubicBezTo>
                <a:cubicBezTo>
                  <a:pt x="1796" y="390"/>
                  <a:pt x="1793" y="387"/>
                  <a:pt x="1789" y="387"/>
                </a:cubicBezTo>
                <a:close/>
                <a:moveTo>
                  <a:pt x="1766" y="406"/>
                </a:moveTo>
                <a:cubicBezTo>
                  <a:pt x="1762" y="406"/>
                  <a:pt x="1759" y="409"/>
                  <a:pt x="1759" y="413"/>
                </a:cubicBezTo>
                <a:cubicBezTo>
                  <a:pt x="1759" y="416"/>
                  <a:pt x="1762" y="419"/>
                  <a:pt x="1766" y="419"/>
                </a:cubicBezTo>
                <a:cubicBezTo>
                  <a:pt x="1770" y="419"/>
                  <a:pt x="1774" y="416"/>
                  <a:pt x="1774" y="413"/>
                </a:cubicBezTo>
                <a:cubicBezTo>
                  <a:pt x="1774" y="409"/>
                  <a:pt x="1770" y="406"/>
                  <a:pt x="1766" y="406"/>
                </a:cubicBezTo>
                <a:close/>
                <a:moveTo>
                  <a:pt x="1789" y="406"/>
                </a:moveTo>
                <a:cubicBezTo>
                  <a:pt x="1784" y="406"/>
                  <a:pt x="1781" y="409"/>
                  <a:pt x="1781" y="413"/>
                </a:cubicBezTo>
                <a:cubicBezTo>
                  <a:pt x="1781" y="416"/>
                  <a:pt x="1784" y="419"/>
                  <a:pt x="1789" y="419"/>
                </a:cubicBezTo>
                <a:cubicBezTo>
                  <a:pt x="1793" y="419"/>
                  <a:pt x="1796" y="416"/>
                  <a:pt x="1796" y="413"/>
                </a:cubicBezTo>
                <a:cubicBezTo>
                  <a:pt x="1796" y="409"/>
                  <a:pt x="1793" y="406"/>
                  <a:pt x="1789" y="406"/>
                </a:cubicBezTo>
                <a:close/>
                <a:moveTo>
                  <a:pt x="1766" y="425"/>
                </a:moveTo>
                <a:cubicBezTo>
                  <a:pt x="1762" y="425"/>
                  <a:pt x="1759" y="428"/>
                  <a:pt x="1759" y="432"/>
                </a:cubicBezTo>
                <a:cubicBezTo>
                  <a:pt x="1759" y="435"/>
                  <a:pt x="1762" y="438"/>
                  <a:pt x="1766" y="438"/>
                </a:cubicBezTo>
                <a:cubicBezTo>
                  <a:pt x="1770" y="438"/>
                  <a:pt x="1774" y="435"/>
                  <a:pt x="1774" y="432"/>
                </a:cubicBezTo>
                <a:cubicBezTo>
                  <a:pt x="1774" y="428"/>
                  <a:pt x="1770" y="425"/>
                  <a:pt x="1766" y="425"/>
                </a:cubicBezTo>
                <a:close/>
                <a:moveTo>
                  <a:pt x="1789" y="425"/>
                </a:moveTo>
                <a:cubicBezTo>
                  <a:pt x="1784" y="425"/>
                  <a:pt x="1781" y="428"/>
                  <a:pt x="1781" y="432"/>
                </a:cubicBezTo>
                <a:cubicBezTo>
                  <a:pt x="1781" y="435"/>
                  <a:pt x="1784" y="438"/>
                  <a:pt x="1789" y="438"/>
                </a:cubicBezTo>
                <a:cubicBezTo>
                  <a:pt x="1793" y="438"/>
                  <a:pt x="1796" y="435"/>
                  <a:pt x="1796" y="432"/>
                </a:cubicBezTo>
                <a:cubicBezTo>
                  <a:pt x="1796" y="428"/>
                  <a:pt x="1793" y="425"/>
                  <a:pt x="1789" y="425"/>
                </a:cubicBezTo>
                <a:close/>
                <a:moveTo>
                  <a:pt x="1811" y="290"/>
                </a:moveTo>
                <a:cubicBezTo>
                  <a:pt x="1806" y="290"/>
                  <a:pt x="1803" y="293"/>
                  <a:pt x="1803" y="296"/>
                </a:cubicBezTo>
                <a:cubicBezTo>
                  <a:pt x="1803" y="300"/>
                  <a:pt x="1806" y="303"/>
                  <a:pt x="1811" y="303"/>
                </a:cubicBezTo>
                <a:cubicBezTo>
                  <a:pt x="1815" y="303"/>
                  <a:pt x="1818" y="300"/>
                  <a:pt x="1818" y="296"/>
                </a:cubicBezTo>
                <a:cubicBezTo>
                  <a:pt x="1818" y="293"/>
                  <a:pt x="1815" y="290"/>
                  <a:pt x="1811" y="290"/>
                </a:cubicBezTo>
                <a:close/>
                <a:moveTo>
                  <a:pt x="1811" y="309"/>
                </a:moveTo>
                <a:cubicBezTo>
                  <a:pt x="1806" y="309"/>
                  <a:pt x="1803" y="312"/>
                  <a:pt x="1803" y="316"/>
                </a:cubicBezTo>
                <a:cubicBezTo>
                  <a:pt x="1803" y="320"/>
                  <a:pt x="1806" y="323"/>
                  <a:pt x="1811" y="323"/>
                </a:cubicBezTo>
                <a:cubicBezTo>
                  <a:pt x="1815" y="323"/>
                  <a:pt x="1818" y="320"/>
                  <a:pt x="1818" y="316"/>
                </a:cubicBezTo>
                <a:cubicBezTo>
                  <a:pt x="1818" y="312"/>
                  <a:pt x="1815" y="309"/>
                  <a:pt x="1811" y="309"/>
                </a:cubicBezTo>
                <a:close/>
                <a:moveTo>
                  <a:pt x="1811" y="329"/>
                </a:moveTo>
                <a:cubicBezTo>
                  <a:pt x="1806" y="329"/>
                  <a:pt x="1803" y="332"/>
                  <a:pt x="1803" y="335"/>
                </a:cubicBezTo>
                <a:cubicBezTo>
                  <a:pt x="1803" y="339"/>
                  <a:pt x="1806" y="342"/>
                  <a:pt x="1811" y="342"/>
                </a:cubicBezTo>
                <a:cubicBezTo>
                  <a:pt x="1815" y="342"/>
                  <a:pt x="1818" y="339"/>
                  <a:pt x="1818" y="335"/>
                </a:cubicBezTo>
                <a:cubicBezTo>
                  <a:pt x="1818" y="332"/>
                  <a:pt x="1815" y="329"/>
                  <a:pt x="1811" y="329"/>
                </a:cubicBezTo>
                <a:close/>
                <a:moveTo>
                  <a:pt x="1811" y="348"/>
                </a:moveTo>
                <a:cubicBezTo>
                  <a:pt x="1806" y="348"/>
                  <a:pt x="1803" y="351"/>
                  <a:pt x="1803" y="355"/>
                </a:cubicBezTo>
                <a:cubicBezTo>
                  <a:pt x="1803" y="359"/>
                  <a:pt x="1806" y="362"/>
                  <a:pt x="1811" y="362"/>
                </a:cubicBezTo>
                <a:cubicBezTo>
                  <a:pt x="1815" y="362"/>
                  <a:pt x="1818" y="359"/>
                  <a:pt x="1818" y="355"/>
                </a:cubicBezTo>
                <a:cubicBezTo>
                  <a:pt x="1818" y="351"/>
                  <a:pt x="1815" y="348"/>
                  <a:pt x="1811" y="348"/>
                </a:cubicBezTo>
                <a:close/>
                <a:moveTo>
                  <a:pt x="1811" y="368"/>
                </a:moveTo>
                <a:cubicBezTo>
                  <a:pt x="1806" y="368"/>
                  <a:pt x="1803" y="371"/>
                  <a:pt x="1803" y="374"/>
                </a:cubicBezTo>
                <a:cubicBezTo>
                  <a:pt x="1803" y="378"/>
                  <a:pt x="1806" y="381"/>
                  <a:pt x="1811" y="381"/>
                </a:cubicBezTo>
                <a:cubicBezTo>
                  <a:pt x="1815" y="381"/>
                  <a:pt x="1818" y="378"/>
                  <a:pt x="1818" y="374"/>
                </a:cubicBezTo>
                <a:cubicBezTo>
                  <a:pt x="1818" y="371"/>
                  <a:pt x="1815" y="368"/>
                  <a:pt x="1811" y="368"/>
                </a:cubicBezTo>
                <a:close/>
                <a:moveTo>
                  <a:pt x="1811" y="386"/>
                </a:moveTo>
                <a:cubicBezTo>
                  <a:pt x="1806" y="386"/>
                  <a:pt x="1803" y="389"/>
                  <a:pt x="1803" y="393"/>
                </a:cubicBezTo>
                <a:cubicBezTo>
                  <a:pt x="1803" y="397"/>
                  <a:pt x="1806" y="400"/>
                  <a:pt x="1811" y="400"/>
                </a:cubicBezTo>
                <a:cubicBezTo>
                  <a:pt x="1815" y="400"/>
                  <a:pt x="1818" y="397"/>
                  <a:pt x="1818" y="393"/>
                </a:cubicBezTo>
                <a:cubicBezTo>
                  <a:pt x="1818" y="389"/>
                  <a:pt x="1815" y="386"/>
                  <a:pt x="1811" y="386"/>
                </a:cubicBezTo>
                <a:close/>
                <a:moveTo>
                  <a:pt x="1833" y="387"/>
                </a:moveTo>
                <a:cubicBezTo>
                  <a:pt x="1828" y="387"/>
                  <a:pt x="1825" y="390"/>
                  <a:pt x="1825" y="393"/>
                </a:cubicBezTo>
                <a:cubicBezTo>
                  <a:pt x="1825" y="397"/>
                  <a:pt x="1828" y="400"/>
                  <a:pt x="1833" y="400"/>
                </a:cubicBezTo>
                <a:cubicBezTo>
                  <a:pt x="1837" y="400"/>
                  <a:pt x="1840" y="397"/>
                  <a:pt x="1840" y="393"/>
                </a:cubicBezTo>
                <a:cubicBezTo>
                  <a:pt x="1840" y="390"/>
                  <a:pt x="1837" y="387"/>
                  <a:pt x="1833" y="387"/>
                </a:cubicBezTo>
                <a:close/>
                <a:moveTo>
                  <a:pt x="1811" y="406"/>
                </a:moveTo>
                <a:cubicBezTo>
                  <a:pt x="1806" y="406"/>
                  <a:pt x="1803" y="409"/>
                  <a:pt x="1803" y="413"/>
                </a:cubicBezTo>
                <a:cubicBezTo>
                  <a:pt x="1803" y="416"/>
                  <a:pt x="1806" y="419"/>
                  <a:pt x="1811" y="419"/>
                </a:cubicBezTo>
                <a:cubicBezTo>
                  <a:pt x="1815" y="419"/>
                  <a:pt x="1818" y="416"/>
                  <a:pt x="1818" y="413"/>
                </a:cubicBezTo>
                <a:cubicBezTo>
                  <a:pt x="1818" y="409"/>
                  <a:pt x="1815" y="406"/>
                  <a:pt x="1811" y="406"/>
                </a:cubicBezTo>
                <a:close/>
                <a:moveTo>
                  <a:pt x="1833" y="406"/>
                </a:moveTo>
                <a:cubicBezTo>
                  <a:pt x="1828" y="406"/>
                  <a:pt x="1825" y="409"/>
                  <a:pt x="1825" y="413"/>
                </a:cubicBezTo>
                <a:cubicBezTo>
                  <a:pt x="1825" y="416"/>
                  <a:pt x="1828" y="419"/>
                  <a:pt x="1833" y="419"/>
                </a:cubicBezTo>
                <a:cubicBezTo>
                  <a:pt x="1837" y="419"/>
                  <a:pt x="1840" y="416"/>
                  <a:pt x="1840" y="413"/>
                </a:cubicBezTo>
                <a:cubicBezTo>
                  <a:pt x="1840" y="409"/>
                  <a:pt x="1837" y="406"/>
                  <a:pt x="1833" y="406"/>
                </a:cubicBezTo>
                <a:close/>
                <a:moveTo>
                  <a:pt x="1811" y="425"/>
                </a:moveTo>
                <a:cubicBezTo>
                  <a:pt x="1806" y="425"/>
                  <a:pt x="1803" y="428"/>
                  <a:pt x="1803" y="432"/>
                </a:cubicBezTo>
                <a:cubicBezTo>
                  <a:pt x="1803" y="435"/>
                  <a:pt x="1806" y="438"/>
                  <a:pt x="1811" y="438"/>
                </a:cubicBezTo>
                <a:cubicBezTo>
                  <a:pt x="1815" y="438"/>
                  <a:pt x="1818" y="435"/>
                  <a:pt x="1818" y="432"/>
                </a:cubicBezTo>
                <a:cubicBezTo>
                  <a:pt x="1818" y="428"/>
                  <a:pt x="1815" y="425"/>
                  <a:pt x="1811" y="425"/>
                </a:cubicBezTo>
                <a:close/>
                <a:moveTo>
                  <a:pt x="1833" y="425"/>
                </a:moveTo>
                <a:cubicBezTo>
                  <a:pt x="1828" y="425"/>
                  <a:pt x="1825" y="428"/>
                  <a:pt x="1825" y="432"/>
                </a:cubicBezTo>
                <a:cubicBezTo>
                  <a:pt x="1825" y="435"/>
                  <a:pt x="1828" y="438"/>
                  <a:pt x="1833" y="438"/>
                </a:cubicBezTo>
                <a:cubicBezTo>
                  <a:pt x="1837" y="438"/>
                  <a:pt x="1840" y="435"/>
                  <a:pt x="1840" y="432"/>
                </a:cubicBezTo>
                <a:cubicBezTo>
                  <a:pt x="1840" y="428"/>
                  <a:pt x="1837" y="425"/>
                  <a:pt x="1833" y="425"/>
                </a:cubicBezTo>
                <a:close/>
                <a:moveTo>
                  <a:pt x="1766" y="446"/>
                </a:moveTo>
                <a:cubicBezTo>
                  <a:pt x="1762" y="446"/>
                  <a:pt x="1759" y="448"/>
                  <a:pt x="1759" y="452"/>
                </a:cubicBezTo>
                <a:cubicBezTo>
                  <a:pt x="1759" y="455"/>
                  <a:pt x="1762" y="458"/>
                  <a:pt x="1766" y="458"/>
                </a:cubicBezTo>
                <a:cubicBezTo>
                  <a:pt x="1770" y="458"/>
                  <a:pt x="1774" y="455"/>
                  <a:pt x="1774" y="452"/>
                </a:cubicBezTo>
                <a:cubicBezTo>
                  <a:pt x="1774" y="448"/>
                  <a:pt x="1770" y="446"/>
                  <a:pt x="1766" y="446"/>
                </a:cubicBezTo>
                <a:close/>
                <a:moveTo>
                  <a:pt x="1789" y="446"/>
                </a:moveTo>
                <a:cubicBezTo>
                  <a:pt x="1784" y="446"/>
                  <a:pt x="1781" y="448"/>
                  <a:pt x="1781" y="452"/>
                </a:cubicBezTo>
                <a:cubicBezTo>
                  <a:pt x="1781" y="455"/>
                  <a:pt x="1784" y="458"/>
                  <a:pt x="1789" y="458"/>
                </a:cubicBezTo>
                <a:cubicBezTo>
                  <a:pt x="1793" y="458"/>
                  <a:pt x="1796" y="455"/>
                  <a:pt x="1796" y="452"/>
                </a:cubicBezTo>
                <a:cubicBezTo>
                  <a:pt x="1796" y="448"/>
                  <a:pt x="1793" y="446"/>
                  <a:pt x="1789" y="446"/>
                </a:cubicBezTo>
                <a:close/>
                <a:moveTo>
                  <a:pt x="1766" y="464"/>
                </a:moveTo>
                <a:cubicBezTo>
                  <a:pt x="1762" y="464"/>
                  <a:pt x="1759" y="467"/>
                  <a:pt x="1759" y="471"/>
                </a:cubicBezTo>
                <a:cubicBezTo>
                  <a:pt x="1759" y="475"/>
                  <a:pt x="1762" y="478"/>
                  <a:pt x="1766" y="478"/>
                </a:cubicBezTo>
                <a:cubicBezTo>
                  <a:pt x="1770" y="478"/>
                  <a:pt x="1774" y="475"/>
                  <a:pt x="1774" y="471"/>
                </a:cubicBezTo>
                <a:cubicBezTo>
                  <a:pt x="1774" y="467"/>
                  <a:pt x="1770" y="464"/>
                  <a:pt x="1766" y="464"/>
                </a:cubicBezTo>
                <a:close/>
                <a:moveTo>
                  <a:pt x="1789" y="464"/>
                </a:moveTo>
                <a:cubicBezTo>
                  <a:pt x="1784" y="464"/>
                  <a:pt x="1781" y="467"/>
                  <a:pt x="1781" y="471"/>
                </a:cubicBezTo>
                <a:cubicBezTo>
                  <a:pt x="1781" y="475"/>
                  <a:pt x="1784" y="478"/>
                  <a:pt x="1789" y="478"/>
                </a:cubicBezTo>
                <a:cubicBezTo>
                  <a:pt x="1793" y="478"/>
                  <a:pt x="1796" y="475"/>
                  <a:pt x="1796" y="471"/>
                </a:cubicBezTo>
                <a:cubicBezTo>
                  <a:pt x="1796" y="467"/>
                  <a:pt x="1793" y="464"/>
                  <a:pt x="1789" y="464"/>
                </a:cubicBezTo>
                <a:close/>
                <a:moveTo>
                  <a:pt x="1766" y="484"/>
                </a:moveTo>
                <a:cubicBezTo>
                  <a:pt x="1762" y="484"/>
                  <a:pt x="1759" y="487"/>
                  <a:pt x="1759" y="490"/>
                </a:cubicBezTo>
                <a:cubicBezTo>
                  <a:pt x="1759" y="494"/>
                  <a:pt x="1762" y="497"/>
                  <a:pt x="1766" y="497"/>
                </a:cubicBezTo>
                <a:cubicBezTo>
                  <a:pt x="1770" y="497"/>
                  <a:pt x="1774" y="494"/>
                  <a:pt x="1774" y="490"/>
                </a:cubicBezTo>
                <a:cubicBezTo>
                  <a:pt x="1774" y="487"/>
                  <a:pt x="1770" y="484"/>
                  <a:pt x="1766" y="484"/>
                </a:cubicBezTo>
                <a:close/>
                <a:moveTo>
                  <a:pt x="1789" y="484"/>
                </a:moveTo>
                <a:cubicBezTo>
                  <a:pt x="1784" y="484"/>
                  <a:pt x="1781" y="487"/>
                  <a:pt x="1781" y="490"/>
                </a:cubicBezTo>
                <a:cubicBezTo>
                  <a:pt x="1781" y="494"/>
                  <a:pt x="1784" y="497"/>
                  <a:pt x="1789" y="497"/>
                </a:cubicBezTo>
                <a:cubicBezTo>
                  <a:pt x="1793" y="497"/>
                  <a:pt x="1796" y="494"/>
                  <a:pt x="1796" y="490"/>
                </a:cubicBezTo>
                <a:cubicBezTo>
                  <a:pt x="1796" y="487"/>
                  <a:pt x="1793" y="484"/>
                  <a:pt x="1789" y="484"/>
                </a:cubicBezTo>
                <a:close/>
                <a:moveTo>
                  <a:pt x="1766" y="503"/>
                </a:moveTo>
                <a:cubicBezTo>
                  <a:pt x="1762" y="503"/>
                  <a:pt x="1759" y="506"/>
                  <a:pt x="1759" y="509"/>
                </a:cubicBezTo>
                <a:cubicBezTo>
                  <a:pt x="1759" y="513"/>
                  <a:pt x="1762" y="516"/>
                  <a:pt x="1766" y="516"/>
                </a:cubicBezTo>
                <a:cubicBezTo>
                  <a:pt x="1770" y="516"/>
                  <a:pt x="1774" y="513"/>
                  <a:pt x="1774" y="509"/>
                </a:cubicBezTo>
                <a:cubicBezTo>
                  <a:pt x="1774" y="506"/>
                  <a:pt x="1770" y="503"/>
                  <a:pt x="1766" y="503"/>
                </a:cubicBezTo>
                <a:close/>
                <a:moveTo>
                  <a:pt x="1789" y="503"/>
                </a:moveTo>
                <a:cubicBezTo>
                  <a:pt x="1784" y="503"/>
                  <a:pt x="1781" y="506"/>
                  <a:pt x="1781" y="509"/>
                </a:cubicBezTo>
                <a:cubicBezTo>
                  <a:pt x="1781" y="513"/>
                  <a:pt x="1784" y="516"/>
                  <a:pt x="1789" y="516"/>
                </a:cubicBezTo>
                <a:cubicBezTo>
                  <a:pt x="1793" y="516"/>
                  <a:pt x="1796" y="513"/>
                  <a:pt x="1796" y="509"/>
                </a:cubicBezTo>
                <a:cubicBezTo>
                  <a:pt x="1796" y="506"/>
                  <a:pt x="1793" y="503"/>
                  <a:pt x="1789" y="503"/>
                </a:cubicBezTo>
                <a:close/>
                <a:moveTo>
                  <a:pt x="1766" y="522"/>
                </a:moveTo>
                <a:cubicBezTo>
                  <a:pt x="1762" y="522"/>
                  <a:pt x="1759" y="525"/>
                  <a:pt x="1759" y="529"/>
                </a:cubicBezTo>
                <a:cubicBezTo>
                  <a:pt x="1759" y="533"/>
                  <a:pt x="1762" y="536"/>
                  <a:pt x="1766" y="536"/>
                </a:cubicBezTo>
                <a:cubicBezTo>
                  <a:pt x="1770" y="536"/>
                  <a:pt x="1774" y="533"/>
                  <a:pt x="1774" y="529"/>
                </a:cubicBezTo>
                <a:cubicBezTo>
                  <a:pt x="1774" y="525"/>
                  <a:pt x="1770" y="522"/>
                  <a:pt x="1766" y="522"/>
                </a:cubicBezTo>
                <a:close/>
                <a:moveTo>
                  <a:pt x="1789" y="522"/>
                </a:moveTo>
                <a:cubicBezTo>
                  <a:pt x="1784" y="522"/>
                  <a:pt x="1781" y="525"/>
                  <a:pt x="1781" y="529"/>
                </a:cubicBezTo>
                <a:cubicBezTo>
                  <a:pt x="1781" y="533"/>
                  <a:pt x="1784" y="536"/>
                  <a:pt x="1789" y="536"/>
                </a:cubicBezTo>
                <a:cubicBezTo>
                  <a:pt x="1793" y="536"/>
                  <a:pt x="1796" y="533"/>
                  <a:pt x="1796" y="529"/>
                </a:cubicBezTo>
                <a:cubicBezTo>
                  <a:pt x="1796" y="525"/>
                  <a:pt x="1793" y="522"/>
                  <a:pt x="1789" y="522"/>
                </a:cubicBezTo>
                <a:close/>
                <a:moveTo>
                  <a:pt x="1766" y="542"/>
                </a:moveTo>
                <a:cubicBezTo>
                  <a:pt x="1762" y="542"/>
                  <a:pt x="1759" y="545"/>
                  <a:pt x="1759" y="549"/>
                </a:cubicBezTo>
                <a:cubicBezTo>
                  <a:pt x="1759" y="552"/>
                  <a:pt x="1762" y="556"/>
                  <a:pt x="1766" y="556"/>
                </a:cubicBezTo>
                <a:cubicBezTo>
                  <a:pt x="1770" y="556"/>
                  <a:pt x="1774" y="552"/>
                  <a:pt x="1774" y="549"/>
                </a:cubicBezTo>
                <a:cubicBezTo>
                  <a:pt x="1774" y="545"/>
                  <a:pt x="1770" y="542"/>
                  <a:pt x="1766" y="542"/>
                </a:cubicBezTo>
                <a:close/>
                <a:moveTo>
                  <a:pt x="1789" y="542"/>
                </a:moveTo>
                <a:cubicBezTo>
                  <a:pt x="1784" y="542"/>
                  <a:pt x="1781" y="545"/>
                  <a:pt x="1781" y="549"/>
                </a:cubicBezTo>
                <a:cubicBezTo>
                  <a:pt x="1781" y="552"/>
                  <a:pt x="1784" y="556"/>
                  <a:pt x="1789" y="556"/>
                </a:cubicBezTo>
                <a:cubicBezTo>
                  <a:pt x="1793" y="556"/>
                  <a:pt x="1796" y="552"/>
                  <a:pt x="1796" y="549"/>
                </a:cubicBezTo>
                <a:cubicBezTo>
                  <a:pt x="1796" y="545"/>
                  <a:pt x="1793" y="542"/>
                  <a:pt x="1789" y="542"/>
                </a:cubicBezTo>
                <a:close/>
                <a:moveTo>
                  <a:pt x="1766" y="561"/>
                </a:moveTo>
                <a:cubicBezTo>
                  <a:pt x="1762" y="561"/>
                  <a:pt x="1759" y="564"/>
                  <a:pt x="1759" y="567"/>
                </a:cubicBezTo>
                <a:cubicBezTo>
                  <a:pt x="1759" y="571"/>
                  <a:pt x="1762" y="574"/>
                  <a:pt x="1766" y="574"/>
                </a:cubicBezTo>
                <a:cubicBezTo>
                  <a:pt x="1770" y="574"/>
                  <a:pt x="1774" y="571"/>
                  <a:pt x="1774" y="567"/>
                </a:cubicBezTo>
                <a:cubicBezTo>
                  <a:pt x="1774" y="564"/>
                  <a:pt x="1770" y="561"/>
                  <a:pt x="1766" y="561"/>
                </a:cubicBezTo>
                <a:close/>
                <a:moveTo>
                  <a:pt x="1789" y="561"/>
                </a:moveTo>
                <a:cubicBezTo>
                  <a:pt x="1784" y="561"/>
                  <a:pt x="1781" y="564"/>
                  <a:pt x="1781" y="567"/>
                </a:cubicBezTo>
                <a:cubicBezTo>
                  <a:pt x="1781" y="571"/>
                  <a:pt x="1784" y="574"/>
                  <a:pt x="1789" y="574"/>
                </a:cubicBezTo>
                <a:cubicBezTo>
                  <a:pt x="1793" y="574"/>
                  <a:pt x="1796" y="571"/>
                  <a:pt x="1796" y="567"/>
                </a:cubicBezTo>
                <a:cubicBezTo>
                  <a:pt x="1796" y="564"/>
                  <a:pt x="1793" y="561"/>
                  <a:pt x="1789" y="561"/>
                </a:cubicBezTo>
                <a:close/>
                <a:moveTo>
                  <a:pt x="1766" y="580"/>
                </a:moveTo>
                <a:cubicBezTo>
                  <a:pt x="1762" y="580"/>
                  <a:pt x="1759" y="583"/>
                  <a:pt x="1759" y="587"/>
                </a:cubicBezTo>
                <a:cubicBezTo>
                  <a:pt x="1759" y="590"/>
                  <a:pt x="1762" y="593"/>
                  <a:pt x="1766" y="593"/>
                </a:cubicBezTo>
                <a:cubicBezTo>
                  <a:pt x="1770" y="593"/>
                  <a:pt x="1774" y="590"/>
                  <a:pt x="1774" y="587"/>
                </a:cubicBezTo>
                <a:cubicBezTo>
                  <a:pt x="1774" y="583"/>
                  <a:pt x="1770" y="580"/>
                  <a:pt x="1766" y="580"/>
                </a:cubicBezTo>
                <a:close/>
                <a:moveTo>
                  <a:pt x="1789" y="580"/>
                </a:moveTo>
                <a:cubicBezTo>
                  <a:pt x="1784" y="580"/>
                  <a:pt x="1781" y="583"/>
                  <a:pt x="1781" y="587"/>
                </a:cubicBezTo>
                <a:cubicBezTo>
                  <a:pt x="1781" y="590"/>
                  <a:pt x="1784" y="593"/>
                  <a:pt x="1789" y="593"/>
                </a:cubicBezTo>
                <a:cubicBezTo>
                  <a:pt x="1793" y="593"/>
                  <a:pt x="1796" y="590"/>
                  <a:pt x="1796" y="587"/>
                </a:cubicBezTo>
                <a:cubicBezTo>
                  <a:pt x="1796" y="583"/>
                  <a:pt x="1793" y="580"/>
                  <a:pt x="1789" y="580"/>
                </a:cubicBezTo>
                <a:close/>
                <a:moveTo>
                  <a:pt x="1811" y="444"/>
                </a:moveTo>
                <a:cubicBezTo>
                  <a:pt x="1806" y="444"/>
                  <a:pt x="1803" y="447"/>
                  <a:pt x="1803" y="451"/>
                </a:cubicBezTo>
                <a:cubicBezTo>
                  <a:pt x="1803" y="455"/>
                  <a:pt x="1806" y="458"/>
                  <a:pt x="1811" y="458"/>
                </a:cubicBezTo>
                <a:cubicBezTo>
                  <a:pt x="1815" y="458"/>
                  <a:pt x="1818" y="455"/>
                  <a:pt x="1818" y="451"/>
                </a:cubicBezTo>
                <a:cubicBezTo>
                  <a:pt x="1818" y="447"/>
                  <a:pt x="1815" y="444"/>
                  <a:pt x="1811" y="444"/>
                </a:cubicBezTo>
                <a:close/>
                <a:moveTo>
                  <a:pt x="1833" y="446"/>
                </a:moveTo>
                <a:cubicBezTo>
                  <a:pt x="1828" y="446"/>
                  <a:pt x="1825" y="448"/>
                  <a:pt x="1825" y="452"/>
                </a:cubicBezTo>
                <a:cubicBezTo>
                  <a:pt x="1825" y="455"/>
                  <a:pt x="1828" y="458"/>
                  <a:pt x="1833" y="458"/>
                </a:cubicBezTo>
                <a:cubicBezTo>
                  <a:pt x="1837" y="458"/>
                  <a:pt x="1840" y="455"/>
                  <a:pt x="1840" y="452"/>
                </a:cubicBezTo>
                <a:cubicBezTo>
                  <a:pt x="1840" y="448"/>
                  <a:pt x="1837" y="446"/>
                  <a:pt x="1833" y="446"/>
                </a:cubicBezTo>
                <a:close/>
                <a:moveTo>
                  <a:pt x="1811" y="464"/>
                </a:moveTo>
                <a:cubicBezTo>
                  <a:pt x="1806" y="464"/>
                  <a:pt x="1803" y="467"/>
                  <a:pt x="1803" y="471"/>
                </a:cubicBezTo>
                <a:cubicBezTo>
                  <a:pt x="1803" y="475"/>
                  <a:pt x="1806" y="478"/>
                  <a:pt x="1811" y="478"/>
                </a:cubicBezTo>
                <a:cubicBezTo>
                  <a:pt x="1815" y="478"/>
                  <a:pt x="1818" y="475"/>
                  <a:pt x="1818" y="471"/>
                </a:cubicBezTo>
                <a:cubicBezTo>
                  <a:pt x="1818" y="467"/>
                  <a:pt x="1815" y="464"/>
                  <a:pt x="1811" y="464"/>
                </a:cubicBezTo>
                <a:close/>
                <a:moveTo>
                  <a:pt x="1833" y="464"/>
                </a:moveTo>
                <a:cubicBezTo>
                  <a:pt x="1828" y="464"/>
                  <a:pt x="1825" y="467"/>
                  <a:pt x="1825" y="471"/>
                </a:cubicBezTo>
                <a:cubicBezTo>
                  <a:pt x="1825" y="475"/>
                  <a:pt x="1828" y="478"/>
                  <a:pt x="1833" y="478"/>
                </a:cubicBezTo>
                <a:cubicBezTo>
                  <a:pt x="1837" y="478"/>
                  <a:pt x="1840" y="475"/>
                  <a:pt x="1840" y="471"/>
                </a:cubicBezTo>
                <a:cubicBezTo>
                  <a:pt x="1840" y="467"/>
                  <a:pt x="1837" y="464"/>
                  <a:pt x="1833" y="464"/>
                </a:cubicBezTo>
                <a:close/>
                <a:moveTo>
                  <a:pt x="1811" y="484"/>
                </a:moveTo>
                <a:cubicBezTo>
                  <a:pt x="1806" y="484"/>
                  <a:pt x="1803" y="487"/>
                  <a:pt x="1803" y="490"/>
                </a:cubicBezTo>
                <a:cubicBezTo>
                  <a:pt x="1803" y="494"/>
                  <a:pt x="1806" y="497"/>
                  <a:pt x="1811" y="497"/>
                </a:cubicBezTo>
                <a:cubicBezTo>
                  <a:pt x="1815" y="497"/>
                  <a:pt x="1818" y="494"/>
                  <a:pt x="1818" y="490"/>
                </a:cubicBezTo>
                <a:cubicBezTo>
                  <a:pt x="1818" y="487"/>
                  <a:pt x="1815" y="484"/>
                  <a:pt x="1811" y="484"/>
                </a:cubicBezTo>
                <a:close/>
                <a:moveTo>
                  <a:pt x="1833" y="484"/>
                </a:moveTo>
                <a:cubicBezTo>
                  <a:pt x="1828" y="484"/>
                  <a:pt x="1825" y="487"/>
                  <a:pt x="1825" y="490"/>
                </a:cubicBezTo>
                <a:cubicBezTo>
                  <a:pt x="1825" y="494"/>
                  <a:pt x="1828" y="497"/>
                  <a:pt x="1833" y="497"/>
                </a:cubicBezTo>
                <a:cubicBezTo>
                  <a:pt x="1837" y="497"/>
                  <a:pt x="1840" y="494"/>
                  <a:pt x="1840" y="490"/>
                </a:cubicBezTo>
                <a:cubicBezTo>
                  <a:pt x="1840" y="487"/>
                  <a:pt x="1837" y="484"/>
                  <a:pt x="1833" y="484"/>
                </a:cubicBezTo>
                <a:close/>
                <a:moveTo>
                  <a:pt x="1811" y="503"/>
                </a:moveTo>
                <a:cubicBezTo>
                  <a:pt x="1806" y="503"/>
                  <a:pt x="1803" y="506"/>
                  <a:pt x="1803" y="509"/>
                </a:cubicBezTo>
                <a:cubicBezTo>
                  <a:pt x="1803" y="513"/>
                  <a:pt x="1806" y="516"/>
                  <a:pt x="1811" y="516"/>
                </a:cubicBezTo>
                <a:cubicBezTo>
                  <a:pt x="1815" y="516"/>
                  <a:pt x="1818" y="513"/>
                  <a:pt x="1818" y="509"/>
                </a:cubicBezTo>
                <a:cubicBezTo>
                  <a:pt x="1818" y="506"/>
                  <a:pt x="1815" y="503"/>
                  <a:pt x="1811" y="503"/>
                </a:cubicBezTo>
                <a:close/>
                <a:moveTo>
                  <a:pt x="1833" y="503"/>
                </a:moveTo>
                <a:cubicBezTo>
                  <a:pt x="1828" y="503"/>
                  <a:pt x="1825" y="506"/>
                  <a:pt x="1825" y="509"/>
                </a:cubicBezTo>
                <a:cubicBezTo>
                  <a:pt x="1825" y="513"/>
                  <a:pt x="1828" y="516"/>
                  <a:pt x="1833" y="516"/>
                </a:cubicBezTo>
                <a:cubicBezTo>
                  <a:pt x="1837" y="516"/>
                  <a:pt x="1840" y="513"/>
                  <a:pt x="1840" y="509"/>
                </a:cubicBezTo>
                <a:cubicBezTo>
                  <a:pt x="1840" y="506"/>
                  <a:pt x="1837" y="503"/>
                  <a:pt x="1833" y="503"/>
                </a:cubicBezTo>
                <a:close/>
                <a:moveTo>
                  <a:pt x="1811" y="522"/>
                </a:moveTo>
                <a:cubicBezTo>
                  <a:pt x="1806" y="522"/>
                  <a:pt x="1803" y="525"/>
                  <a:pt x="1803" y="529"/>
                </a:cubicBezTo>
                <a:cubicBezTo>
                  <a:pt x="1803" y="533"/>
                  <a:pt x="1806" y="536"/>
                  <a:pt x="1811" y="536"/>
                </a:cubicBezTo>
                <a:cubicBezTo>
                  <a:pt x="1815" y="536"/>
                  <a:pt x="1818" y="533"/>
                  <a:pt x="1818" y="529"/>
                </a:cubicBezTo>
                <a:cubicBezTo>
                  <a:pt x="1818" y="525"/>
                  <a:pt x="1815" y="522"/>
                  <a:pt x="1811" y="522"/>
                </a:cubicBezTo>
                <a:close/>
                <a:moveTo>
                  <a:pt x="1833" y="522"/>
                </a:moveTo>
                <a:cubicBezTo>
                  <a:pt x="1828" y="522"/>
                  <a:pt x="1825" y="525"/>
                  <a:pt x="1825" y="529"/>
                </a:cubicBezTo>
                <a:cubicBezTo>
                  <a:pt x="1825" y="533"/>
                  <a:pt x="1828" y="536"/>
                  <a:pt x="1833" y="536"/>
                </a:cubicBezTo>
                <a:cubicBezTo>
                  <a:pt x="1837" y="536"/>
                  <a:pt x="1840" y="533"/>
                  <a:pt x="1840" y="529"/>
                </a:cubicBezTo>
                <a:cubicBezTo>
                  <a:pt x="1840" y="525"/>
                  <a:pt x="1837" y="522"/>
                  <a:pt x="1833" y="522"/>
                </a:cubicBezTo>
                <a:close/>
                <a:moveTo>
                  <a:pt x="1811" y="542"/>
                </a:moveTo>
                <a:cubicBezTo>
                  <a:pt x="1806" y="542"/>
                  <a:pt x="1803" y="545"/>
                  <a:pt x="1803" y="548"/>
                </a:cubicBezTo>
                <a:cubicBezTo>
                  <a:pt x="1803" y="552"/>
                  <a:pt x="1806" y="555"/>
                  <a:pt x="1811" y="555"/>
                </a:cubicBezTo>
                <a:cubicBezTo>
                  <a:pt x="1815" y="555"/>
                  <a:pt x="1818" y="552"/>
                  <a:pt x="1818" y="548"/>
                </a:cubicBezTo>
                <a:cubicBezTo>
                  <a:pt x="1818" y="545"/>
                  <a:pt x="1815" y="542"/>
                  <a:pt x="1811" y="542"/>
                </a:cubicBezTo>
                <a:close/>
                <a:moveTo>
                  <a:pt x="1833" y="542"/>
                </a:moveTo>
                <a:cubicBezTo>
                  <a:pt x="1828" y="542"/>
                  <a:pt x="1825" y="545"/>
                  <a:pt x="1825" y="549"/>
                </a:cubicBezTo>
                <a:cubicBezTo>
                  <a:pt x="1825" y="552"/>
                  <a:pt x="1828" y="556"/>
                  <a:pt x="1833" y="556"/>
                </a:cubicBezTo>
                <a:cubicBezTo>
                  <a:pt x="1837" y="556"/>
                  <a:pt x="1840" y="552"/>
                  <a:pt x="1840" y="549"/>
                </a:cubicBezTo>
                <a:cubicBezTo>
                  <a:pt x="1840" y="545"/>
                  <a:pt x="1837" y="542"/>
                  <a:pt x="1833" y="542"/>
                </a:cubicBezTo>
                <a:close/>
                <a:moveTo>
                  <a:pt x="1811" y="560"/>
                </a:moveTo>
                <a:cubicBezTo>
                  <a:pt x="1806" y="560"/>
                  <a:pt x="1803" y="563"/>
                  <a:pt x="1803" y="567"/>
                </a:cubicBezTo>
                <a:cubicBezTo>
                  <a:pt x="1803" y="571"/>
                  <a:pt x="1806" y="574"/>
                  <a:pt x="1811" y="574"/>
                </a:cubicBezTo>
                <a:cubicBezTo>
                  <a:pt x="1815" y="574"/>
                  <a:pt x="1818" y="571"/>
                  <a:pt x="1818" y="567"/>
                </a:cubicBezTo>
                <a:cubicBezTo>
                  <a:pt x="1818" y="563"/>
                  <a:pt x="1815" y="560"/>
                  <a:pt x="1811" y="560"/>
                </a:cubicBezTo>
                <a:close/>
                <a:moveTo>
                  <a:pt x="1833" y="561"/>
                </a:moveTo>
                <a:cubicBezTo>
                  <a:pt x="1828" y="561"/>
                  <a:pt x="1825" y="564"/>
                  <a:pt x="1825" y="567"/>
                </a:cubicBezTo>
                <a:cubicBezTo>
                  <a:pt x="1825" y="571"/>
                  <a:pt x="1828" y="574"/>
                  <a:pt x="1833" y="574"/>
                </a:cubicBezTo>
                <a:cubicBezTo>
                  <a:pt x="1837" y="574"/>
                  <a:pt x="1840" y="571"/>
                  <a:pt x="1840" y="567"/>
                </a:cubicBezTo>
                <a:cubicBezTo>
                  <a:pt x="1840" y="564"/>
                  <a:pt x="1837" y="561"/>
                  <a:pt x="1833" y="561"/>
                </a:cubicBezTo>
                <a:close/>
                <a:moveTo>
                  <a:pt x="1811" y="580"/>
                </a:moveTo>
                <a:cubicBezTo>
                  <a:pt x="1806" y="580"/>
                  <a:pt x="1803" y="583"/>
                  <a:pt x="1803" y="587"/>
                </a:cubicBezTo>
                <a:cubicBezTo>
                  <a:pt x="1803" y="590"/>
                  <a:pt x="1806" y="593"/>
                  <a:pt x="1811" y="593"/>
                </a:cubicBezTo>
                <a:cubicBezTo>
                  <a:pt x="1815" y="593"/>
                  <a:pt x="1818" y="590"/>
                  <a:pt x="1818" y="587"/>
                </a:cubicBezTo>
                <a:cubicBezTo>
                  <a:pt x="1818" y="583"/>
                  <a:pt x="1815" y="580"/>
                  <a:pt x="1811" y="580"/>
                </a:cubicBezTo>
                <a:close/>
                <a:moveTo>
                  <a:pt x="1833" y="580"/>
                </a:moveTo>
                <a:cubicBezTo>
                  <a:pt x="1828" y="580"/>
                  <a:pt x="1825" y="583"/>
                  <a:pt x="1825" y="587"/>
                </a:cubicBezTo>
                <a:cubicBezTo>
                  <a:pt x="1825" y="590"/>
                  <a:pt x="1828" y="593"/>
                  <a:pt x="1833" y="593"/>
                </a:cubicBezTo>
                <a:cubicBezTo>
                  <a:pt x="1837" y="593"/>
                  <a:pt x="1840" y="590"/>
                  <a:pt x="1840" y="587"/>
                </a:cubicBezTo>
                <a:cubicBezTo>
                  <a:pt x="1840" y="583"/>
                  <a:pt x="1837" y="580"/>
                  <a:pt x="1833" y="580"/>
                </a:cubicBezTo>
                <a:close/>
                <a:moveTo>
                  <a:pt x="1611" y="601"/>
                </a:moveTo>
                <a:cubicBezTo>
                  <a:pt x="1607" y="601"/>
                  <a:pt x="1603" y="604"/>
                  <a:pt x="1603" y="608"/>
                </a:cubicBezTo>
                <a:cubicBezTo>
                  <a:pt x="1603" y="612"/>
                  <a:pt x="1607" y="615"/>
                  <a:pt x="1611" y="615"/>
                </a:cubicBezTo>
                <a:cubicBezTo>
                  <a:pt x="1615" y="615"/>
                  <a:pt x="1619" y="612"/>
                  <a:pt x="1619" y="608"/>
                </a:cubicBezTo>
                <a:cubicBezTo>
                  <a:pt x="1619" y="604"/>
                  <a:pt x="1615" y="601"/>
                  <a:pt x="1611" y="601"/>
                </a:cubicBezTo>
                <a:close/>
                <a:moveTo>
                  <a:pt x="1633" y="601"/>
                </a:moveTo>
                <a:cubicBezTo>
                  <a:pt x="1629" y="601"/>
                  <a:pt x="1625" y="604"/>
                  <a:pt x="1625" y="608"/>
                </a:cubicBezTo>
                <a:cubicBezTo>
                  <a:pt x="1625" y="612"/>
                  <a:pt x="1629" y="615"/>
                  <a:pt x="1633" y="615"/>
                </a:cubicBezTo>
                <a:cubicBezTo>
                  <a:pt x="1637" y="615"/>
                  <a:pt x="1641" y="612"/>
                  <a:pt x="1641" y="608"/>
                </a:cubicBezTo>
                <a:cubicBezTo>
                  <a:pt x="1641" y="604"/>
                  <a:pt x="1637" y="601"/>
                  <a:pt x="1633" y="601"/>
                </a:cubicBezTo>
                <a:close/>
                <a:moveTo>
                  <a:pt x="1655" y="601"/>
                </a:moveTo>
                <a:cubicBezTo>
                  <a:pt x="1651" y="601"/>
                  <a:pt x="1648" y="604"/>
                  <a:pt x="1648" y="608"/>
                </a:cubicBezTo>
                <a:cubicBezTo>
                  <a:pt x="1648" y="612"/>
                  <a:pt x="1651" y="615"/>
                  <a:pt x="1655" y="615"/>
                </a:cubicBezTo>
                <a:cubicBezTo>
                  <a:pt x="1659" y="615"/>
                  <a:pt x="1662" y="612"/>
                  <a:pt x="1662" y="608"/>
                </a:cubicBezTo>
                <a:cubicBezTo>
                  <a:pt x="1662" y="604"/>
                  <a:pt x="1659" y="601"/>
                  <a:pt x="1655" y="601"/>
                </a:cubicBezTo>
                <a:close/>
                <a:moveTo>
                  <a:pt x="1633" y="620"/>
                </a:moveTo>
                <a:cubicBezTo>
                  <a:pt x="1629" y="620"/>
                  <a:pt x="1625" y="623"/>
                  <a:pt x="1625" y="627"/>
                </a:cubicBezTo>
                <a:cubicBezTo>
                  <a:pt x="1625" y="631"/>
                  <a:pt x="1629" y="634"/>
                  <a:pt x="1633" y="634"/>
                </a:cubicBezTo>
                <a:cubicBezTo>
                  <a:pt x="1637" y="634"/>
                  <a:pt x="1641" y="631"/>
                  <a:pt x="1641" y="627"/>
                </a:cubicBezTo>
                <a:cubicBezTo>
                  <a:pt x="1641" y="623"/>
                  <a:pt x="1637" y="620"/>
                  <a:pt x="1633" y="620"/>
                </a:cubicBezTo>
                <a:close/>
                <a:moveTo>
                  <a:pt x="1655" y="620"/>
                </a:moveTo>
                <a:cubicBezTo>
                  <a:pt x="1651" y="620"/>
                  <a:pt x="1648" y="623"/>
                  <a:pt x="1648" y="627"/>
                </a:cubicBezTo>
                <a:cubicBezTo>
                  <a:pt x="1648" y="631"/>
                  <a:pt x="1651" y="634"/>
                  <a:pt x="1655" y="634"/>
                </a:cubicBezTo>
                <a:cubicBezTo>
                  <a:pt x="1659" y="634"/>
                  <a:pt x="1662" y="631"/>
                  <a:pt x="1662" y="627"/>
                </a:cubicBezTo>
                <a:cubicBezTo>
                  <a:pt x="1662" y="623"/>
                  <a:pt x="1659" y="620"/>
                  <a:pt x="1655" y="620"/>
                </a:cubicBezTo>
                <a:close/>
                <a:moveTo>
                  <a:pt x="1633" y="640"/>
                </a:moveTo>
                <a:cubicBezTo>
                  <a:pt x="1629" y="640"/>
                  <a:pt x="1625" y="643"/>
                  <a:pt x="1625" y="647"/>
                </a:cubicBezTo>
                <a:cubicBezTo>
                  <a:pt x="1625" y="650"/>
                  <a:pt x="1629" y="653"/>
                  <a:pt x="1633" y="653"/>
                </a:cubicBezTo>
                <a:cubicBezTo>
                  <a:pt x="1637" y="653"/>
                  <a:pt x="1641" y="650"/>
                  <a:pt x="1641" y="647"/>
                </a:cubicBezTo>
                <a:cubicBezTo>
                  <a:pt x="1641" y="643"/>
                  <a:pt x="1637" y="640"/>
                  <a:pt x="1633" y="640"/>
                </a:cubicBezTo>
                <a:close/>
                <a:moveTo>
                  <a:pt x="1655" y="640"/>
                </a:moveTo>
                <a:cubicBezTo>
                  <a:pt x="1651" y="640"/>
                  <a:pt x="1648" y="643"/>
                  <a:pt x="1648" y="647"/>
                </a:cubicBezTo>
                <a:cubicBezTo>
                  <a:pt x="1648" y="650"/>
                  <a:pt x="1651" y="653"/>
                  <a:pt x="1655" y="653"/>
                </a:cubicBezTo>
                <a:cubicBezTo>
                  <a:pt x="1659" y="653"/>
                  <a:pt x="1662" y="650"/>
                  <a:pt x="1662" y="647"/>
                </a:cubicBezTo>
                <a:cubicBezTo>
                  <a:pt x="1662" y="643"/>
                  <a:pt x="1659" y="640"/>
                  <a:pt x="1655" y="640"/>
                </a:cubicBezTo>
                <a:close/>
                <a:moveTo>
                  <a:pt x="1633" y="659"/>
                </a:moveTo>
                <a:cubicBezTo>
                  <a:pt x="1629" y="659"/>
                  <a:pt x="1625" y="662"/>
                  <a:pt x="1625" y="666"/>
                </a:cubicBezTo>
                <a:cubicBezTo>
                  <a:pt x="1625" y="670"/>
                  <a:pt x="1629" y="673"/>
                  <a:pt x="1633" y="673"/>
                </a:cubicBezTo>
                <a:cubicBezTo>
                  <a:pt x="1637" y="673"/>
                  <a:pt x="1641" y="670"/>
                  <a:pt x="1641" y="666"/>
                </a:cubicBezTo>
                <a:cubicBezTo>
                  <a:pt x="1641" y="662"/>
                  <a:pt x="1637" y="659"/>
                  <a:pt x="1633" y="659"/>
                </a:cubicBezTo>
                <a:close/>
                <a:moveTo>
                  <a:pt x="1655" y="659"/>
                </a:moveTo>
                <a:cubicBezTo>
                  <a:pt x="1651" y="659"/>
                  <a:pt x="1648" y="662"/>
                  <a:pt x="1648" y="666"/>
                </a:cubicBezTo>
                <a:cubicBezTo>
                  <a:pt x="1648" y="670"/>
                  <a:pt x="1651" y="673"/>
                  <a:pt x="1655" y="673"/>
                </a:cubicBezTo>
                <a:cubicBezTo>
                  <a:pt x="1659" y="673"/>
                  <a:pt x="1662" y="670"/>
                  <a:pt x="1662" y="666"/>
                </a:cubicBezTo>
                <a:cubicBezTo>
                  <a:pt x="1662" y="662"/>
                  <a:pt x="1659" y="659"/>
                  <a:pt x="1655" y="659"/>
                </a:cubicBezTo>
                <a:close/>
                <a:moveTo>
                  <a:pt x="1655" y="679"/>
                </a:moveTo>
                <a:cubicBezTo>
                  <a:pt x="1651" y="679"/>
                  <a:pt x="1648" y="682"/>
                  <a:pt x="1648" y="686"/>
                </a:cubicBezTo>
                <a:cubicBezTo>
                  <a:pt x="1648" y="689"/>
                  <a:pt x="1651" y="692"/>
                  <a:pt x="1655" y="692"/>
                </a:cubicBezTo>
                <a:cubicBezTo>
                  <a:pt x="1659" y="692"/>
                  <a:pt x="1662" y="689"/>
                  <a:pt x="1662" y="686"/>
                </a:cubicBezTo>
                <a:cubicBezTo>
                  <a:pt x="1662" y="682"/>
                  <a:pt x="1659" y="679"/>
                  <a:pt x="1655" y="679"/>
                </a:cubicBezTo>
                <a:close/>
                <a:moveTo>
                  <a:pt x="1677" y="601"/>
                </a:moveTo>
                <a:cubicBezTo>
                  <a:pt x="1673" y="601"/>
                  <a:pt x="1670" y="604"/>
                  <a:pt x="1670" y="608"/>
                </a:cubicBezTo>
                <a:cubicBezTo>
                  <a:pt x="1670" y="612"/>
                  <a:pt x="1673" y="615"/>
                  <a:pt x="1677" y="615"/>
                </a:cubicBezTo>
                <a:cubicBezTo>
                  <a:pt x="1682" y="615"/>
                  <a:pt x="1685" y="612"/>
                  <a:pt x="1685" y="608"/>
                </a:cubicBezTo>
                <a:cubicBezTo>
                  <a:pt x="1685" y="604"/>
                  <a:pt x="1682" y="601"/>
                  <a:pt x="1677" y="601"/>
                </a:cubicBezTo>
                <a:close/>
                <a:moveTo>
                  <a:pt x="1700" y="601"/>
                </a:moveTo>
                <a:cubicBezTo>
                  <a:pt x="1696" y="601"/>
                  <a:pt x="1692" y="604"/>
                  <a:pt x="1692" y="608"/>
                </a:cubicBezTo>
                <a:cubicBezTo>
                  <a:pt x="1692" y="612"/>
                  <a:pt x="1696" y="615"/>
                  <a:pt x="1700" y="615"/>
                </a:cubicBezTo>
                <a:cubicBezTo>
                  <a:pt x="1704" y="615"/>
                  <a:pt x="1708" y="612"/>
                  <a:pt x="1708" y="608"/>
                </a:cubicBezTo>
                <a:cubicBezTo>
                  <a:pt x="1708" y="604"/>
                  <a:pt x="1704" y="601"/>
                  <a:pt x="1700" y="601"/>
                </a:cubicBezTo>
                <a:close/>
                <a:moveTo>
                  <a:pt x="1677" y="620"/>
                </a:moveTo>
                <a:cubicBezTo>
                  <a:pt x="1673" y="620"/>
                  <a:pt x="1670" y="623"/>
                  <a:pt x="1670" y="627"/>
                </a:cubicBezTo>
                <a:cubicBezTo>
                  <a:pt x="1670" y="631"/>
                  <a:pt x="1673" y="634"/>
                  <a:pt x="1677" y="634"/>
                </a:cubicBezTo>
                <a:cubicBezTo>
                  <a:pt x="1682" y="634"/>
                  <a:pt x="1685" y="631"/>
                  <a:pt x="1685" y="627"/>
                </a:cubicBezTo>
                <a:cubicBezTo>
                  <a:pt x="1685" y="623"/>
                  <a:pt x="1682" y="620"/>
                  <a:pt x="1677" y="620"/>
                </a:cubicBezTo>
                <a:close/>
                <a:moveTo>
                  <a:pt x="1766" y="601"/>
                </a:moveTo>
                <a:cubicBezTo>
                  <a:pt x="1762" y="601"/>
                  <a:pt x="1759" y="604"/>
                  <a:pt x="1759" y="608"/>
                </a:cubicBezTo>
                <a:cubicBezTo>
                  <a:pt x="1759" y="612"/>
                  <a:pt x="1762" y="615"/>
                  <a:pt x="1766" y="615"/>
                </a:cubicBezTo>
                <a:cubicBezTo>
                  <a:pt x="1770" y="615"/>
                  <a:pt x="1774" y="612"/>
                  <a:pt x="1774" y="608"/>
                </a:cubicBezTo>
                <a:cubicBezTo>
                  <a:pt x="1774" y="604"/>
                  <a:pt x="1770" y="601"/>
                  <a:pt x="1766" y="601"/>
                </a:cubicBezTo>
                <a:close/>
                <a:moveTo>
                  <a:pt x="1789" y="601"/>
                </a:moveTo>
                <a:cubicBezTo>
                  <a:pt x="1784" y="601"/>
                  <a:pt x="1781" y="604"/>
                  <a:pt x="1781" y="608"/>
                </a:cubicBezTo>
                <a:cubicBezTo>
                  <a:pt x="1781" y="612"/>
                  <a:pt x="1784" y="615"/>
                  <a:pt x="1789" y="615"/>
                </a:cubicBezTo>
                <a:cubicBezTo>
                  <a:pt x="1793" y="615"/>
                  <a:pt x="1796" y="612"/>
                  <a:pt x="1796" y="608"/>
                </a:cubicBezTo>
                <a:cubicBezTo>
                  <a:pt x="1796" y="604"/>
                  <a:pt x="1793" y="601"/>
                  <a:pt x="1789" y="601"/>
                </a:cubicBezTo>
                <a:close/>
                <a:moveTo>
                  <a:pt x="1766" y="620"/>
                </a:moveTo>
                <a:cubicBezTo>
                  <a:pt x="1762" y="620"/>
                  <a:pt x="1759" y="623"/>
                  <a:pt x="1759" y="627"/>
                </a:cubicBezTo>
                <a:cubicBezTo>
                  <a:pt x="1759" y="631"/>
                  <a:pt x="1762" y="634"/>
                  <a:pt x="1766" y="634"/>
                </a:cubicBezTo>
                <a:cubicBezTo>
                  <a:pt x="1770" y="634"/>
                  <a:pt x="1774" y="631"/>
                  <a:pt x="1774" y="627"/>
                </a:cubicBezTo>
                <a:cubicBezTo>
                  <a:pt x="1774" y="623"/>
                  <a:pt x="1770" y="620"/>
                  <a:pt x="1766" y="620"/>
                </a:cubicBezTo>
                <a:close/>
                <a:moveTo>
                  <a:pt x="1789" y="620"/>
                </a:moveTo>
                <a:cubicBezTo>
                  <a:pt x="1784" y="620"/>
                  <a:pt x="1781" y="623"/>
                  <a:pt x="1781" y="627"/>
                </a:cubicBezTo>
                <a:cubicBezTo>
                  <a:pt x="1781" y="631"/>
                  <a:pt x="1784" y="634"/>
                  <a:pt x="1789" y="634"/>
                </a:cubicBezTo>
                <a:cubicBezTo>
                  <a:pt x="1793" y="634"/>
                  <a:pt x="1796" y="631"/>
                  <a:pt x="1796" y="627"/>
                </a:cubicBezTo>
                <a:cubicBezTo>
                  <a:pt x="1796" y="623"/>
                  <a:pt x="1793" y="620"/>
                  <a:pt x="1789" y="620"/>
                </a:cubicBezTo>
                <a:close/>
                <a:moveTo>
                  <a:pt x="1789" y="640"/>
                </a:moveTo>
                <a:cubicBezTo>
                  <a:pt x="1784" y="640"/>
                  <a:pt x="1781" y="643"/>
                  <a:pt x="1781" y="647"/>
                </a:cubicBezTo>
                <a:cubicBezTo>
                  <a:pt x="1781" y="650"/>
                  <a:pt x="1784" y="653"/>
                  <a:pt x="1789" y="653"/>
                </a:cubicBezTo>
                <a:cubicBezTo>
                  <a:pt x="1793" y="653"/>
                  <a:pt x="1796" y="650"/>
                  <a:pt x="1796" y="647"/>
                </a:cubicBezTo>
                <a:cubicBezTo>
                  <a:pt x="1796" y="643"/>
                  <a:pt x="1793" y="640"/>
                  <a:pt x="1789" y="640"/>
                </a:cubicBezTo>
                <a:close/>
                <a:moveTo>
                  <a:pt x="1789" y="659"/>
                </a:moveTo>
                <a:cubicBezTo>
                  <a:pt x="1784" y="659"/>
                  <a:pt x="1781" y="662"/>
                  <a:pt x="1781" y="666"/>
                </a:cubicBezTo>
                <a:cubicBezTo>
                  <a:pt x="1781" y="670"/>
                  <a:pt x="1784" y="673"/>
                  <a:pt x="1789" y="673"/>
                </a:cubicBezTo>
                <a:cubicBezTo>
                  <a:pt x="1793" y="673"/>
                  <a:pt x="1796" y="670"/>
                  <a:pt x="1796" y="666"/>
                </a:cubicBezTo>
                <a:cubicBezTo>
                  <a:pt x="1796" y="662"/>
                  <a:pt x="1793" y="659"/>
                  <a:pt x="1789" y="659"/>
                </a:cubicBezTo>
                <a:close/>
                <a:moveTo>
                  <a:pt x="1789" y="679"/>
                </a:moveTo>
                <a:cubicBezTo>
                  <a:pt x="1784" y="679"/>
                  <a:pt x="1781" y="682"/>
                  <a:pt x="1781" y="686"/>
                </a:cubicBezTo>
                <a:cubicBezTo>
                  <a:pt x="1781" y="689"/>
                  <a:pt x="1784" y="692"/>
                  <a:pt x="1789" y="692"/>
                </a:cubicBezTo>
                <a:cubicBezTo>
                  <a:pt x="1793" y="692"/>
                  <a:pt x="1796" y="689"/>
                  <a:pt x="1796" y="686"/>
                </a:cubicBezTo>
                <a:cubicBezTo>
                  <a:pt x="1796" y="682"/>
                  <a:pt x="1793" y="679"/>
                  <a:pt x="1789" y="679"/>
                </a:cubicBezTo>
                <a:close/>
                <a:moveTo>
                  <a:pt x="1789" y="698"/>
                </a:moveTo>
                <a:cubicBezTo>
                  <a:pt x="1784" y="698"/>
                  <a:pt x="1781" y="701"/>
                  <a:pt x="1781" y="705"/>
                </a:cubicBezTo>
                <a:cubicBezTo>
                  <a:pt x="1781" y="708"/>
                  <a:pt x="1784" y="711"/>
                  <a:pt x="1789" y="711"/>
                </a:cubicBezTo>
                <a:cubicBezTo>
                  <a:pt x="1793" y="711"/>
                  <a:pt x="1796" y="708"/>
                  <a:pt x="1796" y="705"/>
                </a:cubicBezTo>
                <a:cubicBezTo>
                  <a:pt x="1796" y="701"/>
                  <a:pt x="1793" y="698"/>
                  <a:pt x="1789" y="698"/>
                </a:cubicBezTo>
                <a:close/>
                <a:moveTo>
                  <a:pt x="1811" y="601"/>
                </a:moveTo>
                <a:cubicBezTo>
                  <a:pt x="1806" y="601"/>
                  <a:pt x="1803" y="604"/>
                  <a:pt x="1803" y="608"/>
                </a:cubicBezTo>
                <a:cubicBezTo>
                  <a:pt x="1803" y="612"/>
                  <a:pt x="1806" y="615"/>
                  <a:pt x="1811" y="615"/>
                </a:cubicBezTo>
                <a:cubicBezTo>
                  <a:pt x="1815" y="615"/>
                  <a:pt x="1818" y="612"/>
                  <a:pt x="1818" y="608"/>
                </a:cubicBezTo>
                <a:cubicBezTo>
                  <a:pt x="1818" y="604"/>
                  <a:pt x="1815" y="601"/>
                  <a:pt x="1811" y="601"/>
                </a:cubicBezTo>
                <a:close/>
                <a:moveTo>
                  <a:pt x="1833" y="601"/>
                </a:moveTo>
                <a:cubicBezTo>
                  <a:pt x="1828" y="601"/>
                  <a:pt x="1825" y="604"/>
                  <a:pt x="1825" y="608"/>
                </a:cubicBezTo>
                <a:cubicBezTo>
                  <a:pt x="1825" y="612"/>
                  <a:pt x="1828" y="615"/>
                  <a:pt x="1833" y="615"/>
                </a:cubicBezTo>
                <a:cubicBezTo>
                  <a:pt x="1837" y="615"/>
                  <a:pt x="1840" y="612"/>
                  <a:pt x="1840" y="608"/>
                </a:cubicBezTo>
                <a:cubicBezTo>
                  <a:pt x="1840" y="604"/>
                  <a:pt x="1837" y="601"/>
                  <a:pt x="1833" y="601"/>
                </a:cubicBezTo>
                <a:close/>
                <a:moveTo>
                  <a:pt x="1811" y="620"/>
                </a:moveTo>
                <a:cubicBezTo>
                  <a:pt x="1806" y="620"/>
                  <a:pt x="1803" y="623"/>
                  <a:pt x="1803" y="627"/>
                </a:cubicBezTo>
                <a:cubicBezTo>
                  <a:pt x="1803" y="631"/>
                  <a:pt x="1806" y="634"/>
                  <a:pt x="1811" y="634"/>
                </a:cubicBezTo>
                <a:cubicBezTo>
                  <a:pt x="1815" y="634"/>
                  <a:pt x="1818" y="631"/>
                  <a:pt x="1818" y="627"/>
                </a:cubicBezTo>
                <a:cubicBezTo>
                  <a:pt x="1818" y="623"/>
                  <a:pt x="1815" y="620"/>
                  <a:pt x="1811" y="620"/>
                </a:cubicBezTo>
                <a:close/>
                <a:moveTo>
                  <a:pt x="1833" y="620"/>
                </a:moveTo>
                <a:cubicBezTo>
                  <a:pt x="1828" y="620"/>
                  <a:pt x="1825" y="623"/>
                  <a:pt x="1825" y="627"/>
                </a:cubicBezTo>
                <a:cubicBezTo>
                  <a:pt x="1825" y="631"/>
                  <a:pt x="1828" y="634"/>
                  <a:pt x="1833" y="634"/>
                </a:cubicBezTo>
                <a:cubicBezTo>
                  <a:pt x="1837" y="634"/>
                  <a:pt x="1840" y="631"/>
                  <a:pt x="1840" y="627"/>
                </a:cubicBezTo>
                <a:cubicBezTo>
                  <a:pt x="1840" y="623"/>
                  <a:pt x="1837" y="620"/>
                  <a:pt x="1833" y="620"/>
                </a:cubicBezTo>
                <a:close/>
                <a:moveTo>
                  <a:pt x="1811" y="640"/>
                </a:moveTo>
                <a:cubicBezTo>
                  <a:pt x="1806" y="640"/>
                  <a:pt x="1803" y="643"/>
                  <a:pt x="1803" y="647"/>
                </a:cubicBezTo>
                <a:cubicBezTo>
                  <a:pt x="1803" y="650"/>
                  <a:pt x="1806" y="653"/>
                  <a:pt x="1811" y="653"/>
                </a:cubicBezTo>
                <a:cubicBezTo>
                  <a:pt x="1815" y="653"/>
                  <a:pt x="1818" y="650"/>
                  <a:pt x="1818" y="647"/>
                </a:cubicBezTo>
                <a:cubicBezTo>
                  <a:pt x="1818" y="643"/>
                  <a:pt x="1815" y="640"/>
                  <a:pt x="1811" y="640"/>
                </a:cubicBezTo>
                <a:close/>
                <a:moveTo>
                  <a:pt x="1833" y="640"/>
                </a:moveTo>
                <a:cubicBezTo>
                  <a:pt x="1828" y="640"/>
                  <a:pt x="1825" y="643"/>
                  <a:pt x="1825" y="647"/>
                </a:cubicBezTo>
                <a:cubicBezTo>
                  <a:pt x="1825" y="650"/>
                  <a:pt x="1828" y="653"/>
                  <a:pt x="1833" y="653"/>
                </a:cubicBezTo>
                <a:cubicBezTo>
                  <a:pt x="1837" y="653"/>
                  <a:pt x="1840" y="650"/>
                  <a:pt x="1840" y="647"/>
                </a:cubicBezTo>
                <a:cubicBezTo>
                  <a:pt x="1840" y="643"/>
                  <a:pt x="1837" y="640"/>
                  <a:pt x="1833" y="640"/>
                </a:cubicBezTo>
                <a:close/>
                <a:moveTo>
                  <a:pt x="1833" y="659"/>
                </a:moveTo>
                <a:cubicBezTo>
                  <a:pt x="1828" y="659"/>
                  <a:pt x="1825" y="662"/>
                  <a:pt x="1825" y="666"/>
                </a:cubicBezTo>
                <a:cubicBezTo>
                  <a:pt x="1825" y="670"/>
                  <a:pt x="1828" y="673"/>
                  <a:pt x="1833" y="673"/>
                </a:cubicBezTo>
                <a:cubicBezTo>
                  <a:pt x="1837" y="673"/>
                  <a:pt x="1840" y="670"/>
                  <a:pt x="1840" y="666"/>
                </a:cubicBezTo>
                <a:cubicBezTo>
                  <a:pt x="1840" y="662"/>
                  <a:pt x="1837" y="659"/>
                  <a:pt x="1833" y="659"/>
                </a:cubicBezTo>
                <a:close/>
                <a:moveTo>
                  <a:pt x="1833" y="679"/>
                </a:moveTo>
                <a:cubicBezTo>
                  <a:pt x="1828" y="679"/>
                  <a:pt x="1825" y="682"/>
                  <a:pt x="1825" y="686"/>
                </a:cubicBezTo>
                <a:cubicBezTo>
                  <a:pt x="1825" y="689"/>
                  <a:pt x="1828" y="692"/>
                  <a:pt x="1833" y="692"/>
                </a:cubicBezTo>
                <a:cubicBezTo>
                  <a:pt x="1837" y="692"/>
                  <a:pt x="1840" y="689"/>
                  <a:pt x="1840" y="686"/>
                </a:cubicBezTo>
                <a:cubicBezTo>
                  <a:pt x="1840" y="682"/>
                  <a:pt x="1837" y="679"/>
                  <a:pt x="1833" y="679"/>
                </a:cubicBezTo>
                <a:close/>
                <a:moveTo>
                  <a:pt x="1811" y="717"/>
                </a:moveTo>
                <a:cubicBezTo>
                  <a:pt x="1806" y="717"/>
                  <a:pt x="1803" y="720"/>
                  <a:pt x="1803" y="724"/>
                </a:cubicBezTo>
                <a:cubicBezTo>
                  <a:pt x="1803" y="727"/>
                  <a:pt x="1806" y="730"/>
                  <a:pt x="1811" y="730"/>
                </a:cubicBezTo>
                <a:cubicBezTo>
                  <a:pt x="1815" y="730"/>
                  <a:pt x="1818" y="727"/>
                  <a:pt x="1818" y="724"/>
                </a:cubicBezTo>
                <a:cubicBezTo>
                  <a:pt x="1818" y="720"/>
                  <a:pt x="1815" y="717"/>
                  <a:pt x="1811" y="717"/>
                </a:cubicBezTo>
                <a:close/>
                <a:moveTo>
                  <a:pt x="1811" y="736"/>
                </a:moveTo>
                <a:cubicBezTo>
                  <a:pt x="1806" y="736"/>
                  <a:pt x="1803" y="739"/>
                  <a:pt x="1803" y="743"/>
                </a:cubicBezTo>
                <a:cubicBezTo>
                  <a:pt x="1803" y="747"/>
                  <a:pt x="1806" y="750"/>
                  <a:pt x="1811" y="750"/>
                </a:cubicBezTo>
                <a:cubicBezTo>
                  <a:pt x="1815" y="750"/>
                  <a:pt x="1818" y="747"/>
                  <a:pt x="1818" y="743"/>
                </a:cubicBezTo>
                <a:cubicBezTo>
                  <a:pt x="1818" y="739"/>
                  <a:pt x="1815" y="736"/>
                  <a:pt x="1811" y="736"/>
                </a:cubicBezTo>
                <a:close/>
                <a:moveTo>
                  <a:pt x="1811" y="756"/>
                </a:moveTo>
                <a:cubicBezTo>
                  <a:pt x="1806" y="756"/>
                  <a:pt x="1803" y="759"/>
                  <a:pt x="1803" y="762"/>
                </a:cubicBezTo>
                <a:cubicBezTo>
                  <a:pt x="1803" y="766"/>
                  <a:pt x="1806" y="769"/>
                  <a:pt x="1811" y="769"/>
                </a:cubicBezTo>
                <a:cubicBezTo>
                  <a:pt x="1815" y="769"/>
                  <a:pt x="1818" y="766"/>
                  <a:pt x="1818" y="762"/>
                </a:cubicBezTo>
                <a:cubicBezTo>
                  <a:pt x="1818" y="759"/>
                  <a:pt x="1815" y="756"/>
                  <a:pt x="1811" y="756"/>
                </a:cubicBezTo>
                <a:close/>
                <a:moveTo>
                  <a:pt x="1833" y="757"/>
                </a:moveTo>
                <a:cubicBezTo>
                  <a:pt x="1828" y="757"/>
                  <a:pt x="1825" y="759"/>
                  <a:pt x="1825" y="763"/>
                </a:cubicBezTo>
                <a:cubicBezTo>
                  <a:pt x="1825" y="766"/>
                  <a:pt x="1828" y="769"/>
                  <a:pt x="1833" y="769"/>
                </a:cubicBezTo>
                <a:cubicBezTo>
                  <a:pt x="1837" y="769"/>
                  <a:pt x="1840" y="766"/>
                  <a:pt x="1840" y="763"/>
                </a:cubicBezTo>
                <a:cubicBezTo>
                  <a:pt x="1840" y="759"/>
                  <a:pt x="1837" y="757"/>
                  <a:pt x="1833" y="757"/>
                </a:cubicBezTo>
                <a:close/>
                <a:moveTo>
                  <a:pt x="1833" y="775"/>
                </a:moveTo>
                <a:cubicBezTo>
                  <a:pt x="1828" y="775"/>
                  <a:pt x="1825" y="778"/>
                  <a:pt x="1825" y="782"/>
                </a:cubicBezTo>
                <a:cubicBezTo>
                  <a:pt x="1825" y="786"/>
                  <a:pt x="1828" y="789"/>
                  <a:pt x="1833" y="789"/>
                </a:cubicBezTo>
                <a:cubicBezTo>
                  <a:pt x="1837" y="789"/>
                  <a:pt x="1840" y="786"/>
                  <a:pt x="1840" y="782"/>
                </a:cubicBezTo>
                <a:cubicBezTo>
                  <a:pt x="1840" y="778"/>
                  <a:pt x="1837" y="775"/>
                  <a:pt x="1833" y="775"/>
                </a:cubicBezTo>
                <a:close/>
                <a:moveTo>
                  <a:pt x="1833" y="78"/>
                </a:moveTo>
                <a:cubicBezTo>
                  <a:pt x="1828" y="78"/>
                  <a:pt x="1825" y="81"/>
                  <a:pt x="1825" y="85"/>
                </a:cubicBezTo>
                <a:cubicBezTo>
                  <a:pt x="1825" y="88"/>
                  <a:pt x="1828" y="91"/>
                  <a:pt x="1833" y="91"/>
                </a:cubicBezTo>
                <a:cubicBezTo>
                  <a:pt x="1837" y="91"/>
                  <a:pt x="1840" y="88"/>
                  <a:pt x="1840" y="85"/>
                </a:cubicBezTo>
                <a:cubicBezTo>
                  <a:pt x="1840" y="81"/>
                  <a:pt x="1837" y="78"/>
                  <a:pt x="1833" y="78"/>
                </a:cubicBezTo>
                <a:close/>
                <a:moveTo>
                  <a:pt x="1833" y="97"/>
                </a:moveTo>
                <a:cubicBezTo>
                  <a:pt x="1828" y="97"/>
                  <a:pt x="1825" y="100"/>
                  <a:pt x="1825" y="104"/>
                </a:cubicBezTo>
                <a:cubicBezTo>
                  <a:pt x="1825" y="107"/>
                  <a:pt x="1828" y="110"/>
                  <a:pt x="1833" y="110"/>
                </a:cubicBezTo>
                <a:cubicBezTo>
                  <a:pt x="1837" y="110"/>
                  <a:pt x="1840" y="107"/>
                  <a:pt x="1840" y="104"/>
                </a:cubicBezTo>
                <a:cubicBezTo>
                  <a:pt x="1840" y="100"/>
                  <a:pt x="1837" y="97"/>
                  <a:pt x="1833" y="97"/>
                </a:cubicBezTo>
                <a:close/>
                <a:moveTo>
                  <a:pt x="1833" y="116"/>
                </a:moveTo>
                <a:cubicBezTo>
                  <a:pt x="1828" y="116"/>
                  <a:pt x="1825" y="119"/>
                  <a:pt x="1825" y="123"/>
                </a:cubicBezTo>
                <a:cubicBezTo>
                  <a:pt x="1825" y="127"/>
                  <a:pt x="1828" y="130"/>
                  <a:pt x="1833" y="130"/>
                </a:cubicBezTo>
                <a:cubicBezTo>
                  <a:pt x="1837" y="130"/>
                  <a:pt x="1840" y="127"/>
                  <a:pt x="1840" y="123"/>
                </a:cubicBezTo>
                <a:cubicBezTo>
                  <a:pt x="1840" y="119"/>
                  <a:pt x="1837" y="116"/>
                  <a:pt x="1833" y="116"/>
                </a:cubicBezTo>
                <a:close/>
                <a:moveTo>
                  <a:pt x="1855" y="97"/>
                </a:moveTo>
                <a:cubicBezTo>
                  <a:pt x="1851" y="97"/>
                  <a:pt x="1847" y="100"/>
                  <a:pt x="1847" y="104"/>
                </a:cubicBezTo>
                <a:cubicBezTo>
                  <a:pt x="1847" y="107"/>
                  <a:pt x="1851" y="110"/>
                  <a:pt x="1855" y="110"/>
                </a:cubicBezTo>
                <a:cubicBezTo>
                  <a:pt x="1859" y="110"/>
                  <a:pt x="1863" y="107"/>
                  <a:pt x="1863" y="104"/>
                </a:cubicBezTo>
                <a:cubicBezTo>
                  <a:pt x="1863" y="100"/>
                  <a:pt x="1859" y="97"/>
                  <a:pt x="1855" y="97"/>
                </a:cubicBezTo>
                <a:close/>
                <a:moveTo>
                  <a:pt x="1877" y="97"/>
                </a:moveTo>
                <a:cubicBezTo>
                  <a:pt x="1873" y="97"/>
                  <a:pt x="1870" y="100"/>
                  <a:pt x="1870" y="104"/>
                </a:cubicBezTo>
                <a:cubicBezTo>
                  <a:pt x="1870" y="107"/>
                  <a:pt x="1873" y="110"/>
                  <a:pt x="1877" y="110"/>
                </a:cubicBezTo>
                <a:cubicBezTo>
                  <a:pt x="1882" y="110"/>
                  <a:pt x="1885" y="107"/>
                  <a:pt x="1885" y="104"/>
                </a:cubicBezTo>
                <a:cubicBezTo>
                  <a:pt x="1885" y="100"/>
                  <a:pt x="1882" y="97"/>
                  <a:pt x="1877" y="97"/>
                </a:cubicBezTo>
                <a:close/>
                <a:moveTo>
                  <a:pt x="1855" y="116"/>
                </a:moveTo>
                <a:cubicBezTo>
                  <a:pt x="1851" y="116"/>
                  <a:pt x="1847" y="119"/>
                  <a:pt x="1847" y="123"/>
                </a:cubicBezTo>
                <a:cubicBezTo>
                  <a:pt x="1847" y="127"/>
                  <a:pt x="1851" y="130"/>
                  <a:pt x="1855" y="130"/>
                </a:cubicBezTo>
                <a:cubicBezTo>
                  <a:pt x="1859" y="130"/>
                  <a:pt x="1863" y="127"/>
                  <a:pt x="1863" y="123"/>
                </a:cubicBezTo>
                <a:cubicBezTo>
                  <a:pt x="1863" y="119"/>
                  <a:pt x="1859" y="116"/>
                  <a:pt x="1855" y="116"/>
                </a:cubicBezTo>
                <a:close/>
                <a:moveTo>
                  <a:pt x="1877" y="116"/>
                </a:moveTo>
                <a:cubicBezTo>
                  <a:pt x="1873" y="116"/>
                  <a:pt x="1870" y="119"/>
                  <a:pt x="1870" y="123"/>
                </a:cubicBezTo>
                <a:cubicBezTo>
                  <a:pt x="1870" y="127"/>
                  <a:pt x="1873" y="130"/>
                  <a:pt x="1877" y="130"/>
                </a:cubicBezTo>
                <a:cubicBezTo>
                  <a:pt x="1882" y="130"/>
                  <a:pt x="1885" y="127"/>
                  <a:pt x="1885" y="123"/>
                </a:cubicBezTo>
                <a:cubicBezTo>
                  <a:pt x="1885" y="119"/>
                  <a:pt x="1882" y="116"/>
                  <a:pt x="1877" y="116"/>
                </a:cubicBezTo>
                <a:close/>
                <a:moveTo>
                  <a:pt x="1833" y="136"/>
                </a:moveTo>
                <a:cubicBezTo>
                  <a:pt x="1828" y="136"/>
                  <a:pt x="1825" y="139"/>
                  <a:pt x="1825" y="143"/>
                </a:cubicBezTo>
                <a:cubicBezTo>
                  <a:pt x="1825" y="146"/>
                  <a:pt x="1828" y="149"/>
                  <a:pt x="1833" y="149"/>
                </a:cubicBezTo>
                <a:cubicBezTo>
                  <a:pt x="1837" y="149"/>
                  <a:pt x="1840" y="146"/>
                  <a:pt x="1840" y="143"/>
                </a:cubicBezTo>
                <a:cubicBezTo>
                  <a:pt x="1840" y="139"/>
                  <a:pt x="1837" y="136"/>
                  <a:pt x="1833" y="136"/>
                </a:cubicBezTo>
                <a:close/>
                <a:moveTo>
                  <a:pt x="1833" y="155"/>
                </a:moveTo>
                <a:cubicBezTo>
                  <a:pt x="1828" y="155"/>
                  <a:pt x="1825" y="158"/>
                  <a:pt x="1825" y="162"/>
                </a:cubicBezTo>
                <a:cubicBezTo>
                  <a:pt x="1825" y="166"/>
                  <a:pt x="1828" y="169"/>
                  <a:pt x="1833" y="169"/>
                </a:cubicBezTo>
                <a:cubicBezTo>
                  <a:pt x="1837" y="169"/>
                  <a:pt x="1840" y="166"/>
                  <a:pt x="1840" y="162"/>
                </a:cubicBezTo>
                <a:cubicBezTo>
                  <a:pt x="1840" y="158"/>
                  <a:pt x="1837" y="155"/>
                  <a:pt x="1833" y="155"/>
                </a:cubicBezTo>
                <a:close/>
                <a:moveTo>
                  <a:pt x="1833" y="175"/>
                </a:moveTo>
                <a:cubicBezTo>
                  <a:pt x="1828" y="175"/>
                  <a:pt x="1825" y="178"/>
                  <a:pt x="1825" y="182"/>
                </a:cubicBezTo>
                <a:cubicBezTo>
                  <a:pt x="1825" y="185"/>
                  <a:pt x="1828" y="188"/>
                  <a:pt x="1833" y="188"/>
                </a:cubicBezTo>
                <a:cubicBezTo>
                  <a:pt x="1837" y="188"/>
                  <a:pt x="1840" y="185"/>
                  <a:pt x="1840" y="182"/>
                </a:cubicBezTo>
                <a:cubicBezTo>
                  <a:pt x="1840" y="178"/>
                  <a:pt x="1837" y="175"/>
                  <a:pt x="1833" y="175"/>
                </a:cubicBezTo>
                <a:close/>
                <a:moveTo>
                  <a:pt x="1833" y="194"/>
                </a:moveTo>
                <a:cubicBezTo>
                  <a:pt x="1828" y="194"/>
                  <a:pt x="1825" y="197"/>
                  <a:pt x="1825" y="201"/>
                </a:cubicBezTo>
                <a:cubicBezTo>
                  <a:pt x="1825" y="205"/>
                  <a:pt x="1828" y="208"/>
                  <a:pt x="1833" y="208"/>
                </a:cubicBezTo>
                <a:cubicBezTo>
                  <a:pt x="1837" y="208"/>
                  <a:pt x="1840" y="205"/>
                  <a:pt x="1840" y="201"/>
                </a:cubicBezTo>
                <a:cubicBezTo>
                  <a:pt x="1840" y="197"/>
                  <a:pt x="1837" y="194"/>
                  <a:pt x="1833" y="194"/>
                </a:cubicBezTo>
                <a:close/>
                <a:moveTo>
                  <a:pt x="1833" y="214"/>
                </a:moveTo>
                <a:cubicBezTo>
                  <a:pt x="1828" y="214"/>
                  <a:pt x="1825" y="217"/>
                  <a:pt x="1825" y="220"/>
                </a:cubicBezTo>
                <a:cubicBezTo>
                  <a:pt x="1825" y="224"/>
                  <a:pt x="1828" y="227"/>
                  <a:pt x="1833" y="227"/>
                </a:cubicBezTo>
                <a:cubicBezTo>
                  <a:pt x="1837" y="227"/>
                  <a:pt x="1840" y="224"/>
                  <a:pt x="1840" y="220"/>
                </a:cubicBezTo>
                <a:cubicBezTo>
                  <a:pt x="1840" y="217"/>
                  <a:pt x="1837" y="214"/>
                  <a:pt x="1833" y="214"/>
                </a:cubicBezTo>
                <a:close/>
                <a:moveTo>
                  <a:pt x="1833" y="233"/>
                </a:moveTo>
                <a:cubicBezTo>
                  <a:pt x="1828" y="233"/>
                  <a:pt x="1825" y="236"/>
                  <a:pt x="1825" y="239"/>
                </a:cubicBezTo>
                <a:cubicBezTo>
                  <a:pt x="1825" y="243"/>
                  <a:pt x="1828" y="245"/>
                  <a:pt x="1833" y="245"/>
                </a:cubicBezTo>
                <a:cubicBezTo>
                  <a:pt x="1837" y="245"/>
                  <a:pt x="1840" y="243"/>
                  <a:pt x="1840" y="239"/>
                </a:cubicBezTo>
                <a:cubicBezTo>
                  <a:pt x="1840" y="236"/>
                  <a:pt x="1837" y="233"/>
                  <a:pt x="1833" y="233"/>
                </a:cubicBezTo>
                <a:close/>
                <a:moveTo>
                  <a:pt x="1833" y="252"/>
                </a:moveTo>
                <a:cubicBezTo>
                  <a:pt x="1828" y="252"/>
                  <a:pt x="1825" y="255"/>
                  <a:pt x="1825" y="258"/>
                </a:cubicBezTo>
                <a:cubicBezTo>
                  <a:pt x="1825" y="262"/>
                  <a:pt x="1828" y="265"/>
                  <a:pt x="1833" y="265"/>
                </a:cubicBezTo>
                <a:cubicBezTo>
                  <a:pt x="1837" y="265"/>
                  <a:pt x="1840" y="262"/>
                  <a:pt x="1840" y="258"/>
                </a:cubicBezTo>
                <a:cubicBezTo>
                  <a:pt x="1840" y="255"/>
                  <a:pt x="1837" y="252"/>
                  <a:pt x="1833" y="252"/>
                </a:cubicBezTo>
                <a:close/>
                <a:moveTo>
                  <a:pt x="1833" y="271"/>
                </a:moveTo>
                <a:cubicBezTo>
                  <a:pt x="1828" y="271"/>
                  <a:pt x="1825" y="274"/>
                  <a:pt x="1825" y="278"/>
                </a:cubicBezTo>
                <a:cubicBezTo>
                  <a:pt x="1825" y="282"/>
                  <a:pt x="1828" y="285"/>
                  <a:pt x="1833" y="285"/>
                </a:cubicBezTo>
                <a:cubicBezTo>
                  <a:pt x="1837" y="285"/>
                  <a:pt x="1840" y="282"/>
                  <a:pt x="1840" y="278"/>
                </a:cubicBezTo>
                <a:cubicBezTo>
                  <a:pt x="1840" y="274"/>
                  <a:pt x="1837" y="271"/>
                  <a:pt x="1833" y="271"/>
                </a:cubicBezTo>
                <a:close/>
                <a:moveTo>
                  <a:pt x="1855" y="136"/>
                </a:moveTo>
                <a:cubicBezTo>
                  <a:pt x="1851" y="136"/>
                  <a:pt x="1847" y="139"/>
                  <a:pt x="1847" y="143"/>
                </a:cubicBezTo>
                <a:cubicBezTo>
                  <a:pt x="1847" y="146"/>
                  <a:pt x="1851" y="149"/>
                  <a:pt x="1855" y="149"/>
                </a:cubicBezTo>
                <a:cubicBezTo>
                  <a:pt x="1859" y="149"/>
                  <a:pt x="1863" y="146"/>
                  <a:pt x="1863" y="143"/>
                </a:cubicBezTo>
                <a:cubicBezTo>
                  <a:pt x="1863" y="139"/>
                  <a:pt x="1859" y="136"/>
                  <a:pt x="1855" y="136"/>
                </a:cubicBezTo>
                <a:close/>
                <a:moveTo>
                  <a:pt x="1877" y="136"/>
                </a:moveTo>
                <a:cubicBezTo>
                  <a:pt x="1873" y="136"/>
                  <a:pt x="1870" y="139"/>
                  <a:pt x="1870" y="143"/>
                </a:cubicBezTo>
                <a:cubicBezTo>
                  <a:pt x="1870" y="146"/>
                  <a:pt x="1873" y="149"/>
                  <a:pt x="1877" y="149"/>
                </a:cubicBezTo>
                <a:cubicBezTo>
                  <a:pt x="1882" y="149"/>
                  <a:pt x="1885" y="146"/>
                  <a:pt x="1885" y="143"/>
                </a:cubicBezTo>
                <a:cubicBezTo>
                  <a:pt x="1885" y="139"/>
                  <a:pt x="1882" y="136"/>
                  <a:pt x="1877" y="136"/>
                </a:cubicBezTo>
                <a:close/>
                <a:moveTo>
                  <a:pt x="1855" y="155"/>
                </a:moveTo>
                <a:cubicBezTo>
                  <a:pt x="1851" y="155"/>
                  <a:pt x="1847" y="158"/>
                  <a:pt x="1847" y="162"/>
                </a:cubicBezTo>
                <a:cubicBezTo>
                  <a:pt x="1847" y="166"/>
                  <a:pt x="1851" y="169"/>
                  <a:pt x="1855" y="169"/>
                </a:cubicBezTo>
                <a:cubicBezTo>
                  <a:pt x="1859" y="169"/>
                  <a:pt x="1863" y="166"/>
                  <a:pt x="1863" y="162"/>
                </a:cubicBezTo>
                <a:cubicBezTo>
                  <a:pt x="1863" y="158"/>
                  <a:pt x="1859" y="155"/>
                  <a:pt x="1855" y="155"/>
                </a:cubicBezTo>
                <a:close/>
                <a:moveTo>
                  <a:pt x="1877" y="155"/>
                </a:moveTo>
                <a:cubicBezTo>
                  <a:pt x="1873" y="155"/>
                  <a:pt x="1870" y="158"/>
                  <a:pt x="1870" y="162"/>
                </a:cubicBezTo>
                <a:cubicBezTo>
                  <a:pt x="1870" y="166"/>
                  <a:pt x="1873" y="169"/>
                  <a:pt x="1877" y="169"/>
                </a:cubicBezTo>
                <a:cubicBezTo>
                  <a:pt x="1882" y="169"/>
                  <a:pt x="1885" y="166"/>
                  <a:pt x="1885" y="162"/>
                </a:cubicBezTo>
                <a:cubicBezTo>
                  <a:pt x="1885" y="158"/>
                  <a:pt x="1882" y="155"/>
                  <a:pt x="1877" y="155"/>
                </a:cubicBezTo>
                <a:close/>
                <a:moveTo>
                  <a:pt x="1855" y="175"/>
                </a:moveTo>
                <a:cubicBezTo>
                  <a:pt x="1851" y="175"/>
                  <a:pt x="1847" y="178"/>
                  <a:pt x="1847" y="182"/>
                </a:cubicBezTo>
                <a:cubicBezTo>
                  <a:pt x="1847" y="185"/>
                  <a:pt x="1851" y="188"/>
                  <a:pt x="1855" y="188"/>
                </a:cubicBezTo>
                <a:cubicBezTo>
                  <a:pt x="1859" y="188"/>
                  <a:pt x="1863" y="185"/>
                  <a:pt x="1863" y="182"/>
                </a:cubicBezTo>
                <a:cubicBezTo>
                  <a:pt x="1863" y="178"/>
                  <a:pt x="1859" y="175"/>
                  <a:pt x="1855" y="175"/>
                </a:cubicBezTo>
                <a:close/>
                <a:moveTo>
                  <a:pt x="1877" y="175"/>
                </a:moveTo>
                <a:cubicBezTo>
                  <a:pt x="1873" y="175"/>
                  <a:pt x="1870" y="178"/>
                  <a:pt x="1870" y="182"/>
                </a:cubicBezTo>
                <a:cubicBezTo>
                  <a:pt x="1870" y="185"/>
                  <a:pt x="1873" y="188"/>
                  <a:pt x="1877" y="188"/>
                </a:cubicBezTo>
                <a:cubicBezTo>
                  <a:pt x="1882" y="188"/>
                  <a:pt x="1885" y="185"/>
                  <a:pt x="1885" y="182"/>
                </a:cubicBezTo>
                <a:cubicBezTo>
                  <a:pt x="1885" y="178"/>
                  <a:pt x="1882" y="175"/>
                  <a:pt x="1877" y="175"/>
                </a:cubicBezTo>
                <a:close/>
                <a:moveTo>
                  <a:pt x="1855" y="194"/>
                </a:moveTo>
                <a:cubicBezTo>
                  <a:pt x="1851" y="194"/>
                  <a:pt x="1847" y="197"/>
                  <a:pt x="1847" y="201"/>
                </a:cubicBezTo>
                <a:cubicBezTo>
                  <a:pt x="1847" y="205"/>
                  <a:pt x="1851" y="208"/>
                  <a:pt x="1855" y="208"/>
                </a:cubicBezTo>
                <a:cubicBezTo>
                  <a:pt x="1859" y="208"/>
                  <a:pt x="1863" y="205"/>
                  <a:pt x="1863" y="201"/>
                </a:cubicBezTo>
                <a:cubicBezTo>
                  <a:pt x="1863" y="197"/>
                  <a:pt x="1859" y="194"/>
                  <a:pt x="1855" y="194"/>
                </a:cubicBezTo>
                <a:close/>
                <a:moveTo>
                  <a:pt x="1877" y="194"/>
                </a:moveTo>
                <a:cubicBezTo>
                  <a:pt x="1873" y="194"/>
                  <a:pt x="1870" y="197"/>
                  <a:pt x="1870" y="201"/>
                </a:cubicBezTo>
                <a:cubicBezTo>
                  <a:pt x="1870" y="205"/>
                  <a:pt x="1873" y="208"/>
                  <a:pt x="1877" y="208"/>
                </a:cubicBezTo>
                <a:cubicBezTo>
                  <a:pt x="1882" y="208"/>
                  <a:pt x="1885" y="205"/>
                  <a:pt x="1885" y="201"/>
                </a:cubicBezTo>
                <a:cubicBezTo>
                  <a:pt x="1885" y="197"/>
                  <a:pt x="1882" y="194"/>
                  <a:pt x="1877" y="194"/>
                </a:cubicBezTo>
                <a:close/>
                <a:moveTo>
                  <a:pt x="1855" y="214"/>
                </a:moveTo>
                <a:cubicBezTo>
                  <a:pt x="1851" y="214"/>
                  <a:pt x="1847" y="217"/>
                  <a:pt x="1847" y="220"/>
                </a:cubicBezTo>
                <a:cubicBezTo>
                  <a:pt x="1847" y="224"/>
                  <a:pt x="1851" y="227"/>
                  <a:pt x="1855" y="227"/>
                </a:cubicBezTo>
                <a:cubicBezTo>
                  <a:pt x="1859" y="227"/>
                  <a:pt x="1863" y="224"/>
                  <a:pt x="1863" y="220"/>
                </a:cubicBezTo>
                <a:cubicBezTo>
                  <a:pt x="1863" y="217"/>
                  <a:pt x="1859" y="214"/>
                  <a:pt x="1855" y="214"/>
                </a:cubicBezTo>
                <a:close/>
                <a:moveTo>
                  <a:pt x="1877" y="214"/>
                </a:moveTo>
                <a:cubicBezTo>
                  <a:pt x="1873" y="214"/>
                  <a:pt x="1870" y="217"/>
                  <a:pt x="1870" y="220"/>
                </a:cubicBezTo>
                <a:cubicBezTo>
                  <a:pt x="1870" y="224"/>
                  <a:pt x="1873" y="227"/>
                  <a:pt x="1877" y="227"/>
                </a:cubicBezTo>
                <a:cubicBezTo>
                  <a:pt x="1882" y="227"/>
                  <a:pt x="1885" y="224"/>
                  <a:pt x="1885" y="220"/>
                </a:cubicBezTo>
                <a:cubicBezTo>
                  <a:pt x="1885" y="217"/>
                  <a:pt x="1882" y="214"/>
                  <a:pt x="1877" y="214"/>
                </a:cubicBezTo>
                <a:close/>
                <a:moveTo>
                  <a:pt x="1855" y="233"/>
                </a:moveTo>
                <a:cubicBezTo>
                  <a:pt x="1851" y="233"/>
                  <a:pt x="1847" y="236"/>
                  <a:pt x="1847" y="239"/>
                </a:cubicBezTo>
                <a:cubicBezTo>
                  <a:pt x="1847" y="243"/>
                  <a:pt x="1851" y="245"/>
                  <a:pt x="1855" y="245"/>
                </a:cubicBezTo>
                <a:cubicBezTo>
                  <a:pt x="1859" y="245"/>
                  <a:pt x="1863" y="243"/>
                  <a:pt x="1863" y="239"/>
                </a:cubicBezTo>
                <a:cubicBezTo>
                  <a:pt x="1863" y="236"/>
                  <a:pt x="1859" y="233"/>
                  <a:pt x="1855" y="233"/>
                </a:cubicBezTo>
                <a:close/>
                <a:moveTo>
                  <a:pt x="1877" y="233"/>
                </a:moveTo>
                <a:cubicBezTo>
                  <a:pt x="1873" y="233"/>
                  <a:pt x="1870" y="236"/>
                  <a:pt x="1870" y="239"/>
                </a:cubicBezTo>
                <a:cubicBezTo>
                  <a:pt x="1870" y="243"/>
                  <a:pt x="1873" y="245"/>
                  <a:pt x="1877" y="245"/>
                </a:cubicBezTo>
                <a:cubicBezTo>
                  <a:pt x="1882" y="245"/>
                  <a:pt x="1885" y="243"/>
                  <a:pt x="1885" y="239"/>
                </a:cubicBezTo>
                <a:cubicBezTo>
                  <a:pt x="1885" y="236"/>
                  <a:pt x="1882" y="233"/>
                  <a:pt x="1877" y="233"/>
                </a:cubicBezTo>
                <a:close/>
                <a:moveTo>
                  <a:pt x="1855" y="252"/>
                </a:moveTo>
                <a:cubicBezTo>
                  <a:pt x="1851" y="252"/>
                  <a:pt x="1847" y="255"/>
                  <a:pt x="1847" y="258"/>
                </a:cubicBezTo>
                <a:cubicBezTo>
                  <a:pt x="1847" y="262"/>
                  <a:pt x="1851" y="265"/>
                  <a:pt x="1855" y="265"/>
                </a:cubicBezTo>
                <a:cubicBezTo>
                  <a:pt x="1859" y="265"/>
                  <a:pt x="1863" y="262"/>
                  <a:pt x="1863" y="258"/>
                </a:cubicBezTo>
                <a:cubicBezTo>
                  <a:pt x="1863" y="255"/>
                  <a:pt x="1859" y="252"/>
                  <a:pt x="1855" y="252"/>
                </a:cubicBezTo>
                <a:close/>
                <a:moveTo>
                  <a:pt x="1877" y="252"/>
                </a:moveTo>
                <a:cubicBezTo>
                  <a:pt x="1873" y="252"/>
                  <a:pt x="1870" y="255"/>
                  <a:pt x="1870" y="258"/>
                </a:cubicBezTo>
                <a:cubicBezTo>
                  <a:pt x="1870" y="262"/>
                  <a:pt x="1873" y="265"/>
                  <a:pt x="1877" y="265"/>
                </a:cubicBezTo>
                <a:cubicBezTo>
                  <a:pt x="1882" y="265"/>
                  <a:pt x="1885" y="262"/>
                  <a:pt x="1885" y="258"/>
                </a:cubicBezTo>
                <a:cubicBezTo>
                  <a:pt x="1885" y="255"/>
                  <a:pt x="1882" y="252"/>
                  <a:pt x="1877" y="252"/>
                </a:cubicBezTo>
                <a:close/>
                <a:moveTo>
                  <a:pt x="1855" y="271"/>
                </a:moveTo>
                <a:cubicBezTo>
                  <a:pt x="1851" y="271"/>
                  <a:pt x="1847" y="274"/>
                  <a:pt x="1847" y="278"/>
                </a:cubicBezTo>
                <a:cubicBezTo>
                  <a:pt x="1847" y="282"/>
                  <a:pt x="1851" y="285"/>
                  <a:pt x="1855" y="285"/>
                </a:cubicBezTo>
                <a:cubicBezTo>
                  <a:pt x="1859" y="285"/>
                  <a:pt x="1863" y="282"/>
                  <a:pt x="1863" y="278"/>
                </a:cubicBezTo>
                <a:cubicBezTo>
                  <a:pt x="1863" y="274"/>
                  <a:pt x="1859" y="271"/>
                  <a:pt x="1855" y="271"/>
                </a:cubicBezTo>
                <a:close/>
                <a:moveTo>
                  <a:pt x="1877" y="271"/>
                </a:moveTo>
                <a:cubicBezTo>
                  <a:pt x="1873" y="271"/>
                  <a:pt x="1870" y="274"/>
                  <a:pt x="1870" y="278"/>
                </a:cubicBezTo>
                <a:cubicBezTo>
                  <a:pt x="1870" y="282"/>
                  <a:pt x="1873" y="285"/>
                  <a:pt x="1877" y="285"/>
                </a:cubicBezTo>
                <a:cubicBezTo>
                  <a:pt x="1882" y="285"/>
                  <a:pt x="1885" y="282"/>
                  <a:pt x="1885" y="278"/>
                </a:cubicBezTo>
                <a:cubicBezTo>
                  <a:pt x="1885" y="274"/>
                  <a:pt x="1882" y="271"/>
                  <a:pt x="1877" y="271"/>
                </a:cubicBezTo>
                <a:close/>
                <a:moveTo>
                  <a:pt x="1900" y="136"/>
                </a:moveTo>
                <a:cubicBezTo>
                  <a:pt x="1895" y="136"/>
                  <a:pt x="1892" y="139"/>
                  <a:pt x="1892" y="143"/>
                </a:cubicBezTo>
                <a:cubicBezTo>
                  <a:pt x="1892" y="146"/>
                  <a:pt x="1895" y="149"/>
                  <a:pt x="1900" y="149"/>
                </a:cubicBezTo>
                <a:cubicBezTo>
                  <a:pt x="1904" y="149"/>
                  <a:pt x="1907" y="146"/>
                  <a:pt x="1907" y="143"/>
                </a:cubicBezTo>
                <a:cubicBezTo>
                  <a:pt x="1907" y="139"/>
                  <a:pt x="1904" y="136"/>
                  <a:pt x="1900" y="136"/>
                </a:cubicBezTo>
                <a:close/>
                <a:moveTo>
                  <a:pt x="1922" y="136"/>
                </a:moveTo>
                <a:cubicBezTo>
                  <a:pt x="1917" y="136"/>
                  <a:pt x="1914" y="139"/>
                  <a:pt x="1914" y="143"/>
                </a:cubicBezTo>
                <a:cubicBezTo>
                  <a:pt x="1914" y="146"/>
                  <a:pt x="1917" y="149"/>
                  <a:pt x="1922" y="149"/>
                </a:cubicBezTo>
                <a:cubicBezTo>
                  <a:pt x="1926" y="149"/>
                  <a:pt x="1929" y="146"/>
                  <a:pt x="1929" y="143"/>
                </a:cubicBezTo>
                <a:cubicBezTo>
                  <a:pt x="1929" y="139"/>
                  <a:pt x="1926" y="136"/>
                  <a:pt x="1922" y="136"/>
                </a:cubicBezTo>
                <a:close/>
                <a:moveTo>
                  <a:pt x="1900" y="155"/>
                </a:moveTo>
                <a:cubicBezTo>
                  <a:pt x="1895" y="155"/>
                  <a:pt x="1892" y="158"/>
                  <a:pt x="1892" y="162"/>
                </a:cubicBezTo>
                <a:cubicBezTo>
                  <a:pt x="1892" y="166"/>
                  <a:pt x="1895" y="169"/>
                  <a:pt x="1900" y="169"/>
                </a:cubicBezTo>
                <a:cubicBezTo>
                  <a:pt x="1904" y="169"/>
                  <a:pt x="1907" y="166"/>
                  <a:pt x="1907" y="162"/>
                </a:cubicBezTo>
                <a:cubicBezTo>
                  <a:pt x="1907" y="158"/>
                  <a:pt x="1904" y="155"/>
                  <a:pt x="1900" y="155"/>
                </a:cubicBezTo>
                <a:close/>
                <a:moveTo>
                  <a:pt x="1922" y="155"/>
                </a:moveTo>
                <a:cubicBezTo>
                  <a:pt x="1917" y="155"/>
                  <a:pt x="1914" y="158"/>
                  <a:pt x="1914" y="162"/>
                </a:cubicBezTo>
                <a:cubicBezTo>
                  <a:pt x="1914" y="166"/>
                  <a:pt x="1917" y="169"/>
                  <a:pt x="1922" y="169"/>
                </a:cubicBezTo>
                <a:cubicBezTo>
                  <a:pt x="1926" y="169"/>
                  <a:pt x="1929" y="166"/>
                  <a:pt x="1929" y="162"/>
                </a:cubicBezTo>
                <a:cubicBezTo>
                  <a:pt x="1929" y="158"/>
                  <a:pt x="1926" y="155"/>
                  <a:pt x="1922" y="155"/>
                </a:cubicBezTo>
                <a:close/>
                <a:moveTo>
                  <a:pt x="1900" y="175"/>
                </a:moveTo>
                <a:cubicBezTo>
                  <a:pt x="1895" y="175"/>
                  <a:pt x="1892" y="178"/>
                  <a:pt x="1892" y="182"/>
                </a:cubicBezTo>
                <a:cubicBezTo>
                  <a:pt x="1892" y="185"/>
                  <a:pt x="1895" y="188"/>
                  <a:pt x="1900" y="188"/>
                </a:cubicBezTo>
                <a:cubicBezTo>
                  <a:pt x="1904" y="188"/>
                  <a:pt x="1907" y="185"/>
                  <a:pt x="1907" y="182"/>
                </a:cubicBezTo>
                <a:cubicBezTo>
                  <a:pt x="1907" y="178"/>
                  <a:pt x="1904" y="175"/>
                  <a:pt x="1900" y="175"/>
                </a:cubicBezTo>
                <a:close/>
                <a:moveTo>
                  <a:pt x="1922" y="175"/>
                </a:moveTo>
                <a:cubicBezTo>
                  <a:pt x="1917" y="175"/>
                  <a:pt x="1914" y="178"/>
                  <a:pt x="1914" y="182"/>
                </a:cubicBezTo>
                <a:cubicBezTo>
                  <a:pt x="1914" y="185"/>
                  <a:pt x="1917" y="188"/>
                  <a:pt x="1922" y="188"/>
                </a:cubicBezTo>
                <a:cubicBezTo>
                  <a:pt x="1926" y="188"/>
                  <a:pt x="1929" y="185"/>
                  <a:pt x="1929" y="182"/>
                </a:cubicBezTo>
                <a:cubicBezTo>
                  <a:pt x="1929" y="178"/>
                  <a:pt x="1926" y="175"/>
                  <a:pt x="1922" y="175"/>
                </a:cubicBezTo>
                <a:close/>
                <a:moveTo>
                  <a:pt x="1900" y="194"/>
                </a:moveTo>
                <a:cubicBezTo>
                  <a:pt x="1895" y="194"/>
                  <a:pt x="1892" y="197"/>
                  <a:pt x="1892" y="201"/>
                </a:cubicBezTo>
                <a:cubicBezTo>
                  <a:pt x="1892" y="205"/>
                  <a:pt x="1895" y="208"/>
                  <a:pt x="1900" y="208"/>
                </a:cubicBezTo>
                <a:cubicBezTo>
                  <a:pt x="1904" y="208"/>
                  <a:pt x="1907" y="205"/>
                  <a:pt x="1907" y="201"/>
                </a:cubicBezTo>
                <a:cubicBezTo>
                  <a:pt x="1907" y="197"/>
                  <a:pt x="1904" y="194"/>
                  <a:pt x="1900" y="194"/>
                </a:cubicBezTo>
                <a:close/>
                <a:moveTo>
                  <a:pt x="1922" y="194"/>
                </a:moveTo>
                <a:cubicBezTo>
                  <a:pt x="1917" y="194"/>
                  <a:pt x="1914" y="197"/>
                  <a:pt x="1914" y="201"/>
                </a:cubicBezTo>
                <a:cubicBezTo>
                  <a:pt x="1914" y="205"/>
                  <a:pt x="1917" y="208"/>
                  <a:pt x="1922" y="208"/>
                </a:cubicBezTo>
                <a:cubicBezTo>
                  <a:pt x="1926" y="208"/>
                  <a:pt x="1929" y="205"/>
                  <a:pt x="1929" y="201"/>
                </a:cubicBezTo>
                <a:cubicBezTo>
                  <a:pt x="1929" y="197"/>
                  <a:pt x="1926" y="194"/>
                  <a:pt x="1922" y="194"/>
                </a:cubicBezTo>
                <a:close/>
                <a:moveTo>
                  <a:pt x="1900" y="214"/>
                </a:moveTo>
                <a:cubicBezTo>
                  <a:pt x="1895" y="214"/>
                  <a:pt x="1892" y="217"/>
                  <a:pt x="1892" y="220"/>
                </a:cubicBezTo>
                <a:cubicBezTo>
                  <a:pt x="1892" y="224"/>
                  <a:pt x="1895" y="227"/>
                  <a:pt x="1900" y="227"/>
                </a:cubicBezTo>
                <a:cubicBezTo>
                  <a:pt x="1904" y="227"/>
                  <a:pt x="1907" y="224"/>
                  <a:pt x="1907" y="220"/>
                </a:cubicBezTo>
                <a:cubicBezTo>
                  <a:pt x="1907" y="217"/>
                  <a:pt x="1904" y="214"/>
                  <a:pt x="1900" y="214"/>
                </a:cubicBezTo>
                <a:close/>
                <a:moveTo>
                  <a:pt x="1922" y="214"/>
                </a:moveTo>
                <a:cubicBezTo>
                  <a:pt x="1917" y="214"/>
                  <a:pt x="1914" y="217"/>
                  <a:pt x="1914" y="220"/>
                </a:cubicBezTo>
                <a:cubicBezTo>
                  <a:pt x="1914" y="224"/>
                  <a:pt x="1917" y="227"/>
                  <a:pt x="1922" y="227"/>
                </a:cubicBezTo>
                <a:cubicBezTo>
                  <a:pt x="1926" y="227"/>
                  <a:pt x="1929" y="224"/>
                  <a:pt x="1929" y="220"/>
                </a:cubicBezTo>
                <a:cubicBezTo>
                  <a:pt x="1929" y="217"/>
                  <a:pt x="1926" y="214"/>
                  <a:pt x="1922" y="214"/>
                </a:cubicBezTo>
                <a:close/>
                <a:moveTo>
                  <a:pt x="1900" y="233"/>
                </a:moveTo>
                <a:cubicBezTo>
                  <a:pt x="1895" y="233"/>
                  <a:pt x="1892" y="236"/>
                  <a:pt x="1892" y="239"/>
                </a:cubicBezTo>
                <a:cubicBezTo>
                  <a:pt x="1892" y="243"/>
                  <a:pt x="1895" y="245"/>
                  <a:pt x="1900" y="245"/>
                </a:cubicBezTo>
                <a:cubicBezTo>
                  <a:pt x="1904" y="245"/>
                  <a:pt x="1907" y="243"/>
                  <a:pt x="1907" y="239"/>
                </a:cubicBezTo>
                <a:cubicBezTo>
                  <a:pt x="1907" y="236"/>
                  <a:pt x="1904" y="233"/>
                  <a:pt x="1900" y="233"/>
                </a:cubicBezTo>
                <a:close/>
                <a:moveTo>
                  <a:pt x="1922" y="233"/>
                </a:moveTo>
                <a:cubicBezTo>
                  <a:pt x="1917" y="233"/>
                  <a:pt x="1914" y="236"/>
                  <a:pt x="1914" y="239"/>
                </a:cubicBezTo>
                <a:cubicBezTo>
                  <a:pt x="1914" y="243"/>
                  <a:pt x="1917" y="245"/>
                  <a:pt x="1922" y="245"/>
                </a:cubicBezTo>
                <a:cubicBezTo>
                  <a:pt x="1926" y="245"/>
                  <a:pt x="1929" y="243"/>
                  <a:pt x="1929" y="239"/>
                </a:cubicBezTo>
                <a:cubicBezTo>
                  <a:pt x="1929" y="236"/>
                  <a:pt x="1926" y="233"/>
                  <a:pt x="1922" y="233"/>
                </a:cubicBezTo>
                <a:close/>
                <a:moveTo>
                  <a:pt x="1900" y="252"/>
                </a:moveTo>
                <a:cubicBezTo>
                  <a:pt x="1895" y="252"/>
                  <a:pt x="1892" y="255"/>
                  <a:pt x="1892" y="258"/>
                </a:cubicBezTo>
                <a:cubicBezTo>
                  <a:pt x="1892" y="262"/>
                  <a:pt x="1895" y="265"/>
                  <a:pt x="1900" y="265"/>
                </a:cubicBezTo>
                <a:cubicBezTo>
                  <a:pt x="1904" y="265"/>
                  <a:pt x="1907" y="262"/>
                  <a:pt x="1907" y="258"/>
                </a:cubicBezTo>
                <a:cubicBezTo>
                  <a:pt x="1907" y="255"/>
                  <a:pt x="1904" y="252"/>
                  <a:pt x="1900" y="252"/>
                </a:cubicBezTo>
                <a:close/>
                <a:moveTo>
                  <a:pt x="1922" y="252"/>
                </a:moveTo>
                <a:cubicBezTo>
                  <a:pt x="1917" y="252"/>
                  <a:pt x="1914" y="255"/>
                  <a:pt x="1914" y="258"/>
                </a:cubicBezTo>
                <a:cubicBezTo>
                  <a:pt x="1914" y="262"/>
                  <a:pt x="1917" y="265"/>
                  <a:pt x="1922" y="265"/>
                </a:cubicBezTo>
                <a:cubicBezTo>
                  <a:pt x="1926" y="265"/>
                  <a:pt x="1929" y="262"/>
                  <a:pt x="1929" y="258"/>
                </a:cubicBezTo>
                <a:cubicBezTo>
                  <a:pt x="1929" y="255"/>
                  <a:pt x="1926" y="252"/>
                  <a:pt x="1922" y="252"/>
                </a:cubicBezTo>
                <a:close/>
                <a:moveTo>
                  <a:pt x="1900" y="271"/>
                </a:moveTo>
                <a:cubicBezTo>
                  <a:pt x="1895" y="271"/>
                  <a:pt x="1892" y="274"/>
                  <a:pt x="1892" y="278"/>
                </a:cubicBezTo>
                <a:cubicBezTo>
                  <a:pt x="1892" y="282"/>
                  <a:pt x="1895" y="285"/>
                  <a:pt x="1900" y="285"/>
                </a:cubicBezTo>
                <a:cubicBezTo>
                  <a:pt x="1904" y="285"/>
                  <a:pt x="1907" y="282"/>
                  <a:pt x="1907" y="278"/>
                </a:cubicBezTo>
                <a:cubicBezTo>
                  <a:pt x="1907" y="274"/>
                  <a:pt x="1904" y="271"/>
                  <a:pt x="1900" y="271"/>
                </a:cubicBezTo>
                <a:close/>
                <a:moveTo>
                  <a:pt x="1922" y="271"/>
                </a:moveTo>
                <a:cubicBezTo>
                  <a:pt x="1917" y="271"/>
                  <a:pt x="1914" y="274"/>
                  <a:pt x="1914" y="278"/>
                </a:cubicBezTo>
                <a:cubicBezTo>
                  <a:pt x="1914" y="282"/>
                  <a:pt x="1917" y="285"/>
                  <a:pt x="1922" y="285"/>
                </a:cubicBezTo>
                <a:cubicBezTo>
                  <a:pt x="1926" y="285"/>
                  <a:pt x="1929" y="282"/>
                  <a:pt x="1929" y="278"/>
                </a:cubicBezTo>
                <a:cubicBezTo>
                  <a:pt x="1929" y="274"/>
                  <a:pt x="1926" y="271"/>
                  <a:pt x="1922" y="271"/>
                </a:cubicBezTo>
                <a:close/>
                <a:moveTo>
                  <a:pt x="1833" y="290"/>
                </a:moveTo>
                <a:cubicBezTo>
                  <a:pt x="1828" y="290"/>
                  <a:pt x="1825" y="293"/>
                  <a:pt x="1825" y="296"/>
                </a:cubicBezTo>
                <a:cubicBezTo>
                  <a:pt x="1825" y="300"/>
                  <a:pt x="1828" y="303"/>
                  <a:pt x="1833" y="303"/>
                </a:cubicBezTo>
                <a:cubicBezTo>
                  <a:pt x="1837" y="303"/>
                  <a:pt x="1840" y="300"/>
                  <a:pt x="1840" y="296"/>
                </a:cubicBezTo>
                <a:cubicBezTo>
                  <a:pt x="1840" y="293"/>
                  <a:pt x="1837" y="290"/>
                  <a:pt x="1833" y="290"/>
                </a:cubicBezTo>
                <a:close/>
                <a:moveTo>
                  <a:pt x="1833" y="309"/>
                </a:moveTo>
                <a:cubicBezTo>
                  <a:pt x="1828" y="309"/>
                  <a:pt x="1825" y="312"/>
                  <a:pt x="1825" y="316"/>
                </a:cubicBezTo>
                <a:cubicBezTo>
                  <a:pt x="1825" y="320"/>
                  <a:pt x="1828" y="323"/>
                  <a:pt x="1833" y="323"/>
                </a:cubicBezTo>
                <a:cubicBezTo>
                  <a:pt x="1837" y="323"/>
                  <a:pt x="1840" y="320"/>
                  <a:pt x="1840" y="316"/>
                </a:cubicBezTo>
                <a:cubicBezTo>
                  <a:pt x="1840" y="312"/>
                  <a:pt x="1837" y="309"/>
                  <a:pt x="1833" y="309"/>
                </a:cubicBezTo>
                <a:close/>
                <a:moveTo>
                  <a:pt x="1833" y="329"/>
                </a:moveTo>
                <a:cubicBezTo>
                  <a:pt x="1828" y="329"/>
                  <a:pt x="1825" y="332"/>
                  <a:pt x="1825" y="335"/>
                </a:cubicBezTo>
                <a:cubicBezTo>
                  <a:pt x="1825" y="339"/>
                  <a:pt x="1828" y="342"/>
                  <a:pt x="1833" y="342"/>
                </a:cubicBezTo>
                <a:cubicBezTo>
                  <a:pt x="1837" y="342"/>
                  <a:pt x="1840" y="339"/>
                  <a:pt x="1840" y="335"/>
                </a:cubicBezTo>
                <a:cubicBezTo>
                  <a:pt x="1840" y="332"/>
                  <a:pt x="1837" y="329"/>
                  <a:pt x="1833" y="329"/>
                </a:cubicBezTo>
                <a:close/>
                <a:moveTo>
                  <a:pt x="1833" y="348"/>
                </a:moveTo>
                <a:cubicBezTo>
                  <a:pt x="1828" y="348"/>
                  <a:pt x="1825" y="351"/>
                  <a:pt x="1825" y="355"/>
                </a:cubicBezTo>
                <a:cubicBezTo>
                  <a:pt x="1825" y="359"/>
                  <a:pt x="1828" y="362"/>
                  <a:pt x="1833" y="362"/>
                </a:cubicBezTo>
                <a:cubicBezTo>
                  <a:pt x="1837" y="362"/>
                  <a:pt x="1840" y="359"/>
                  <a:pt x="1840" y="355"/>
                </a:cubicBezTo>
                <a:cubicBezTo>
                  <a:pt x="1840" y="351"/>
                  <a:pt x="1837" y="348"/>
                  <a:pt x="1833" y="348"/>
                </a:cubicBezTo>
                <a:close/>
                <a:moveTo>
                  <a:pt x="1833" y="368"/>
                </a:moveTo>
                <a:cubicBezTo>
                  <a:pt x="1828" y="368"/>
                  <a:pt x="1825" y="371"/>
                  <a:pt x="1825" y="374"/>
                </a:cubicBezTo>
                <a:cubicBezTo>
                  <a:pt x="1825" y="378"/>
                  <a:pt x="1828" y="381"/>
                  <a:pt x="1833" y="381"/>
                </a:cubicBezTo>
                <a:cubicBezTo>
                  <a:pt x="1837" y="381"/>
                  <a:pt x="1840" y="378"/>
                  <a:pt x="1840" y="374"/>
                </a:cubicBezTo>
                <a:cubicBezTo>
                  <a:pt x="1840" y="371"/>
                  <a:pt x="1837" y="368"/>
                  <a:pt x="1833" y="368"/>
                </a:cubicBezTo>
                <a:close/>
                <a:moveTo>
                  <a:pt x="1855" y="290"/>
                </a:moveTo>
                <a:cubicBezTo>
                  <a:pt x="1851" y="290"/>
                  <a:pt x="1847" y="293"/>
                  <a:pt x="1847" y="296"/>
                </a:cubicBezTo>
                <a:cubicBezTo>
                  <a:pt x="1847" y="300"/>
                  <a:pt x="1851" y="303"/>
                  <a:pt x="1855" y="303"/>
                </a:cubicBezTo>
                <a:cubicBezTo>
                  <a:pt x="1859" y="303"/>
                  <a:pt x="1863" y="300"/>
                  <a:pt x="1863" y="296"/>
                </a:cubicBezTo>
                <a:cubicBezTo>
                  <a:pt x="1863" y="293"/>
                  <a:pt x="1859" y="290"/>
                  <a:pt x="1855" y="290"/>
                </a:cubicBezTo>
                <a:close/>
                <a:moveTo>
                  <a:pt x="1877" y="290"/>
                </a:moveTo>
                <a:cubicBezTo>
                  <a:pt x="1873" y="290"/>
                  <a:pt x="1870" y="293"/>
                  <a:pt x="1870" y="296"/>
                </a:cubicBezTo>
                <a:cubicBezTo>
                  <a:pt x="1870" y="300"/>
                  <a:pt x="1873" y="303"/>
                  <a:pt x="1877" y="303"/>
                </a:cubicBezTo>
                <a:cubicBezTo>
                  <a:pt x="1882" y="303"/>
                  <a:pt x="1885" y="300"/>
                  <a:pt x="1885" y="296"/>
                </a:cubicBezTo>
                <a:cubicBezTo>
                  <a:pt x="1885" y="293"/>
                  <a:pt x="1882" y="290"/>
                  <a:pt x="1877" y="290"/>
                </a:cubicBezTo>
                <a:close/>
                <a:moveTo>
                  <a:pt x="1855" y="309"/>
                </a:moveTo>
                <a:cubicBezTo>
                  <a:pt x="1851" y="309"/>
                  <a:pt x="1847" y="312"/>
                  <a:pt x="1847" y="316"/>
                </a:cubicBezTo>
                <a:cubicBezTo>
                  <a:pt x="1847" y="320"/>
                  <a:pt x="1851" y="323"/>
                  <a:pt x="1855" y="323"/>
                </a:cubicBezTo>
                <a:cubicBezTo>
                  <a:pt x="1859" y="323"/>
                  <a:pt x="1863" y="320"/>
                  <a:pt x="1863" y="316"/>
                </a:cubicBezTo>
                <a:cubicBezTo>
                  <a:pt x="1863" y="312"/>
                  <a:pt x="1859" y="309"/>
                  <a:pt x="1855" y="309"/>
                </a:cubicBezTo>
                <a:close/>
                <a:moveTo>
                  <a:pt x="1877" y="309"/>
                </a:moveTo>
                <a:cubicBezTo>
                  <a:pt x="1873" y="309"/>
                  <a:pt x="1870" y="312"/>
                  <a:pt x="1870" y="316"/>
                </a:cubicBezTo>
                <a:cubicBezTo>
                  <a:pt x="1870" y="320"/>
                  <a:pt x="1873" y="323"/>
                  <a:pt x="1877" y="323"/>
                </a:cubicBezTo>
                <a:cubicBezTo>
                  <a:pt x="1882" y="323"/>
                  <a:pt x="1885" y="320"/>
                  <a:pt x="1885" y="316"/>
                </a:cubicBezTo>
                <a:cubicBezTo>
                  <a:pt x="1885" y="312"/>
                  <a:pt x="1882" y="309"/>
                  <a:pt x="1877" y="309"/>
                </a:cubicBezTo>
                <a:close/>
                <a:moveTo>
                  <a:pt x="1855" y="329"/>
                </a:moveTo>
                <a:cubicBezTo>
                  <a:pt x="1851" y="329"/>
                  <a:pt x="1847" y="332"/>
                  <a:pt x="1847" y="335"/>
                </a:cubicBezTo>
                <a:cubicBezTo>
                  <a:pt x="1847" y="339"/>
                  <a:pt x="1851" y="342"/>
                  <a:pt x="1855" y="342"/>
                </a:cubicBezTo>
                <a:cubicBezTo>
                  <a:pt x="1859" y="342"/>
                  <a:pt x="1863" y="339"/>
                  <a:pt x="1863" y="335"/>
                </a:cubicBezTo>
                <a:cubicBezTo>
                  <a:pt x="1863" y="332"/>
                  <a:pt x="1859" y="329"/>
                  <a:pt x="1855" y="329"/>
                </a:cubicBezTo>
                <a:close/>
                <a:moveTo>
                  <a:pt x="1877" y="329"/>
                </a:moveTo>
                <a:cubicBezTo>
                  <a:pt x="1873" y="329"/>
                  <a:pt x="1870" y="332"/>
                  <a:pt x="1870" y="335"/>
                </a:cubicBezTo>
                <a:cubicBezTo>
                  <a:pt x="1870" y="339"/>
                  <a:pt x="1873" y="342"/>
                  <a:pt x="1877" y="342"/>
                </a:cubicBezTo>
                <a:cubicBezTo>
                  <a:pt x="1882" y="342"/>
                  <a:pt x="1885" y="339"/>
                  <a:pt x="1885" y="335"/>
                </a:cubicBezTo>
                <a:cubicBezTo>
                  <a:pt x="1885" y="332"/>
                  <a:pt x="1882" y="329"/>
                  <a:pt x="1877" y="329"/>
                </a:cubicBezTo>
                <a:close/>
                <a:moveTo>
                  <a:pt x="1855" y="348"/>
                </a:moveTo>
                <a:cubicBezTo>
                  <a:pt x="1851" y="348"/>
                  <a:pt x="1847" y="351"/>
                  <a:pt x="1847" y="355"/>
                </a:cubicBezTo>
                <a:cubicBezTo>
                  <a:pt x="1847" y="359"/>
                  <a:pt x="1851" y="362"/>
                  <a:pt x="1855" y="362"/>
                </a:cubicBezTo>
                <a:cubicBezTo>
                  <a:pt x="1859" y="362"/>
                  <a:pt x="1863" y="359"/>
                  <a:pt x="1863" y="355"/>
                </a:cubicBezTo>
                <a:cubicBezTo>
                  <a:pt x="1863" y="351"/>
                  <a:pt x="1859" y="348"/>
                  <a:pt x="1855" y="348"/>
                </a:cubicBezTo>
                <a:close/>
                <a:moveTo>
                  <a:pt x="1877" y="348"/>
                </a:moveTo>
                <a:cubicBezTo>
                  <a:pt x="1873" y="348"/>
                  <a:pt x="1870" y="351"/>
                  <a:pt x="1870" y="355"/>
                </a:cubicBezTo>
                <a:cubicBezTo>
                  <a:pt x="1870" y="359"/>
                  <a:pt x="1873" y="362"/>
                  <a:pt x="1877" y="362"/>
                </a:cubicBezTo>
                <a:cubicBezTo>
                  <a:pt x="1882" y="362"/>
                  <a:pt x="1885" y="359"/>
                  <a:pt x="1885" y="355"/>
                </a:cubicBezTo>
                <a:cubicBezTo>
                  <a:pt x="1885" y="351"/>
                  <a:pt x="1882" y="348"/>
                  <a:pt x="1877" y="348"/>
                </a:cubicBezTo>
                <a:close/>
                <a:moveTo>
                  <a:pt x="1855" y="368"/>
                </a:moveTo>
                <a:cubicBezTo>
                  <a:pt x="1851" y="368"/>
                  <a:pt x="1847" y="371"/>
                  <a:pt x="1847" y="374"/>
                </a:cubicBezTo>
                <a:cubicBezTo>
                  <a:pt x="1847" y="378"/>
                  <a:pt x="1851" y="381"/>
                  <a:pt x="1855" y="381"/>
                </a:cubicBezTo>
                <a:cubicBezTo>
                  <a:pt x="1859" y="381"/>
                  <a:pt x="1863" y="378"/>
                  <a:pt x="1863" y="374"/>
                </a:cubicBezTo>
                <a:cubicBezTo>
                  <a:pt x="1863" y="371"/>
                  <a:pt x="1859" y="368"/>
                  <a:pt x="1855" y="368"/>
                </a:cubicBezTo>
                <a:close/>
                <a:moveTo>
                  <a:pt x="1877" y="368"/>
                </a:moveTo>
                <a:cubicBezTo>
                  <a:pt x="1873" y="368"/>
                  <a:pt x="1870" y="371"/>
                  <a:pt x="1870" y="374"/>
                </a:cubicBezTo>
                <a:cubicBezTo>
                  <a:pt x="1870" y="378"/>
                  <a:pt x="1873" y="381"/>
                  <a:pt x="1877" y="381"/>
                </a:cubicBezTo>
                <a:cubicBezTo>
                  <a:pt x="1882" y="381"/>
                  <a:pt x="1885" y="378"/>
                  <a:pt x="1885" y="374"/>
                </a:cubicBezTo>
                <a:cubicBezTo>
                  <a:pt x="1885" y="371"/>
                  <a:pt x="1882" y="368"/>
                  <a:pt x="1877" y="368"/>
                </a:cubicBezTo>
                <a:close/>
                <a:moveTo>
                  <a:pt x="1855" y="387"/>
                </a:moveTo>
                <a:cubicBezTo>
                  <a:pt x="1851" y="387"/>
                  <a:pt x="1847" y="390"/>
                  <a:pt x="1847" y="393"/>
                </a:cubicBezTo>
                <a:cubicBezTo>
                  <a:pt x="1847" y="397"/>
                  <a:pt x="1851" y="400"/>
                  <a:pt x="1855" y="400"/>
                </a:cubicBezTo>
                <a:cubicBezTo>
                  <a:pt x="1859" y="400"/>
                  <a:pt x="1863" y="397"/>
                  <a:pt x="1863" y="393"/>
                </a:cubicBezTo>
                <a:cubicBezTo>
                  <a:pt x="1863" y="390"/>
                  <a:pt x="1859" y="387"/>
                  <a:pt x="1855" y="387"/>
                </a:cubicBezTo>
                <a:close/>
                <a:moveTo>
                  <a:pt x="1877" y="387"/>
                </a:moveTo>
                <a:cubicBezTo>
                  <a:pt x="1873" y="387"/>
                  <a:pt x="1870" y="390"/>
                  <a:pt x="1870" y="393"/>
                </a:cubicBezTo>
                <a:cubicBezTo>
                  <a:pt x="1870" y="397"/>
                  <a:pt x="1873" y="400"/>
                  <a:pt x="1877" y="400"/>
                </a:cubicBezTo>
                <a:cubicBezTo>
                  <a:pt x="1882" y="400"/>
                  <a:pt x="1885" y="397"/>
                  <a:pt x="1885" y="393"/>
                </a:cubicBezTo>
                <a:cubicBezTo>
                  <a:pt x="1885" y="390"/>
                  <a:pt x="1882" y="387"/>
                  <a:pt x="1877" y="387"/>
                </a:cubicBezTo>
                <a:close/>
                <a:moveTo>
                  <a:pt x="1855" y="406"/>
                </a:moveTo>
                <a:cubicBezTo>
                  <a:pt x="1851" y="406"/>
                  <a:pt x="1847" y="409"/>
                  <a:pt x="1847" y="413"/>
                </a:cubicBezTo>
                <a:cubicBezTo>
                  <a:pt x="1847" y="416"/>
                  <a:pt x="1851" y="419"/>
                  <a:pt x="1855" y="419"/>
                </a:cubicBezTo>
                <a:cubicBezTo>
                  <a:pt x="1859" y="419"/>
                  <a:pt x="1863" y="416"/>
                  <a:pt x="1863" y="413"/>
                </a:cubicBezTo>
                <a:cubicBezTo>
                  <a:pt x="1863" y="409"/>
                  <a:pt x="1859" y="406"/>
                  <a:pt x="1855" y="406"/>
                </a:cubicBezTo>
                <a:close/>
                <a:moveTo>
                  <a:pt x="1877" y="406"/>
                </a:moveTo>
                <a:cubicBezTo>
                  <a:pt x="1873" y="406"/>
                  <a:pt x="1870" y="409"/>
                  <a:pt x="1870" y="413"/>
                </a:cubicBezTo>
                <a:cubicBezTo>
                  <a:pt x="1870" y="416"/>
                  <a:pt x="1873" y="419"/>
                  <a:pt x="1877" y="419"/>
                </a:cubicBezTo>
                <a:cubicBezTo>
                  <a:pt x="1882" y="419"/>
                  <a:pt x="1885" y="416"/>
                  <a:pt x="1885" y="413"/>
                </a:cubicBezTo>
                <a:cubicBezTo>
                  <a:pt x="1885" y="409"/>
                  <a:pt x="1882" y="406"/>
                  <a:pt x="1877" y="406"/>
                </a:cubicBezTo>
                <a:close/>
                <a:moveTo>
                  <a:pt x="1855" y="425"/>
                </a:moveTo>
                <a:cubicBezTo>
                  <a:pt x="1851" y="425"/>
                  <a:pt x="1847" y="428"/>
                  <a:pt x="1847" y="432"/>
                </a:cubicBezTo>
                <a:cubicBezTo>
                  <a:pt x="1847" y="435"/>
                  <a:pt x="1851" y="438"/>
                  <a:pt x="1855" y="438"/>
                </a:cubicBezTo>
                <a:cubicBezTo>
                  <a:pt x="1859" y="438"/>
                  <a:pt x="1863" y="435"/>
                  <a:pt x="1863" y="432"/>
                </a:cubicBezTo>
                <a:cubicBezTo>
                  <a:pt x="1863" y="428"/>
                  <a:pt x="1859" y="425"/>
                  <a:pt x="1855" y="425"/>
                </a:cubicBezTo>
                <a:close/>
                <a:moveTo>
                  <a:pt x="1877" y="425"/>
                </a:moveTo>
                <a:cubicBezTo>
                  <a:pt x="1873" y="425"/>
                  <a:pt x="1870" y="428"/>
                  <a:pt x="1870" y="432"/>
                </a:cubicBezTo>
                <a:cubicBezTo>
                  <a:pt x="1870" y="435"/>
                  <a:pt x="1873" y="438"/>
                  <a:pt x="1877" y="438"/>
                </a:cubicBezTo>
                <a:cubicBezTo>
                  <a:pt x="1882" y="438"/>
                  <a:pt x="1885" y="435"/>
                  <a:pt x="1885" y="432"/>
                </a:cubicBezTo>
                <a:cubicBezTo>
                  <a:pt x="1885" y="428"/>
                  <a:pt x="1882" y="425"/>
                  <a:pt x="1877" y="425"/>
                </a:cubicBezTo>
                <a:close/>
                <a:moveTo>
                  <a:pt x="1900" y="290"/>
                </a:moveTo>
                <a:cubicBezTo>
                  <a:pt x="1895" y="290"/>
                  <a:pt x="1892" y="293"/>
                  <a:pt x="1892" y="296"/>
                </a:cubicBezTo>
                <a:cubicBezTo>
                  <a:pt x="1892" y="300"/>
                  <a:pt x="1895" y="303"/>
                  <a:pt x="1900" y="303"/>
                </a:cubicBezTo>
                <a:cubicBezTo>
                  <a:pt x="1904" y="303"/>
                  <a:pt x="1907" y="300"/>
                  <a:pt x="1907" y="296"/>
                </a:cubicBezTo>
                <a:cubicBezTo>
                  <a:pt x="1907" y="293"/>
                  <a:pt x="1904" y="290"/>
                  <a:pt x="1900" y="290"/>
                </a:cubicBezTo>
                <a:close/>
                <a:moveTo>
                  <a:pt x="1922" y="290"/>
                </a:moveTo>
                <a:cubicBezTo>
                  <a:pt x="1917" y="290"/>
                  <a:pt x="1914" y="293"/>
                  <a:pt x="1914" y="296"/>
                </a:cubicBezTo>
                <a:cubicBezTo>
                  <a:pt x="1914" y="300"/>
                  <a:pt x="1917" y="303"/>
                  <a:pt x="1922" y="303"/>
                </a:cubicBezTo>
                <a:cubicBezTo>
                  <a:pt x="1926" y="303"/>
                  <a:pt x="1929" y="300"/>
                  <a:pt x="1929" y="296"/>
                </a:cubicBezTo>
                <a:cubicBezTo>
                  <a:pt x="1929" y="293"/>
                  <a:pt x="1926" y="290"/>
                  <a:pt x="1922" y="290"/>
                </a:cubicBezTo>
                <a:close/>
                <a:moveTo>
                  <a:pt x="1900" y="309"/>
                </a:moveTo>
                <a:cubicBezTo>
                  <a:pt x="1895" y="309"/>
                  <a:pt x="1892" y="312"/>
                  <a:pt x="1892" y="316"/>
                </a:cubicBezTo>
                <a:cubicBezTo>
                  <a:pt x="1892" y="320"/>
                  <a:pt x="1895" y="323"/>
                  <a:pt x="1900" y="323"/>
                </a:cubicBezTo>
                <a:cubicBezTo>
                  <a:pt x="1904" y="323"/>
                  <a:pt x="1907" y="320"/>
                  <a:pt x="1907" y="316"/>
                </a:cubicBezTo>
                <a:cubicBezTo>
                  <a:pt x="1907" y="312"/>
                  <a:pt x="1904" y="309"/>
                  <a:pt x="1900" y="309"/>
                </a:cubicBezTo>
                <a:close/>
                <a:moveTo>
                  <a:pt x="1922" y="309"/>
                </a:moveTo>
                <a:cubicBezTo>
                  <a:pt x="1917" y="309"/>
                  <a:pt x="1914" y="312"/>
                  <a:pt x="1914" y="316"/>
                </a:cubicBezTo>
                <a:cubicBezTo>
                  <a:pt x="1914" y="320"/>
                  <a:pt x="1917" y="323"/>
                  <a:pt x="1922" y="323"/>
                </a:cubicBezTo>
                <a:cubicBezTo>
                  <a:pt x="1926" y="323"/>
                  <a:pt x="1929" y="320"/>
                  <a:pt x="1929" y="316"/>
                </a:cubicBezTo>
                <a:cubicBezTo>
                  <a:pt x="1929" y="312"/>
                  <a:pt x="1926" y="309"/>
                  <a:pt x="1922" y="309"/>
                </a:cubicBezTo>
                <a:close/>
                <a:moveTo>
                  <a:pt x="1900" y="329"/>
                </a:moveTo>
                <a:cubicBezTo>
                  <a:pt x="1895" y="329"/>
                  <a:pt x="1892" y="332"/>
                  <a:pt x="1892" y="335"/>
                </a:cubicBezTo>
                <a:cubicBezTo>
                  <a:pt x="1892" y="339"/>
                  <a:pt x="1895" y="342"/>
                  <a:pt x="1900" y="342"/>
                </a:cubicBezTo>
                <a:cubicBezTo>
                  <a:pt x="1904" y="342"/>
                  <a:pt x="1907" y="339"/>
                  <a:pt x="1907" y="335"/>
                </a:cubicBezTo>
                <a:cubicBezTo>
                  <a:pt x="1907" y="332"/>
                  <a:pt x="1904" y="329"/>
                  <a:pt x="1900" y="329"/>
                </a:cubicBezTo>
                <a:close/>
                <a:moveTo>
                  <a:pt x="1922" y="329"/>
                </a:moveTo>
                <a:cubicBezTo>
                  <a:pt x="1917" y="329"/>
                  <a:pt x="1914" y="332"/>
                  <a:pt x="1914" y="335"/>
                </a:cubicBezTo>
                <a:cubicBezTo>
                  <a:pt x="1914" y="339"/>
                  <a:pt x="1917" y="342"/>
                  <a:pt x="1922" y="342"/>
                </a:cubicBezTo>
                <a:cubicBezTo>
                  <a:pt x="1926" y="342"/>
                  <a:pt x="1929" y="339"/>
                  <a:pt x="1929" y="335"/>
                </a:cubicBezTo>
                <a:cubicBezTo>
                  <a:pt x="1929" y="332"/>
                  <a:pt x="1926" y="329"/>
                  <a:pt x="1922" y="329"/>
                </a:cubicBezTo>
                <a:close/>
                <a:moveTo>
                  <a:pt x="1900" y="348"/>
                </a:moveTo>
                <a:cubicBezTo>
                  <a:pt x="1895" y="348"/>
                  <a:pt x="1892" y="351"/>
                  <a:pt x="1892" y="355"/>
                </a:cubicBezTo>
                <a:cubicBezTo>
                  <a:pt x="1892" y="359"/>
                  <a:pt x="1895" y="362"/>
                  <a:pt x="1900" y="362"/>
                </a:cubicBezTo>
                <a:cubicBezTo>
                  <a:pt x="1904" y="362"/>
                  <a:pt x="1907" y="359"/>
                  <a:pt x="1907" y="355"/>
                </a:cubicBezTo>
                <a:cubicBezTo>
                  <a:pt x="1907" y="351"/>
                  <a:pt x="1904" y="348"/>
                  <a:pt x="1900" y="348"/>
                </a:cubicBezTo>
                <a:close/>
                <a:moveTo>
                  <a:pt x="1922" y="348"/>
                </a:moveTo>
                <a:cubicBezTo>
                  <a:pt x="1917" y="348"/>
                  <a:pt x="1914" y="351"/>
                  <a:pt x="1914" y="355"/>
                </a:cubicBezTo>
                <a:cubicBezTo>
                  <a:pt x="1914" y="359"/>
                  <a:pt x="1917" y="362"/>
                  <a:pt x="1922" y="362"/>
                </a:cubicBezTo>
                <a:cubicBezTo>
                  <a:pt x="1926" y="362"/>
                  <a:pt x="1929" y="359"/>
                  <a:pt x="1929" y="355"/>
                </a:cubicBezTo>
                <a:cubicBezTo>
                  <a:pt x="1929" y="351"/>
                  <a:pt x="1926" y="348"/>
                  <a:pt x="1922" y="348"/>
                </a:cubicBezTo>
                <a:close/>
                <a:moveTo>
                  <a:pt x="1900" y="368"/>
                </a:moveTo>
                <a:cubicBezTo>
                  <a:pt x="1895" y="368"/>
                  <a:pt x="1892" y="371"/>
                  <a:pt x="1892" y="374"/>
                </a:cubicBezTo>
                <a:cubicBezTo>
                  <a:pt x="1892" y="378"/>
                  <a:pt x="1895" y="381"/>
                  <a:pt x="1900" y="381"/>
                </a:cubicBezTo>
                <a:cubicBezTo>
                  <a:pt x="1904" y="381"/>
                  <a:pt x="1907" y="378"/>
                  <a:pt x="1907" y="374"/>
                </a:cubicBezTo>
                <a:cubicBezTo>
                  <a:pt x="1907" y="371"/>
                  <a:pt x="1904" y="368"/>
                  <a:pt x="1900" y="368"/>
                </a:cubicBezTo>
                <a:close/>
                <a:moveTo>
                  <a:pt x="1922" y="368"/>
                </a:moveTo>
                <a:cubicBezTo>
                  <a:pt x="1917" y="368"/>
                  <a:pt x="1914" y="371"/>
                  <a:pt x="1914" y="374"/>
                </a:cubicBezTo>
                <a:cubicBezTo>
                  <a:pt x="1914" y="378"/>
                  <a:pt x="1917" y="381"/>
                  <a:pt x="1922" y="381"/>
                </a:cubicBezTo>
                <a:cubicBezTo>
                  <a:pt x="1926" y="381"/>
                  <a:pt x="1929" y="378"/>
                  <a:pt x="1929" y="374"/>
                </a:cubicBezTo>
                <a:cubicBezTo>
                  <a:pt x="1929" y="371"/>
                  <a:pt x="1926" y="368"/>
                  <a:pt x="1922" y="368"/>
                </a:cubicBezTo>
                <a:close/>
                <a:moveTo>
                  <a:pt x="1900" y="387"/>
                </a:moveTo>
                <a:cubicBezTo>
                  <a:pt x="1895" y="387"/>
                  <a:pt x="1892" y="390"/>
                  <a:pt x="1892" y="393"/>
                </a:cubicBezTo>
                <a:cubicBezTo>
                  <a:pt x="1892" y="397"/>
                  <a:pt x="1895" y="400"/>
                  <a:pt x="1900" y="400"/>
                </a:cubicBezTo>
                <a:cubicBezTo>
                  <a:pt x="1904" y="400"/>
                  <a:pt x="1907" y="397"/>
                  <a:pt x="1907" y="393"/>
                </a:cubicBezTo>
                <a:cubicBezTo>
                  <a:pt x="1907" y="390"/>
                  <a:pt x="1904" y="387"/>
                  <a:pt x="1900" y="387"/>
                </a:cubicBezTo>
                <a:close/>
                <a:moveTo>
                  <a:pt x="1922" y="387"/>
                </a:moveTo>
                <a:cubicBezTo>
                  <a:pt x="1917" y="387"/>
                  <a:pt x="1914" y="390"/>
                  <a:pt x="1914" y="393"/>
                </a:cubicBezTo>
                <a:cubicBezTo>
                  <a:pt x="1914" y="397"/>
                  <a:pt x="1917" y="400"/>
                  <a:pt x="1922" y="400"/>
                </a:cubicBezTo>
                <a:cubicBezTo>
                  <a:pt x="1926" y="400"/>
                  <a:pt x="1929" y="397"/>
                  <a:pt x="1929" y="393"/>
                </a:cubicBezTo>
                <a:cubicBezTo>
                  <a:pt x="1929" y="390"/>
                  <a:pt x="1926" y="387"/>
                  <a:pt x="1922" y="387"/>
                </a:cubicBezTo>
                <a:close/>
                <a:moveTo>
                  <a:pt x="1900" y="406"/>
                </a:moveTo>
                <a:cubicBezTo>
                  <a:pt x="1895" y="406"/>
                  <a:pt x="1892" y="409"/>
                  <a:pt x="1892" y="413"/>
                </a:cubicBezTo>
                <a:cubicBezTo>
                  <a:pt x="1892" y="416"/>
                  <a:pt x="1895" y="419"/>
                  <a:pt x="1900" y="419"/>
                </a:cubicBezTo>
                <a:cubicBezTo>
                  <a:pt x="1904" y="419"/>
                  <a:pt x="1907" y="416"/>
                  <a:pt x="1907" y="413"/>
                </a:cubicBezTo>
                <a:cubicBezTo>
                  <a:pt x="1907" y="409"/>
                  <a:pt x="1904" y="406"/>
                  <a:pt x="1900" y="406"/>
                </a:cubicBezTo>
                <a:close/>
                <a:moveTo>
                  <a:pt x="1922" y="406"/>
                </a:moveTo>
                <a:cubicBezTo>
                  <a:pt x="1917" y="406"/>
                  <a:pt x="1914" y="409"/>
                  <a:pt x="1914" y="413"/>
                </a:cubicBezTo>
                <a:cubicBezTo>
                  <a:pt x="1914" y="416"/>
                  <a:pt x="1917" y="419"/>
                  <a:pt x="1922" y="419"/>
                </a:cubicBezTo>
                <a:cubicBezTo>
                  <a:pt x="1926" y="419"/>
                  <a:pt x="1929" y="416"/>
                  <a:pt x="1929" y="413"/>
                </a:cubicBezTo>
                <a:cubicBezTo>
                  <a:pt x="1929" y="409"/>
                  <a:pt x="1926" y="406"/>
                  <a:pt x="1922" y="406"/>
                </a:cubicBezTo>
                <a:close/>
                <a:moveTo>
                  <a:pt x="1900" y="425"/>
                </a:moveTo>
                <a:cubicBezTo>
                  <a:pt x="1895" y="425"/>
                  <a:pt x="1892" y="428"/>
                  <a:pt x="1892" y="432"/>
                </a:cubicBezTo>
                <a:cubicBezTo>
                  <a:pt x="1892" y="435"/>
                  <a:pt x="1895" y="438"/>
                  <a:pt x="1900" y="438"/>
                </a:cubicBezTo>
                <a:cubicBezTo>
                  <a:pt x="1904" y="438"/>
                  <a:pt x="1907" y="435"/>
                  <a:pt x="1907" y="432"/>
                </a:cubicBezTo>
                <a:cubicBezTo>
                  <a:pt x="1907" y="428"/>
                  <a:pt x="1904" y="425"/>
                  <a:pt x="1900" y="425"/>
                </a:cubicBezTo>
                <a:close/>
                <a:moveTo>
                  <a:pt x="1922" y="425"/>
                </a:moveTo>
                <a:cubicBezTo>
                  <a:pt x="1917" y="425"/>
                  <a:pt x="1914" y="428"/>
                  <a:pt x="1914" y="432"/>
                </a:cubicBezTo>
                <a:cubicBezTo>
                  <a:pt x="1914" y="435"/>
                  <a:pt x="1917" y="438"/>
                  <a:pt x="1922" y="438"/>
                </a:cubicBezTo>
                <a:cubicBezTo>
                  <a:pt x="1926" y="438"/>
                  <a:pt x="1929" y="435"/>
                  <a:pt x="1929" y="432"/>
                </a:cubicBezTo>
                <a:cubicBezTo>
                  <a:pt x="1929" y="428"/>
                  <a:pt x="1926" y="425"/>
                  <a:pt x="1922" y="425"/>
                </a:cubicBezTo>
                <a:close/>
                <a:moveTo>
                  <a:pt x="1855" y="446"/>
                </a:moveTo>
                <a:cubicBezTo>
                  <a:pt x="1851" y="446"/>
                  <a:pt x="1847" y="448"/>
                  <a:pt x="1847" y="452"/>
                </a:cubicBezTo>
                <a:cubicBezTo>
                  <a:pt x="1847" y="455"/>
                  <a:pt x="1851" y="458"/>
                  <a:pt x="1855" y="458"/>
                </a:cubicBezTo>
                <a:cubicBezTo>
                  <a:pt x="1859" y="458"/>
                  <a:pt x="1863" y="455"/>
                  <a:pt x="1863" y="452"/>
                </a:cubicBezTo>
                <a:cubicBezTo>
                  <a:pt x="1863" y="448"/>
                  <a:pt x="1859" y="446"/>
                  <a:pt x="1855" y="446"/>
                </a:cubicBezTo>
                <a:close/>
                <a:moveTo>
                  <a:pt x="1877" y="446"/>
                </a:moveTo>
                <a:cubicBezTo>
                  <a:pt x="1873" y="446"/>
                  <a:pt x="1870" y="448"/>
                  <a:pt x="1870" y="452"/>
                </a:cubicBezTo>
                <a:cubicBezTo>
                  <a:pt x="1870" y="455"/>
                  <a:pt x="1873" y="458"/>
                  <a:pt x="1877" y="458"/>
                </a:cubicBezTo>
                <a:cubicBezTo>
                  <a:pt x="1882" y="458"/>
                  <a:pt x="1885" y="455"/>
                  <a:pt x="1885" y="452"/>
                </a:cubicBezTo>
                <a:cubicBezTo>
                  <a:pt x="1885" y="448"/>
                  <a:pt x="1882" y="446"/>
                  <a:pt x="1877" y="446"/>
                </a:cubicBezTo>
                <a:close/>
                <a:moveTo>
                  <a:pt x="1855" y="464"/>
                </a:moveTo>
                <a:cubicBezTo>
                  <a:pt x="1851" y="464"/>
                  <a:pt x="1847" y="467"/>
                  <a:pt x="1847" y="471"/>
                </a:cubicBezTo>
                <a:cubicBezTo>
                  <a:pt x="1847" y="475"/>
                  <a:pt x="1851" y="478"/>
                  <a:pt x="1855" y="478"/>
                </a:cubicBezTo>
                <a:cubicBezTo>
                  <a:pt x="1859" y="478"/>
                  <a:pt x="1863" y="475"/>
                  <a:pt x="1863" y="471"/>
                </a:cubicBezTo>
                <a:cubicBezTo>
                  <a:pt x="1863" y="467"/>
                  <a:pt x="1859" y="464"/>
                  <a:pt x="1855" y="464"/>
                </a:cubicBezTo>
                <a:close/>
                <a:moveTo>
                  <a:pt x="1877" y="464"/>
                </a:moveTo>
                <a:cubicBezTo>
                  <a:pt x="1873" y="464"/>
                  <a:pt x="1870" y="467"/>
                  <a:pt x="1870" y="471"/>
                </a:cubicBezTo>
                <a:cubicBezTo>
                  <a:pt x="1870" y="475"/>
                  <a:pt x="1873" y="478"/>
                  <a:pt x="1877" y="478"/>
                </a:cubicBezTo>
                <a:cubicBezTo>
                  <a:pt x="1882" y="478"/>
                  <a:pt x="1885" y="475"/>
                  <a:pt x="1885" y="471"/>
                </a:cubicBezTo>
                <a:cubicBezTo>
                  <a:pt x="1885" y="467"/>
                  <a:pt x="1882" y="464"/>
                  <a:pt x="1877" y="464"/>
                </a:cubicBezTo>
                <a:close/>
                <a:moveTo>
                  <a:pt x="1855" y="484"/>
                </a:moveTo>
                <a:cubicBezTo>
                  <a:pt x="1851" y="484"/>
                  <a:pt x="1847" y="487"/>
                  <a:pt x="1847" y="490"/>
                </a:cubicBezTo>
                <a:cubicBezTo>
                  <a:pt x="1847" y="494"/>
                  <a:pt x="1851" y="497"/>
                  <a:pt x="1855" y="497"/>
                </a:cubicBezTo>
                <a:cubicBezTo>
                  <a:pt x="1859" y="497"/>
                  <a:pt x="1863" y="494"/>
                  <a:pt x="1863" y="490"/>
                </a:cubicBezTo>
                <a:cubicBezTo>
                  <a:pt x="1863" y="487"/>
                  <a:pt x="1859" y="484"/>
                  <a:pt x="1855" y="484"/>
                </a:cubicBezTo>
                <a:close/>
                <a:moveTo>
                  <a:pt x="1877" y="484"/>
                </a:moveTo>
                <a:cubicBezTo>
                  <a:pt x="1873" y="484"/>
                  <a:pt x="1870" y="487"/>
                  <a:pt x="1870" y="490"/>
                </a:cubicBezTo>
                <a:cubicBezTo>
                  <a:pt x="1870" y="494"/>
                  <a:pt x="1873" y="497"/>
                  <a:pt x="1877" y="497"/>
                </a:cubicBezTo>
                <a:cubicBezTo>
                  <a:pt x="1882" y="497"/>
                  <a:pt x="1885" y="494"/>
                  <a:pt x="1885" y="490"/>
                </a:cubicBezTo>
                <a:cubicBezTo>
                  <a:pt x="1885" y="487"/>
                  <a:pt x="1882" y="484"/>
                  <a:pt x="1877" y="484"/>
                </a:cubicBezTo>
                <a:close/>
                <a:moveTo>
                  <a:pt x="1855" y="503"/>
                </a:moveTo>
                <a:cubicBezTo>
                  <a:pt x="1851" y="503"/>
                  <a:pt x="1847" y="506"/>
                  <a:pt x="1847" y="509"/>
                </a:cubicBezTo>
                <a:cubicBezTo>
                  <a:pt x="1847" y="513"/>
                  <a:pt x="1851" y="516"/>
                  <a:pt x="1855" y="516"/>
                </a:cubicBezTo>
                <a:cubicBezTo>
                  <a:pt x="1859" y="516"/>
                  <a:pt x="1863" y="513"/>
                  <a:pt x="1863" y="509"/>
                </a:cubicBezTo>
                <a:cubicBezTo>
                  <a:pt x="1863" y="506"/>
                  <a:pt x="1859" y="503"/>
                  <a:pt x="1855" y="503"/>
                </a:cubicBezTo>
                <a:close/>
                <a:moveTo>
                  <a:pt x="1877" y="503"/>
                </a:moveTo>
                <a:cubicBezTo>
                  <a:pt x="1873" y="503"/>
                  <a:pt x="1870" y="506"/>
                  <a:pt x="1870" y="509"/>
                </a:cubicBezTo>
                <a:cubicBezTo>
                  <a:pt x="1870" y="513"/>
                  <a:pt x="1873" y="516"/>
                  <a:pt x="1877" y="516"/>
                </a:cubicBezTo>
                <a:cubicBezTo>
                  <a:pt x="1882" y="516"/>
                  <a:pt x="1885" y="513"/>
                  <a:pt x="1885" y="509"/>
                </a:cubicBezTo>
                <a:cubicBezTo>
                  <a:pt x="1885" y="506"/>
                  <a:pt x="1882" y="503"/>
                  <a:pt x="1877" y="503"/>
                </a:cubicBezTo>
                <a:close/>
                <a:moveTo>
                  <a:pt x="1855" y="522"/>
                </a:moveTo>
                <a:cubicBezTo>
                  <a:pt x="1851" y="522"/>
                  <a:pt x="1847" y="525"/>
                  <a:pt x="1847" y="529"/>
                </a:cubicBezTo>
                <a:cubicBezTo>
                  <a:pt x="1847" y="533"/>
                  <a:pt x="1851" y="536"/>
                  <a:pt x="1855" y="536"/>
                </a:cubicBezTo>
                <a:cubicBezTo>
                  <a:pt x="1859" y="536"/>
                  <a:pt x="1863" y="533"/>
                  <a:pt x="1863" y="529"/>
                </a:cubicBezTo>
                <a:cubicBezTo>
                  <a:pt x="1863" y="525"/>
                  <a:pt x="1859" y="522"/>
                  <a:pt x="1855" y="522"/>
                </a:cubicBezTo>
                <a:close/>
                <a:moveTo>
                  <a:pt x="1877" y="522"/>
                </a:moveTo>
                <a:cubicBezTo>
                  <a:pt x="1873" y="522"/>
                  <a:pt x="1870" y="525"/>
                  <a:pt x="1870" y="529"/>
                </a:cubicBezTo>
                <a:cubicBezTo>
                  <a:pt x="1870" y="533"/>
                  <a:pt x="1873" y="536"/>
                  <a:pt x="1877" y="536"/>
                </a:cubicBezTo>
                <a:cubicBezTo>
                  <a:pt x="1882" y="536"/>
                  <a:pt x="1885" y="533"/>
                  <a:pt x="1885" y="529"/>
                </a:cubicBezTo>
                <a:cubicBezTo>
                  <a:pt x="1885" y="525"/>
                  <a:pt x="1882" y="522"/>
                  <a:pt x="1877" y="522"/>
                </a:cubicBezTo>
                <a:close/>
                <a:moveTo>
                  <a:pt x="1855" y="542"/>
                </a:moveTo>
                <a:cubicBezTo>
                  <a:pt x="1851" y="542"/>
                  <a:pt x="1847" y="545"/>
                  <a:pt x="1847" y="549"/>
                </a:cubicBezTo>
                <a:cubicBezTo>
                  <a:pt x="1847" y="552"/>
                  <a:pt x="1851" y="556"/>
                  <a:pt x="1855" y="556"/>
                </a:cubicBezTo>
                <a:cubicBezTo>
                  <a:pt x="1859" y="556"/>
                  <a:pt x="1863" y="552"/>
                  <a:pt x="1863" y="549"/>
                </a:cubicBezTo>
                <a:cubicBezTo>
                  <a:pt x="1863" y="545"/>
                  <a:pt x="1859" y="542"/>
                  <a:pt x="1855" y="542"/>
                </a:cubicBezTo>
                <a:close/>
                <a:moveTo>
                  <a:pt x="1877" y="542"/>
                </a:moveTo>
                <a:cubicBezTo>
                  <a:pt x="1873" y="542"/>
                  <a:pt x="1870" y="545"/>
                  <a:pt x="1870" y="549"/>
                </a:cubicBezTo>
                <a:cubicBezTo>
                  <a:pt x="1870" y="552"/>
                  <a:pt x="1873" y="556"/>
                  <a:pt x="1877" y="556"/>
                </a:cubicBezTo>
                <a:cubicBezTo>
                  <a:pt x="1882" y="556"/>
                  <a:pt x="1885" y="552"/>
                  <a:pt x="1885" y="549"/>
                </a:cubicBezTo>
                <a:cubicBezTo>
                  <a:pt x="1885" y="545"/>
                  <a:pt x="1882" y="542"/>
                  <a:pt x="1877" y="542"/>
                </a:cubicBezTo>
                <a:close/>
                <a:moveTo>
                  <a:pt x="1855" y="561"/>
                </a:moveTo>
                <a:cubicBezTo>
                  <a:pt x="1851" y="561"/>
                  <a:pt x="1847" y="564"/>
                  <a:pt x="1847" y="567"/>
                </a:cubicBezTo>
                <a:cubicBezTo>
                  <a:pt x="1847" y="571"/>
                  <a:pt x="1851" y="574"/>
                  <a:pt x="1855" y="574"/>
                </a:cubicBezTo>
                <a:cubicBezTo>
                  <a:pt x="1859" y="574"/>
                  <a:pt x="1863" y="571"/>
                  <a:pt x="1863" y="567"/>
                </a:cubicBezTo>
                <a:cubicBezTo>
                  <a:pt x="1863" y="564"/>
                  <a:pt x="1859" y="561"/>
                  <a:pt x="1855" y="561"/>
                </a:cubicBezTo>
                <a:close/>
                <a:moveTo>
                  <a:pt x="1877" y="561"/>
                </a:moveTo>
                <a:cubicBezTo>
                  <a:pt x="1873" y="561"/>
                  <a:pt x="1870" y="564"/>
                  <a:pt x="1870" y="567"/>
                </a:cubicBezTo>
                <a:cubicBezTo>
                  <a:pt x="1870" y="571"/>
                  <a:pt x="1873" y="574"/>
                  <a:pt x="1877" y="574"/>
                </a:cubicBezTo>
                <a:cubicBezTo>
                  <a:pt x="1882" y="574"/>
                  <a:pt x="1885" y="571"/>
                  <a:pt x="1885" y="567"/>
                </a:cubicBezTo>
                <a:cubicBezTo>
                  <a:pt x="1885" y="564"/>
                  <a:pt x="1882" y="561"/>
                  <a:pt x="1877" y="561"/>
                </a:cubicBezTo>
                <a:close/>
                <a:moveTo>
                  <a:pt x="1855" y="580"/>
                </a:moveTo>
                <a:cubicBezTo>
                  <a:pt x="1851" y="580"/>
                  <a:pt x="1847" y="583"/>
                  <a:pt x="1847" y="587"/>
                </a:cubicBezTo>
                <a:cubicBezTo>
                  <a:pt x="1847" y="590"/>
                  <a:pt x="1851" y="593"/>
                  <a:pt x="1855" y="593"/>
                </a:cubicBezTo>
                <a:cubicBezTo>
                  <a:pt x="1859" y="593"/>
                  <a:pt x="1863" y="590"/>
                  <a:pt x="1863" y="587"/>
                </a:cubicBezTo>
                <a:cubicBezTo>
                  <a:pt x="1863" y="583"/>
                  <a:pt x="1859" y="580"/>
                  <a:pt x="1855" y="580"/>
                </a:cubicBezTo>
                <a:close/>
                <a:moveTo>
                  <a:pt x="1877" y="580"/>
                </a:moveTo>
                <a:cubicBezTo>
                  <a:pt x="1873" y="580"/>
                  <a:pt x="1870" y="583"/>
                  <a:pt x="1870" y="587"/>
                </a:cubicBezTo>
                <a:cubicBezTo>
                  <a:pt x="1870" y="590"/>
                  <a:pt x="1873" y="593"/>
                  <a:pt x="1877" y="593"/>
                </a:cubicBezTo>
                <a:cubicBezTo>
                  <a:pt x="1882" y="593"/>
                  <a:pt x="1885" y="590"/>
                  <a:pt x="1885" y="587"/>
                </a:cubicBezTo>
                <a:cubicBezTo>
                  <a:pt x="1885" y="583"/>
                  <a:pt x="1882" y="580"/>
                  <a:pt x="1877" y="580"/>
                </a:cubicBezTo>
                <a:close/>
                <a:moveTo>
                  <a:pt x="1900" y="446"/>
                </a:moveTo>
                <a:cubicBezTo>
                  <a:pt x="1895" y="446"/>
                  <a:pt x="1892" y="448"/>
                  <a:pt x="1892" y="452"/>
                </a:cubicBezTo>
                <a:cubicBezTo>
                  <a:pt x="1892" y="455"/>
                  <a:pt x="1895" y="458"/>
                  <a:pt x="1900" y="458"/>
                </a:cubicBezTo>
                <a:cubicBezTo>
                  <a:pt x="1904" y="458"/>
                  <a:pt x="1907" y="455"/>
                  <a:pt x="1907" y="452"/>
                </a:cubicBezTo>
                <a:cubicBezTo>
                  <a:pt x="1907" y="448"/>
                  <a:pt x="1904" y="446"/>
                  <a:pt x="1900" y="446"/>
                </a:cubicBezTo>
                <a:close/>
                <a:moveTo>
                  <a:pt x="1900" y="464"/>
                </a:moveTo>
                <a:cubicBezTo>
                  <a:pt x="1895" y="464"/>
                  <a:pt x="1892" y="467"/>
                  <a:pt x="1892" y="471"/>
                </a:cubicBezTo>
                <a:cubicBezTo>
                  <a:pt x="1892" y="475"/>
                  <a:pt x="1895" y="478"/>
                  <a:pt x="1900" y="478"/>
                </a:cubicBezTo>
                <a:cubicBezTo>
                  <a:pt x="1904" y="478"/>
                  <a:pt x="1907" y="475"/>
                  <a:pt x="1907" y="471"/>
                </a:cubicBezTo>
                <a:cubicBezTo>
                  <a:pt x="1907" y="467"/>
                  <a:pt x="1904" y="464"/>
                  <a:pt x="1900" y="464"/>
                </a:cubicBezTo>
                <a:close/>
                <a:moveTo>
                  <a:pt x="1922" y="464"/>
                </a:moveTo>
                <a:cubicBezTo>
                  <a:pt x="1917" y="464"/>
                  <a:pt x="1914" y="467"/>
                  <a:pt x="1914" y="471"/>
                </a:cubicBezTo>
                <a:cubicBezTo>
                  <a:pt x="1914" y="475"/>
                  <a:pt x="1917" y="478"/>
                  <a:pt x="1922" y="478"/>
                </a:cubicBezTo>
                <a:cubicBezTo>
                  <a:pt x="1926" y="478"/>
                  <a:pt x="1929" y="475"/>
                  <a:pt x="1929" y="471"/>
                </a:cubicBezTo>
                <a:cubicBezTo>
                  <a:pt x="1929" y="467"/>
                  <a:pt x="1926" y="464"/>
                  <a:pt x="1922" y="464"/>
                </a:cubicBezTo>
                <a:close/>
                <a:moveTo>
                  <a:pt x="1900" y="484"/>
                </a:moveTo>
                <a:cubicBezTo>
                  <a:pt x="1895" y="484"/>
                  <a:pt x="1892" y="487"/>
                  <a:pt x="1892" y="490"/>
                </a:cubicBezTo>
                <a:cubicBezTo>
                  <a:pt x="1892" y="494"/>
                  <a:pt x="1895" y="497"/>
                  <a:pt x="1900" y="497"/>
                </a:cubicBezTo>
                <a:cubicBezTo>
                  <a:pt x="1904" y="497"/>
                  <a:pt x="1907" y="494"/>
                  <a:pt x="1907" y="490"/>
                </a:cubicBezTo>
                <a:cubicBezTo>
                  <a:pt x="1907" y="487"/>
                  <a:pt x="1904" y="484"/>
                  <a:pt x="1900" y="484"/>
                </a:cubicBezTo>
                <a:close/>
                <a:moveTo>
                  <a:pt x="1922" y="484"/>
                </a:moveTo>
                <a:cubicBezTo>
                  <a:pt x="1917" y="484"/>
                  <a:pt x="1914" y="487"/>
                  <a:pt x="1914" y="490"/>
                </a:cubicBezTo>
                <a:cubicBezTo>
                  <a:pt x="1914" y="494"/>
                  <a:pt x="1917" y="497"/>
                  <a:pt x="1922" y="497"/>
                </a:cubicBezTo>
                <a:cubicBezTo>
                  <a:pt x="1926" y="497"/>
                  <a:pt x="1929" y="494"/>
                  <a:pt x="1929" y="490"/>
                </a:cubicBezTo>
                <a:cubicBezTo>
                  <a:pt x="1929" y="487"/>
                  <a:pt x="1926" y="484"/>
                  <a:pt x="1922" y="484"/>
                </a:cubicBezTo>
                <a:close/>
                <a:moveTo>
                  <a:pt x="1900" y="503"/>
                </a:moveTo>
                <a:cubicBezTo>
                  <a:pt x="1895" y="503"/>
                  <a:pt x="1892" y="506"/>
                  <a:pt x="1892" y="509"/>
                </a:cubicBezTo>
                <a:cubicBezTo>
                  <a:pt x="1892" y="513"/>
                  <a:pt x="1895" y="516"/>
                  <a:pt x="1900" y="516"/>
                </a:cubicBezTo>
                <a:cubicBezTo>
                  <a:pt x="1904" y="516"/>
                  <a:pt x="1907" y="513"/>
                  <a:pt x="1907" y="509"/>
                </a:cubicBezTo>
                <a:cubicBezTo>
                  <a:pt x="1907" y="506"/>
                  <a:pt x="1904" y="503"/>
                  <a:pt x="1900" y="503"/>
                </a:cubicBezTo>
                <a:close/>
                <a:moveTo>
                  <a:pt x="1922" y="503"/>
                </a:moveTo>
                <a:cubicBezTo>
                  <a:pt x="1917" y="503"/>
                  <a:pt x="1914" y="506"/>
                  <a:pt x="1914" y="509"/>
                </a:cubicBezTo>
                <a:cubicBezTo>
                  <a:pt x="1914" y="513"/>
                  <a:pt x="1917" y="516"/>
                  <a:pt x="1922" y="516"/>
                </a:cubicBezTo>
                <a:cubicBezTo>
                  <a:pt x="1926" y="516"/>
                  <a:pt x="1929" y="513"/>
                  <a:pt x="1929" y="509"/>
                </a:cubicBezTo>
                <a:cubicBezTo>
                  <a:pt x="1929" y="506"/>
                  <a:pt x="1926" y="503"/>
                  <a:pt x="1922" y="503"/>
                </a:cubicBezTo>
                <a:close/>
                <a:moveTo>
                  <a:pt x="1900" y="522"/>
                </a:moveTo>
                <a:cubicBezTo>
                  <a:pt x="1895" y="522"/>
                  <a:pt x="1892" y="525"/>
                  <a:pt x="1892" y="529"/>
                </a:cubicBezTo>
                <a:cubicBezTo>
                  <a:pt x="1892" y="533"/>
                  <a:pt x="1895" y="536"/>
                  <a:pt x="1900" y="536"/>
                </a:cubicBezTo>
                <a:cubicBezTo>
                  <a:pt x="1904" y="536"/>
                  <a:pt x="1907" y="533"/>
                  <a:pt x="1907" y="529"/>
                </a:cubicBezTo>
                <a:cubicBezTo>
                  <a:pt x="1907" y="525"/>
                  <a:pt x="1904" y="522"/>
                  <a:pt x="1900" y="522"/>
                </a:cubicBezTo>
                <a:close/>
                <a:moveTo>
                  <a:pt x="1922" y="522"/>
                </a:moveTo>
                <a:cubicBezTo>
                  <a:pt x="1917" y="522"/>
                  <a:pt x="1914" y="525"/>
                  <a:pt x="1914" y="529"/>
                </a:cubicBezTo>
                <a:cubicBezTo>
                  <a:pt x="1914" y="533"/>
                  <a:pt x="1917" y="536"/>
                  <a:pt x="1922" y="536"/>
                </a:cubicBezTo>
                <a:cubicBezTo>
                  <a:pt x="1926" y="536"/>
                  <a:pt x="1929" y="533"/>
                  <a:pt x="1929" y="529"/>
                </a:cubicBezTo>
                <a:cubicBezTo>
                  <a:pt x="1929" y="525"/>
                  <a:pt x="1926" y="522"/>
                  <a:pt x="1922" y="522"/>
                </a:cubicBezTo>
                <a:close/>
                <a:moveTo>
                  <a:pt x="1900" y="542"/>
                </a:moveTo>
                <a:cubicBezTo>
                  <a:pt x="1895" y="542"/>
                  <a:pt x="1892" y="545"/>
                  <a:pt x="1892" y="549"/>
                </a:cubicBezTo>
                <a:cubicBezTo>
                  <a:pt x="1892" y="552"/>
                  <a:pt x="1895" y="556"/>
                  <a:pt x="1900" y="556"/>
                </a:cubicBezTo>
                <a:cubicBezTo>
                  <a:pt x="1904" y="556"/>
                  <a:pt x="1907" y="552"/>
                  <a:pt x="1907" y="549"/>
                </a:cubicBezTo>
                <a:cubicBezTo>
                  <a:pt x="1907" y="545"/>
                  <a:pt x="1904" y="542"/>
                  <a:pt x="1900" y="542"/>
                </a:cubicBezTo>
                <a:close/>
                <a:moveTo>
                  <a:pt x="1922" y="542"/>
                </a:moveTo>
                <a:cubicBezTo>
                  <a:pt x="1917" y="542"/>
                  <a:pt x="1914" y="545"/>
                  <a:pt x="1914" y="549"/>
                </a:cubicBezTo>
                <a:cubicBezTo>
                  <a:pt x="1914" y="552"/>
                  <a:pt x="1917" y="556"/>
                  <a:pt x="1922" y="556"/>
                </a:cubicBezTo>
                <a:cubicBezTo>
                  <a:pt x="1926" y="556"/>
                  <a:pt x="1929" y="552"/>
                  <a:pt x="1929" y="549"/>
                </a:cubicBezTo>
                <a:cubicBezTo>
                  <a:pt x="1929" y="545"/>
                  <a:pt x="1926" y="542"/>
                  <a:pt x="1922" y="542"/>
                </a:cubicBezTo>
                <a:close/>
                <a:moveTo>
                  <a:pt x="1900" y="561"/>
                </a:moveTo>
                <a:cubicBezTo>
                  <a:pt x="1895" y="561"/>
                  <a:pt x="1892" y="564"/>
                  <a:pt x="1892" y="567"/>
                </a:cubicBezTo>
                <a:cubicBezTo>
                  <a:pt x="1892" y="571"/>
                  <a:pt x="1895" y="574"/>
                  <a:pt x="1900" y="574"/>
                </a:cubicBezTo>
                <a:cubicBezTo>
                  <a:pt x="1904" y="574"/>
                  <a:pt x="1907" y="571"/>
                  <a:pt x="1907" y="567"/>
                </a:cubicBezTo>
                <a:cubicBezTo>
                  <a:pt x="1907" y="564"/>
                  <a:pt x="1904" y="561"/>
                  <a:pt x="1900" y="561"/>
                </a:cubicBezTo>
                <a:close/>
                <a:moveTo>
                  <a:pt x="1922" y="561"/>
                </a:moveTo>
                <a:cubicBezTo>
                  <a:pt x="1917" y="561"/>
                  <a:pt x="1914" y="564"/>
                  <a:pt x="1914" y="567"/>
                </a:cubicBezTo>
                <a:cubicBezTo>
                  <a:pt x="1914" y="571"/>
                  <a:pt x="1917" y="574"/>
                  <a:pt x="1922" y="574"/>
                </a:cubicBezTo>
                <a:cubicBezTo>
                  <a:pt x="1926" y="574"/>
                  <a:pt x="1929" y="571"/>
                  <a:pt x="1929" y="567"/>
                </a:cubicBezTo>
                <a:cubicBezTo>
                  <a:pt x="1929" y="564"/>
                  <a:pt x="1926" y="561"/>
                  <a:pt x="1922" y="561"/>
                </a:cubicBezTo>
                <a:close/>
                <a:moveTo>
                  <a:pt x="1855" y="640"/>
                </a:moveTo>
                <a:cubicBezTo>
                  <a:pt x="1851" y="640"/>
                  <a:pt x="1847" y="643"/>
                  <a:pt x="1847" y="647"/>
                </a:cubicBezTo>
                <a:cubicBezTo>
                  <a:pt x="1847" y="650"/>
                  <a:pt x="1851" y="653"/>
                  <a:pt x="1855" y="653"/>
                </a:cubicBezTo>
                <a:cubicBezTo>
                  <a:pt x="1859" y="653"/>
                  <a:pt x="1863" y="650"/>
                  <a:pt x="1863" y="647"/>
                </a:cubicBezTo>
                <a:cubicBezTo>
                  <a:pt x="1863" y="643"/>
                  <a:pt x="1859" y="640"/>
                  <a:pt x="1855" y="640"/>
                </a:cubicBezTo>
                <a:close/>
                <a:moveTo>
                  <a:pt x="1855" y="659"/>
                </a:moveTo>
                <a:cubicBezTo>
                  <a:pt x="1851" y="659"/>
                  <a:pt x="1847" y="662"/>
                  <a:pt x="1847" y="666"/>
                </a:cubicBezTo>
                <a:cubicBezTo>
                  <a:pt x="1847" y="670"/>
                  <a:pt x="1851" y="673"/>
                  <a:pt x="1855" y="673"/>
                </a:cubicBezTo>
                <a:cubicBezTo>
                  <a:pt x="1859" y="673"/>
                  <a:pt x="1863" y="670"/>
                  <a:pt x="1863" y="666"/>
                </a:cubicBezTo>
                <a:cubicBezTo>
                  <a:pt x="1863" y="662"/>
                  <a:pt x="1859" y="659"/>
                  <a:pt x="1855" y="659"/>
                </a:cubicBezTo>
                <a:close/>
                <a:moveTo>
                  <a:pt x="1877" y="717"/>
                </a:moveTo>
                <a:cubicBezTo>
                  <a:pt x="1873" y="717"/>
                  <a:pt x="1870" y="720"/>
                  <a:pt x="1870" y="724"/>
                </a:cubicBezTo>
                <a:cubicBezTo>
                  <a:pt x="1870" y="727"/>
                  <a:pt x="1873" y="730"/>
                  <a:pt x="1877" y="730"/>
                </a:cubicBezTo>
                <a:cubicBezTo>
                  <a:pt x="1882" y="730"/>
                  <a:pt x="1885" y="727"/>
                  <a:pt x="1885" y="724"/>
                </a:cubicBezTo>
                <a:cubicBezTo>
                  <a:pt x="1885" y="720"/>
                  <a:pt x="1882" y="717"/>
                  <a:pt x="1877" y="717"/>
                </a:cubicBezTo>
                <a:close/>
                <a:moveTo>
                  <a:pt x="1855" y="736"/>
                </a:moveTo>
                <a:cubicBezTo>
                  <a:pt x="1851" y="736"/>
                  <a:pt x="1847" y="739"/>
                  <a:pt x="1847" y="743"/>
                </a:cubicBezTo>
                <a:cubicBezTo>
                  <a:pt x="1847" y="747"/>
                  <a:pt x="1851" y="750"/>
                  <a:pt x="1855" y="750"/>
                </a:cubicBezTo>
                <a:cubicBezTo>
                  <a:pt x="1859" y="750"/>
                  <a:pt x="1863" y="747"/>
                  <a:pt x="1863" y="743"/>
                </a:cubicBezTo>
                <a:cubicBezTo>
                  <a:pt x="1863" y="739"/>
                  <a:pt x="1859" y="736"/>
                  <a:pt x="1855" y="736"/>
                </a:cubicBezTo>
                <a:close/>
                <a:moveTo>
                  <a:pt x="1877" y="736"/>
                </a:moveTo>
                <a:cubicBezTo>
                  <a:pt x="1873" y="736"/>
                  <a:pt x="1870" y="739"/>
                  <a:pt x="1870" y="743"/>
                </a:cubicBezTo>
                <a:cubicBezTo>
                  <a:pt x="1870" y="747"/>
                  <a:pt x="1873" y="750"/>
                  <a:pt x="1877" y="750"/>
                </a:cubicBezTo>
                <a:cubicBezTo>
                  <a:pt x="1882" y="750"/>
                  <a:pt x="1885" y="747"/>
                  <a:pt x="1885" y="743"/>
                </a:cubicBezTo>
                <a:cubicBezTo>
                  <a:pt x="1885" y="739"/>
                  <a:pt x="1882" y="736"/>
                  <a:pt x="1877" y="736"/>
                </a:cubicBezTo>
                <a:close/>
                <a:moveTo>
                  <a:pt x="1922" y="620"/>
                </a:moveTo>
                <a:cubicBezTo>
                  <a:pt x="1917" y="620"/>
                  <a:pt x="1914" y="623"/>
                  <a:pt x="1914" y="627"/>
                </a:cubicBezTo>
                <a:cubicBezTo>
                  <a:pt x="1914" y="631"/>
                  <a:pt x="1917" y="634"/>
                  <a:pt x="1922" y="634"/>
                </a:cubicBezTo>
                <a:cubicBezTo>
                  <a:pt x="1926" y="634"/>
                  <a:pt x="1929" y="631"/>
                  <a:pt x="1929" y="627"/>
                </a:cubicBezTo>
                <a:cubicBezTo>
                  <a:pt x="1929" y="623"/>
                  <a:pt x="1926" y="620"/>
                  <a:pt x="1922" y="620"/>
                </a:cubicBezTo>
                <a:close/>
                <a:moveTo>
                  <a:pt x="1900" y="717"/>
                </a:moveTo>
                <a:cubicBezTo>
                  <a:pt x="1895" y="717"/>
                  <a:pt x="1892" y="720"/>
                  <a:pt x="1892" y="724"/>
                </a:cubicBezTo>
                <a:cubicBezTo>
                  <a:pt x="1892" y="727"/>
                  <a:pt x="1895" y="730"/>
                  <a:pt x="1900" y="730"/>
                </a:cubicBezTo>
                <a:cubicBezTo>
                  <a:pt x="1904" y="730"/>
                  <a:pt x="1907" y="727"/>
                  <a:pt x="1907" y="724"/>
                </a:cubicBezTo>
                <a:cubicBezTo>
                  <a:pt x="1907" y="720"/>
                  <a:pt x="1904" y="717"/>
                  <a:pt x="1900" y="717"/>
                </a:cubicBezTo>
                <a:close/>
                <a:moveTo>
                  <a:pt x="1900" y="736"/>
                </a:moveTo>
                <a:cubicBezTo>
                  <a:pt x="1895" y="736"/>
                  <a:pt x="1892" y="739"/>
                  <a:pt x="1892" y="743"/>
                </a:cubicBezTo>
                <a:cubicBezTo>
                  <a:pt x="1892" y="747"/>
                  <a:pt x="1895" y="750"/>
                  <a:pt x="1900" y="750"/>
                </a:cubicBezTo>
                <a:cubicBezTo>
                  <a:pt x="1904" y="750"/>
                  <a:pt x="1907" y="747"/>
                  <a:pt x="1907" y="743"/>
                </a:cubicBezTo>
                <a:cubicBezTo>
                  <a:pt x="1907" y="739"/>
                  <a:pt x="1904" y="736"/>
                  <a:pt x="1900" y="736"/>
                </a:cubicBezTo>
                <a:close/>
                <a:moveTo>
                  <a:pt x="1877" y="757"/>
                </a:moveTo>
                <a:cubicBezTo>
                  <a:pt x="1873" y="757"/>
                  <a:pt x="1870" y="759"/>
                  <a:pt x="1870" y="763"/>
                </a:cubicBezTo>
                <a:cubicBezTo>
                  <a:pt x="1870" y="766"/>
                  <a:pt x="1873" y="769"/>
                  <a:pt x="1877" y="769"/>
                </a:cubicBezTo>
                <a:cubicBezTo>
                  <a:pt x="1882" y="769"/>
                  <a:pt x="1885" y="766"/>
                  <a:pt x="1885" y="763"/>
                </a:cubicBezTo>
                <a:cubicBezTo>
                  <a:pt x="1885" y="759"/>
                  <a:pt x="1882" y="757"/>
                  <a:pt x="1877" y="757"/>
                </a:cubicBezTo>
                <a:close/>
                <a:moveTo>
                  <a:pt x="1855" y="795"/>
                </a:moveTo>
                <a:cubicBezTo>
                  <a:pt x="1851" y="795"/>
                  <a:pt x="1847" y="798"/>
                  <a:pt x="1847" y="801"/>
                </a:cubicBezTo>
                <a:cubicBezTo>
                  <a:pt x="1847" y="805"/>
                  <a:pt x="1851" y="808"/>
                  <a:pt x="1855" y="808"/>
                </a:cubicBezTo>
                <a:cubicBezTo>
                  <a:pt x="1859" y="808"/>
                  <a:pt x="1863" y="805"/>
                  <a:pt x="1863" y="801"/>
                </a:cubicBezTo>
                <a:cubicBezTo>
                  <a:pt x="1863" y="798"/>
                  <a:pt x="1859" y="795"/>
                  <a:pt x="1855" y="795"/>
                </a:cubicBezTo>
                <a:close/>
                <a:moveTo>
                  <a:pt x="1877" y="795"/>
                </a:moveTo>
                <a:cubicBezTo>
                  <a:pt x="1873" y="795"/>
                  <a:pt x="1870" y="798"/>
                  <a:pt x="1870" y="801"/>
                </a:cubicBezTo>
                <a:cubicBezTo>
                  <a:pt x="1870" y="805"/>
                  <a:pt x="1873" y="808"/>
                  <a:pt x="1877" y="808"/>
                </a:cubicBezTo>
                <a:cubicBezTo>
                  <a:pt x="1882" y="808"/>
                  <a:pt x="1885" y="805"/>
                  <a:pt x="1885" y="801"/>
                </a:cubicBezTo>
                <a:cubicBezTo>
                  <a:pt x="1885" y="798"/>
                  <a:pt x="1882" y="795"/>
                  <a:pt x="1877" y="795"/>
                </a:cubicBezTo>
                <a:close/>
                <a:moveTo>
                  <a:pt x="1900" y="757"/>
                </a:moveTo>
                <a:cubicBezTo>
                  <a:pt x="1895" y="757"/>
                  <a:pt x="1892" y="759"/>
                  <a:pt x="1892" y="763"/>
                </a:cubicBezTo>
                <a:cubicBezTo>
                  <a:pt x="1892" y="766"/>
                  <a:pt x="1895" y="769"/>
                  <a:pt x="1900" y="769"/>
                </a:cubicBezTo>
                <a:cubicBezTo>
                  <a:pt x="1904" y="769"/>
                  <a:pt x="1907" y="766"/>
                  <a:pt x="1907" y="763"/>
                </a:cubicBezTo>
                <a:cubicBezTo>
                  <a:pt x="1907" y="759"/>
                  <a:pt x="1904" y="757"/>
                  <a:pt x="1900" y="757"/>
                </a:cubicBezTo>
                <a:close/>
                <a:moveTo>
                  <a:pt x="1900" y="795"/>
                </a:moveTo>
                <a:cubicBezTo>
                  <a:pt x="1895" y="795"/>
                  <a:pt x="1892" y="798"/>
                  <a:pt x="1892" y="801"/>
                </a:cubicBezTo>
                <a:cubicBezTo>
                  <a:pt x="1892" y="805"/>
                  <a:pt x="1895" y="808"/>
                  <a:pt x="1900" y="808"/>
                </a:cubicBezTo>
                <a:cubicBezTo>
                  <a:pt x="1904" y="808"/>
                  <a:pt x="1907" y="805"/>
                  <a:pt x="1907" y="801"/>
                </a:cubicBezTo>
                <a:cubicBezTo>
                  <a:pt x="1907" y="798"/>
                  <a:pt x="1904" y="795"/>
                  <a:pt x="1900" y="795"/>
                </a:cubicBezTo>
                <a:close/>
                <a:moveTo>
                  <a:pt x="1922" y="814"/>
                </a:moveTo>
                <a:cubicBezTo>
                  <a:pt x="1917" y="814"/>
                  <a:pt x="1914" y="817"/>
                  <a:pt x="1914" y="821"/>
                </a:cubicBezTo>
                <a:cubicBezTo>
                  <a:pt x="1914" y="825"/>
                  <a:pt x="1917" y="828"/>
                  <a:pt x="1922" y="828"/>
                </a:cubicBezTo>
                <a:cubicBezTo>
                  <a:pt x="1926" y="828"/>
                  <a:pt x="1929" y="825"/>
                  <a:pt x="1929" y="821"/>
                </a:cubicBezTo>
                <a:cubicBezTo>
                  <a:pt x="1929" y="817"/>
                  <a:pt x="1926" y="814"/>
                  <a:pt x="1922" y="814"/>
                </a:cubicBezTo>
                <a:close/>
                <a:moveTo>
                  <a:pt x="1922" y="891"/>
                </a:moveTo>
                <a:cubicBezTo>
                  <a:pt x="1917" y="891"/>
                  <a:pt x="1914" y="894"/>
                  <a:pt x="1914" y="898"/>
                </a:cubicBezTo>
                <a:cubicBezTo>
                  <a:pt x="1914" y="902"/>
                  <a:pt x="1917" y="905"/>
                  <a:pt x="1922" y="905"/>
                </a:cubicBezTo>
                <a:cubicBezTo>
                  <a:pt x="1926" y="905"/>
                  <a:pt x="1929" y="902"/>
                  <a:pt x="1929" y="898"/>
                </a:cubicBezTo>
                <a:cubicBezTo>
                  <a:pt x="1929" y="894"/>
                  <a:pt x="1926" y="891"/>
                  <a:pt x="1922" y="891"/>
                </a:cubicBezTo>
                <a:close/>
                <a:moveTo>
                  <a:pt x="1944" y="136"/>
                </a:moveTo>
                <a:cubicBezTo>
                  <a:pt x="1940" y="136"/>
                  <a:pt x="1936" y="139"/>
                  <a:pt x="1936" y="143"/>
                </a:cubicBezTo>
                <a:cubicBezTo>
                  <a:pt x="1936" y="146"/>
                  <a:pt x="1940" y="149"/>
                  <a:pt x="1944" y="149"/>
                </a:cubicBezTo>
                <a:cubicBezTo>
                  <a:pt x="1948" y="149"/>
                  <a:pt x="1952" y="146"/>
                  <a:pt x="1952" y="143"/>
                </a:cubicBezTo>
                <a:cubicBezTo>
                  <a:pt x="1952" y="139"/>
                  <a:pt x="1948" y="136"/>
                  <a:pt x="1944" y="136"/>
                </a:cubicBezTo>
                <a:close/>
                <a:moveTo>
                  <a:pt x="1944" y="155"/>
                </a:moveTo>
                <a:cubicBezTo>
                  <a:pt x="1940" y="155"/>
                  <a:pt x="1936" y="158"/>
                  <a:pt x="1936" y="162"/>
                </a:cubicBezTo>
                <a:cubicBezTo>
                  <a:pt x="1936" y="166"/>
                  <a:pt x="1940" y="169"/>
                  <a:pt x="1944" y="169"/>
                </a:cubicBezTo>
                <a:cubicBezTo>
                  <a:pt x="1948" y="169"/>
                  <a:pt x="1952" y="166"/>
                  <a:pt x="1952" y="162"/>
                </a:cubicBezTo>
                <a:cubicBezTo>
                  <a:pt x="1952" y="158"/>
                  <a:pt x="1948" y="155"/>
                  <a:pt x="1944" y="155"/>
                </a:cubicBezTo>
                <a:close/>
                <a:moveTo>
                  <a:pt x="1944" y="175"/>
                </a:moveTo>
                <a:cubicBezTo>
                  <a:pt x="1940" y="175"/>
                  <a:pt x="1936" y="178"/>
                  <a:pt x="1936" y="182"/>
                </a:cubicBezTo>
                <a:cubicBezTo>
                  <a:pt x="1936" y="185"/>
                  <a:pt x="1940" y="188"/>
                  <a:pt x="1944" y="188"/>
                </a:cubicBezTo>
                <a:cubicBezTo>
                  <a:pt x="1948" y="188"/>
                  <a:pt x="1952" y="185"/>
                  <a:pt x="1952" y="182"/>
                </a:cubicBezTo>
                <a:cubicBezTo>
                  <a:pt x="1952" y="178"/>
                  <a:pt x="1948" y="175"/>
                  <a:pt x="1944" y="175"/>
                </a:cubicBezTo>
                <a:close/>
                <a:moveTo>
                  <a:pt x="1944" y="194"/>
                </a:moveTo>
                <a:cubicBezTo>
                  <a:pt x="1940" y="194"/>
                  <a:pt x="1936" y="197"/>
                  <a:pt x="1936" y="201"/>
                </a:cubicBezTo>
                <a:cubicBezTo>
                  <a:pt x="1936" y="205"/>
                  <a:pt x="1940" y="208"/>
                  <a:pt x="1944" y="208"/>
                </a:cubicBezTo>
                <a:cubicBezTo>
                  <a:pt x="1948" y="208"/>
                  <a:pt x="1952" y="205"/>
                  <a:pt x="1952" y="201"/>
                </a:cubicBezTo>
                <a:cubicBezTo>
                  <a:pt x="1952" y="197"/>
                  <a:pt x="1948" y="194"/>
                  <a:pt x="1944" y="194"/>
                </a:cubicBezTo>
                <a:close/>
                <a:moveTo>
                  <a:pt x="1944" y="214"/>
                </a:moveTo>
                <a:cubicBezTo>
                  <a:pt x="1940" y="214"/>
                  <a:pt x="1936" y="217"/>
                  <a:pt x="1936" y="220"/>
                </a:cubicBezTo>
                <a:cubicBezTo>
                  <a:pt x="1936" y="224"/>
                  <a:pt x="1940" y="227"/>
                  <a:pt x="1944" y="227"/>
                </a:cubicBezTo>
                <a:cubicBezTo>
                  <a:pt x="1948" y="227"/>
                  <a:pt x="1952" y="224"/>
                  <a:pt x="1952" y="220"/>
                </a:cubicBezTo>
                <a:cubicBezTo>
                  <a:pt x="1952" y="217"/>
                  <a:pt x="1948" y="214"/>
                  <a:pt x="1944" y="214"/>
                </a:cubicBezTo>
                <a:close/>
                <a:moveTo>
                  <a:pt x="1944" y="233"/>
                </a:moveTo>
                <a:cubicBezTo>
                  <a:pt x="1940" y="233"/>
                  <a:pt x="1936" y="236"/>
                  <a:pt x="1936" y="239"/>
                </a:cubicBezTo>
                <a:cubicBezTo>
                  <a:pt x="1936" y="243"/>
                  <a:pt x="1940" y="245"/>
                  <a:pt x="1944" y="245"/>
                </a:cubicBezTo>
                <a:cubicBezTo>
                  <a:pt x="1948" y="245"/>
                  <a:pt x="1952" y="243"/>
                  <a:pt x="1952" y="239"/>
                </a:cubicBezTo>
                <a:cubicBezTo>
                  <a:pt x="1952" y="236"/>
                  <a:pt x="1948" y="233"/>
                  <a:pt x="1944" y="233"/>
                </a:cubicBezTo>
                <a:close/>
                <a:moveTo>
                  <a:pt x="1944" y="252"/>
                </a:moveTo>
                <a:cubicBezTo>
                  <a:pt x="1940" y="252"/>
                  <a:pt x="1936" y="255"/>
                  <a:pt x="1936" y="258"/>
                </a:cubicBezTo>
                <a:cubicBezTo>
                  <a:pt x="1936" y="262"/>
                  <a:pt x="1940" y="265"/>
                  <a:pt x="1944" y="265"/>
                </a:cubicBezTo>
                <a:cubicBezTo>
                  <a:pt x="1948" y="265"/>
                  <a:pt x="1952" y="262"/>
                  <a:pt x="1952" y="258"/>
                </a:cubicBezTo>
                <a:cubicBezTo>
                  <a:pt x="1952" y="255"/>
                  <a:pt x="1948" y="252"/>
                  <a:pt x="1944" y="252"/>
                </a:cubicBezTo>
                <a:close/>
                <a:moveTo>
                  <a:pt x="1944" y="271"/>
                </a:moveTo>
                <a:cubicBezTo>
                  <a:pt x="1940" y="271"/>
                  <a:pt x="1936" y="274"/>
                  <a:pt x="1936" y="278"/>
                </a:cubicBezTo>
                <a:cubicBezTo>
                  <a:pt x="1936" y="282"/>
                  <a:pt x="1940" y="285"/>
                  <a:pt x="1944" y="285"/>
                </a:cubicBezTo>
                <a:cubicBezTo>
                  <a:pt x="1948" y="285"/>
                  <a:pt x="1952" y="282"/>
                  <a:pt x="1952" y="278"/>
                </a:cubicBezTo>
                <a:cubicBezTo>
                  <a:pt x="1952" y="274"/>
                  <a:pt x="1948" y="271"/>
                  <a:pt x="1944" y="271"/>
                </a:cubicBezTo>
                <a:close/>
                <a:moveTo>
                  <a:pt x="1944" y="290"/>
                </a:moveTo>
                <a:cubicBezTo>
                  <a:pt x="1940" y="290"/>
                  <a:pt x="1936" y="293"/>
                  <a:pt x="1936" y="296"/>
                </a:cubicBezTo>
                <a:cubicBezTo>
                  <a:pt x="1936" y="300"/>
                  <a:pt x="1940" y="303"/>
                  <a:pt x="1944" y="303"/>
                </a:cubicBezTo>
                <a:cubicBezTo>
                  <a:pt x="1948" y="303"/>
                  <a:pt x="1952" y="300"/>
                  <a:pt x="1952" y="296"/>
                </a:cubicBezTo>
                <a:cubicBezTo>
                  <a:pt x="1952" y="293"/>
                  <a:pt x="1948" y="290"/>
                  <a:pt x="1944" y="290"/>
                </a:cubicBezTo>
                <a:close/>
                <a:moveTo>
                  <a:pt x="1944" y="309"/>
                </a:moveTo>
                <a:cubicBezTo>
                  <a:pt x="1940" y="309"/>
                  <a:pt x="1936" y="312"/>
                  <a:pt x="1936" y="316"/>
                </a:cubicBezTo>
                <a:cubicBezTo>
                  <a:pt x="1936" y="320"/>
                  <a:pt x="1940" y="323"/>
                  <a:pt x="1944" y="323"/>
                </a:cubicBezTo>
                <a:cubicBezTo>
                  <a:pt x="1948" y="323"/>
                  <a:pt x="1952" y="320"/>
                  <a:pt x="1952" y="316"/>
                </a:cubicBezTo>
                <a:cubicBezTo>
                  <a:pt x="1952" y="312"/>
                  <a:pt x="1948" y="309"/>
                  <a:pt x="1944" y="309"/>
                </a:cubicBezTo>
                <a:close/>
                <a:moveTo>
                  <a:pt x="1944" y="329"/>
                </a:moveTo>
                <a:cubicBezTo>
                  <a:pt x="1940" y="329"/>
                  <a:pt x="1936" y="332"/>
                  <a:pt x="1936" y="335"/>
                </a:cubicBezTo>
                <a:cubicBezTo>
                  <a:pt x="1936" y="339"/>
                  <a:pt x="1940" y="342"/>
                  <a:pt x="1944" y="342"/>
                </a:cubicBezTo>
                <a:cubicBezTo>
                  <a:pt x="1948" y="342"/>
                  <a:pt x="1952" y="339"/>
                  <a:pt x="1952" y="335"/>
                </a:cubicBezTo>
                <a:cubicBezTo>
                  <a:pt x="1952" y="332"/>
                  <a:pt x="1948" y="329"/>
                  <a:pt x="1944" y="329"/>
                </a:cubicBezTo>
                <a:close/>
                <a:moveTo>
                  <a:pt x="1944" y="348"/>
                </a:moveTo>
                <a:cubicBezTo>
                  <a:pt x="1940" y="348"/>
                  <a:pt x="1936" y="351"/>
                  <a:pt x="1936" y="355"/>
                </a:cubicBezTo>
                <a:cubicBezTo>
                  <a:pt x="1936" y="359"/>
                  <a:pt x="1940" y="362"/>
                  <a:pt x="1944" y="362"/>
                </a:cubicBezTo>
                <a:cubicBezTo>
                  <a:pt x="1948" y="362"/>
                  <a:pt x="1952" y="359"/>
                  <a:pt x="1952" y="355"/>
                </a:cubicBezTo>
                <a:cubicBezTo>
                  <a:pt x="1952" y="351"/>
                  <a:pt x="1948" y="348"/>
                  <a:pt x="1944" y="348"/>
                </a:cubicBezTo>
                <a:close/>
                <a:moveTo>
                  <a:pt x="1944" y="368"/>
                </a:moveTo>
                <a:cubicBezTo>
                  <a:pt x="1940" y="368"/>
                  <a:pt x="1936" y="371"/>
                  <a:pt x="1936" y="374"/>
                </a:cubicBezTo>
                <a:cubicBezTo>
                  <a:pt x="1936" y="378"/>
                  <a:pt x="1940" y="381"/>
                  <a:pt x="1944" y="381"/>
                </a:cubicBezTo>
                <a:cubicBezTo>
                  <a:pt x="1948" y="381"/>
                  <a:pt x="1952" y="378"/>
                  <a:pt x="1952" y="374"/>
                </a:cubicBezTo>
                <a:cubicBezTo>
                  <a:pt x="1952" y="371"/>
                  <a:pt x="1948" y="368"/>
                  <a:pt x="1944" y="368"/>
                </a:cubicBezTo>
                <a:close/>
                <a:moveTo>
                  <a:pt x="1944" y="387"/>
                </a:moveTo>
                <a:cubicBezTo>
                  <a:pt x="1940" y="387"/>
                  <a:pt x="1936" y="390"/>
                  <a:pt x="1936" y="393"/>
                </a:cubicBezTo>
                <a:cubicBezTo>
                  <a:pt x="1936" y="397"/>
                  <a:pt x="1940" y="400"/>
                  <a:pt x="1944" y="400"/>
                </a:cubicBezTo>
                <a:cubicBezTo>
                  <a:pt x="1948" y="400"/>
                  <a:pt x="1952" y="397"/>
                  <a:pt x="1952" y="393"/>
                </a:cubicBezTo>
                <a:cubicBezTo>
                  <a:pt x="1952" y="390"/>
                  <a:pt x="1948" y="387"/>
                  <a:pt x="1944" y="387"/>
                </a:cubicBezTo>
                <a:close/>
                <a:moveTo>
                  <a:pt x="1944" y="406"/>
                </a:moveTo>
                <a:cubicBezTo>
                  <a:pt x="1940" y="406"/>
                  <a:pt x="1936" y="409"/>
                  <a:pt x="1936" y="413"/>
                </a:cubicBezTo>
                <a:cubicBezTo>
                  <a:pt x="1936" y="416"/>
                  <a:pt x="1940" y="419"/>
                  <a:pt x="1944" y="419"/>
                </a:cubicBezTo>
                <a:cubicBezTo>
                  <a:pt x="1948" y="419"/>
                  <a:pt x="1952" y="416"/>
                  <a:pt x="1952" y="413"/>
                </a:cubicBezTo>
                <a:cubicBezTo>
                  <a:pt x="1952" y="409"/>
                  <a:pt x="1948" y="406"/>
                  <a:pt x="1944" y="406"/>
                </a:cubicBezTo>
                <a:close/>
                <a:moveTo>
                  <a:pt x="1944" y="425"/>
                </a:moveTo>
                <a:cubicBezTo>
                  <a:pt x="1940" y="425"/>
                  <a:pt x="1936" y="428"/>
                  <a:pt x="1936" y="432"/>
                </a:cubicBezTo>
                <a:cubicBezTo>
                  <a:pt x="1936" y="435"/>
                  <a:pt x="1940" y="438"/>
                  <a:pt x="1944" y="438"/>
                </a:cubicBezTo>
                <a:cubicBezTo>
                  <a:pt x="1948" y="438"/>
                  <a:pt x="1952" y="435"/>
                  <a:pt x="1952" y="432"/>
                </a:cubicBezTo>
                <a:cubicBezTo>
                  <a:pt x="1952" y="428"/>
                  <a:pt x="1948" y="425"/>
                  <a:pt x="1944" y="425"/>
                </a:cubicBezTo>
                <a:close/>
                <a:moveTo>
                  <a:pt x="1944" y="620"/>
                </a:moveTo>
                <a:cubicBezTo>
                  <a:pt x="1940" y="620"/>
                  <a:pt x="1936" y="623"/>
                  <a:pt x="1936" y="627"/>
                </a:cubicBezTo>
                <a:cubicBezTo>
                  <a:pt x="1936" y="631"/>
                  <a:pt x="1940" y="634"/>
                  <a:pt x="1944" y="634"/>
                </a:cubicBezTo>
                <a:cubicBezTo>
                  <a:pt x="1948" y="634"/>
                  <a:pt x="1952" y="631"/>
                  <a:pt x="1952" y="627"/>
                </a:cubicBezTo>
                <a:cubicBezTo>
                  <a:pt x="1952" y="623"/>
                  <a:pt x="1948" y="620"/>
                  <a:pt x="1944" y="620"/>
                </a:cubicBezTo>
                <a:close/>
                <a:moveTo>
                  <a:pt x="1944" y="640"/>
                </a:moveTo>
                <a:cubicBezTo>
                  <a:pt x="1940" y="640"/>
                  <a:pt x="1936" y="643"/>
                  <a:pt x="1936" y="647"/>
                </a:cubicBezTo>
                <a:cubicBezTo>
                  <a:pt x="1936" y="650"/>
                  <a:pt x="1940" y="653"/>
                  <a:pt x="1944" y="653"/>
                </a:cubicBezTo>
                <a:cubicBezTo>
                  <a:pt x="1948" y="653"/>
                  <a:pt x="1952" y="650"/>
                  <a:pt x="1952" y="647"/>
                </a:cubicBezTo>
                <a:cubicBezTo>
                  <a:pt x="1952" y="643"/>
                  <a:pt x="1948" y="640"/>
                  <a:pt x="1944" y="640"/>
                </a:cubicBezTo>
                <a:close/>
                <a:moveTo>
                  <a:pt x="1944" y="659"/>
                </a:moveTo>
                <a:cubicBezTo>
                  <a:pt x="1940" y="659"/>
                  <a:pt x="1936" y="662"/>
                  <a:pt x="1936" y="666"/>
                </a:cubicBezTo>
                <a:cubicBezTo>
                  <a:pt x="1936" y="670"/>
                  <a:pt x="1940" y="673"/>
                  <a:pt x="1944" y="673"/>
                </a:cubicBezTo>
                <a:cubicBezTo>
                  <a:pt x="1948" y="673"/>
                  <a:pt x="1952" y="670"/>
                  <a:pt x="1952" y="666"/>
                </a:cubicBezTo>
                <a:cubicBezTo>
                  <a:pt x="1952" y="662"/>
                  <a:pt x="1948" y="659"/>
                  <a:pt x="1944" y="659"/>
                </a:cubicBezTo>
                <a:close/>
                <a:moveTo>
                  <a:pt x="1944" y="679"/>
                </a:moveTo>
                <a:cubicBezTo>
                  <a:pt x="1940" y="679"/>
                  <a:pt x="1936" y="682"/>
                  <a:pt x="1936" y="686"/>
                </a:cubicBezTo>
                <a:cubicBezTo>
                  <a:pt x="1936" y="689"/>
                  <a:pt x="1940" y="692"/>
                  <a:pt x="1944" y="692"/>
                </a:cubicBezTo>
                <a:cubicBezTo>
                  <a:pt x="1948" y="692"/>
                  <a:pt x="1952" y="689"/>
                  <a:pt x="1952" y="686"/>
                </a:cubicBezTo>
                <a:cubicBezTo>
                  <a:pt x="1952" y="682"/>
                  <a:pt x="1948" y="679"/>
                  <a:pt x="1944" y="679"/>
                </a:cubicBezTo>
                <a:close/>
                <a:moveTo>
                  <a:pt x="1944" y="736"/>
                </a:moveTo>
                <a:cubicBezTo>
                  <a:pt x="1940" y="736"/>
                  <a:pt x="1936" y="739"/>
                  <a:pt x="1936" y="743"/>
                </a:cubicBezTo>
                <a:cubicBezTo>
                  <a:pt x="1936" y="747"/>
                  <a:pt x="1940" y="750"/>
                  <a:pt x="1944" y="750"/>
                </a:cubicBezTo>
                <a:cubicBezTo>
                  <a:pt x="1948" y="750"/>
                  <a:pt x="1952" y="747"/>
                  <a:pt x="1952" y="743"/>
                </a:cubicBezTo>
                <a:cubicBezTo>
                  <a:pt x="1952" y="739"/>
                  <a:pt x="1948" y="736"/>
                  <a:pt x="1944" y="736"/>
                </a:cubicBezTo>
                <a:close/>
                <a:moveTo>
                  <a:pt x="1944" y="757"/>
                </a:moveTo>
                <a:cubicBezTo>
                  <a:pt x="1940" y="757"/>
                  <a:pt x="1936" y="759"/>
                  <a:pt x="1936" y="763"/>
                </a:cubicBezTo>
                <a:cubicBezTo>
                  <a:pt x="1936" y="766"/>
                  <a:pt x="1940" y="769"/>
                  <a:pt x="1944" y="769"/>
                </a:cubicBezTo>
                <a:cubicBezTo>
                  <a:pt x="1948" y="769"/>
                  <a:pt x="1952" y="766"/>
                  <a:pt x="1952" y="763"/>
                </a:cubicBezTo>
                <a:cubicBezTo>
                  <a:pt x="1952" y="759"/>
                  <a:pt x="1948" y="757"/>
                  <a:pt x="1944" y="757"/>
                </a:cubicBezTo>
                <a:close/>
                <a:moveTo>
                  <a:pt x="1944" y="814"/>
                </a:moveTo>
                <a:cubicBezTo>
                  <a:pt x="1940" y="814"/>
                  <a:pt x="1936" y="817"/>
                  <a:pt x="1936" y="821"/>
                </a:cubicBezTo>
                <a:cubicBezTo>
                  <a:pt x="1936" y="825"/>
                  <a:pt x="1940" y="828"/>
                  <a:pt x="1944" y="828"/>
                </a:cubicBezTo>
                <a:cubicBezTo>
                  <a:pt x="1948" y="828"/>
                  <a:pt x="1952" y="825"/>
                  <a:pt x="1952" y="821"/>
                </a:cubicBezTo>
                <a:cubicBezTo>
                  <a:pt x="1952" y="817"/>
                  <a:pt x="1948" y="814"/>
                  <a:pt x="1944" y="814"/>
                </a:cubicBezTo>
                <a:close/>
                <a:moveTo>
                  <a:pt x="1966" y="853"/>
                </a:moveTo>
                <a:cubicBezTo>
                  <a:pt x="1962" y="853"/>
                  <a:pt x="1959" y="856"/>
                  <a:pt x="1959" y="860"/>
                </a:cubicBezTo>
                <a:cubicBezTo>
                  <a:pt x="1959" y="864"/>
                  <a:pt x="1962" y="867"/>
                  <a:pt x="1966" y="867"/>
                </a:cubicBezTo>
                <a:cubicBezTo>
                  <a:pt x="1970" y="867"/>
                  <a:pt x="1974" y="864"/>
                  <a:pt x="1974" y="860"/>
                </a:cubicBezTo>
                <a:cubicBezTo>
                  <a:pt x="1974" y="856"/>
                  <a:pt x="1970" y="853"/>
                  <a:pt x="1966" y="853"/>
                </a:cubicBezTo>
                <a:close/>
                <a:moveTo>
                  <a:pt x="1944" y="873"/>
                </a:moveTo>
                <a:cubicBezTo>
                  <a:pt x="1940" y="873"/>
                  <a:pt x="1936" y="876"/>
                  <a:pt x="1936" y="879"/>
                </a:cubicBezTo>
                <a:cubicBezTo>
                  <a:pt x="1936" y="883"/>
                  <a:pt x="1940" y="885"/>
                  <a:pt x="1944" y="885"/>
                </a:cubicBezTo>
                <a:cubicBezTo>
                  <a:pt x="1948" y="885"/>
                  <a:pt x="1952" y="883"/>
                  <a:pt x="1952" y="879"/>
                </a:cubicBezTo>
                <a:cubicBezTo>
                  <a:pt x="1952" y="876"/>
                  <a:pt x="1948" y="873"/>
                  <a:pt x="1944" y="873"/>
                </a:cubicBezTo>
                <a:close/>
                <a:moveTo>
                  <a:pt x="1966" y="873"/>
                </a:moveTo>
                <a:cubicBezTo>
                  <a:pt x="1962" y="873"/>
                  <a:pt x="1959" y="876"/>
                  <a:pt x="1959" y="879"/>
                </a:cubicBezTo>
                <a:cubicBezTo>
                  <a:pt x="1959" y="883"/>
                  <a:pt x="1962" y="885"/>
                  <a:pt x="1966" y="885"/>
                </a:cubicBezTo>
                <a:cubicBezTo>
                  <a:pt x="1970" y="885"/>
                  <a:pt x="1974" y="883"/>
                  <a:pt x="1974" y="879"/>
                </a:cubicBezTo>
                <a:cubicBezTo>
                  <a:pt x="1974" y="876"/>
                  <a:pt x="1970" y="873"/>
                  <a:pt x="1966" y="873"/>
                </a:cubicBezTo>
                <a:close/>
                <a:moveTo>
                  <a:pt x="1944" y="891"/>
                </a:moveTo>
                <a:cubicBezTo>
                  <a:pt x="1940" y="891"/>
                  <a:pt x="1936" y="894"/>
                  <a:pt x="1936" y="898"/>
                </a:cubicBezTo>
                <a:cubicBezTo>
                  <a:pt x="1936" y="902"/>
                  <a:pt x="1940" y="905"/>
                  <a:pt x="1944" y="905"/>
                </a:cubicBezTo>
                <a:cubicBezTo>
                  <a:pt x="1948" y="905"/>
                  <a:pt x="1952" y="902"/>
                  <a:pt x="1952" y="898"/>
                </a:cubicBezTo>
                <a:cubicBezTo>
                  <a:pt x="1952" y="894"/>
                  <a:pt x="1948" y="891"/>
                  <a:pt x="1944" y="891"/>
                </a:cubicBezTo>
                <a:close/>
                <a:moveTo>
                  <a:pt x="1966" y="891"/>
                </a:moveTo>
                <a:cubicBezTo>
                  <a:pt x="1962" y="891"/>
                  <a:pt x="1959" y="894"/>
                  <a:pt x="1959" y="898"/>
                </a:cubicBezTo>
                <a:cubicBezTo>
                  <a:pt x="1959" y="902"/>
                  <a:pt x="1962" y="905"/>
                  <a:pt x="1966" y="905"/>
                </a:cubicBezTo>
                <a:cubicBezTo>
                  <a:pt x="1970" y="905"/>
                  <a:pt x="1974" y="902"/>
                  <a:pt x="1974" y="898"/>
                </a:cubicBezTo>
                <a:cubicBezTo>
                  <a:pt x="1974" y="894"/>
                  <a:pt x="1970" y="891"/>
                  <a:pt x="1966" y="891"/>
                </a:cubicBezTo>
                <a:close/>
                <a:moveTo>
                  <a:pt x="1877" y="930"/>
                </a:moveTo>
                <a:cubicBezTo>
                  <a:pt x="1873" y="930"/>
                  <a:pt x="1870" y="933"/>
                  <a:pt x="1870" y="937"/>
                </a:cubicBezTo>
                <a:cubicBezTo>
                  <a:pt x="1870" y="940"/>
                  <a:pt x="1873" y="943"/>
                  <a:pt x="1877" y="943"/>
                </a:cubicBezTo>
                <a:cubicBezTo>
                  <a:pt x="1882" y="943"/>
                  <a:pt x="1885" y="940"/>
                  <a:pt x="1885" y="937"/>
                </a:cubicBezTo>
                <a:cubicBezTo>
                  <a:pt x="1885" y="933"/>
                  <a:pt x="1882" y="930"/>
                  <a:pt x="1877" y="930"/>
                </a:cubicBezTo>
                <a:close/>
                <a:moveTo>
                  <a:pt x="1900" y="911"/>
                </a:moveTo>
                <a:cubicBezTo>
                  <a:pt x="1895" y="911"/>
                  <a:pt x="1892" y="914"/>
                  <a:pt x="1892" y="917"/>
                </a:cubicBezTo>
                <a:cubicBezTo>
                  <a:pt x="1892" y="921"/>
                  <a:pt x="1895" y="924"/>
                  <a:pt x="1900" y="924"/>
                </a:cubicBezTo>
                <a:cubicBezTo>
                  <a:pt x="1904" y="924"/>
                  <a:pt x="1907" y="921"/>
                  <a:pt x="1907" y="917"/>
                </a:cubicBezTo>
                <a:cubicBezTo>
                  <a:pt x="1907" y="914"/>
                  <a:pt x="1904" y="911"/>
                  <a:pt x="1900" y="911"/>
                </a:cubicBezTo>
                <a:close/>
                <a:moveTo>
                  <a:pt x="1922" y="911"/>
                </a:moveTo>
                <a:cubicBezTo>
                  <a:pt x="1917" y="911"/>
                  <a:pt x="1914" y="914"/>
                  <a:pt x="1914" y="917"/>
                </a:cubicBezTo>
                <a:cubicBezTo>
                  <a:pt x="1914" y="921"/>
                  <a:pt x="1917" y="924"/>
                  <a:pt x="1922" y="924"/>
                </a:cubicBezTo>
                <a:cubicBezTo>
                  <a:pt x="1926" y="924"/>
                  <a:pt x="1929" y="921"/>
                  <a:pt x="1929" y="917"/>
                </a:cubicBezTo>
                <a:cubicBezTo>
                  <a:pt x="1929" y="914"/>
                  <a:pt x="1926" y="911"/>
                  <a:pt x="1922" y="911"/>
                </a:cubicBezTo>
                <a:close/>
                <a:moveTo>
                  <a:pt x="1900" y="930"/>
                </a:moveTo>
                <a:cubicBezTo>
                  <a:pt x="1895" y="930"/>
                  <a:pt x="1892" y="933"/>
                  <a:pt x="1892" y="937"/>
                </a:cubicBezTo>
                <a:cubicBezTo>
                  <a:pt x="1892" y="940"/>
                  <a:pt x="1895" y="943"/>
                  <a:pt x="1900" y="943"/>
                </a:cubicBezTo>
                <a:cubicBezTo>
                  <a:pt x="1904" y="943"/>
                  <a:pt x="1907" y="940"/>
                  <a:pt x="1907" y="937"/>
                </a:cubicBezTo>
                <a:cubicBezTo>
                  <a:pt x="1907" y="933"/>
                  <a:pt x="1904" y="930"/>
                  <a:pt x="1900" y="930"/>
                </a:cubicBezTo>
                <a:close/>
                <a:moveTo>
                  <a:pt x="1922" y="930"/>
                </a:moveTo>
                <a:cubicBezTo>
                  <a:pt x="1917" y="930"/>
                  <a:pt x="1914" y="933"/>
                  <a:pt x="1914" y="937"/>
                </a:cubicBezTo>
                <a:cubicBezTo>
                  <a:pt x="1914" y="940"/>
                  <a:pt x="1917" y="943"/>
                  <a:pt x="1922" y="943"/>
                </a:cubicBezTo>
                <a:cubicBezTo>
                  <a:pt x="1926" y="943"/>
                  <a:pt x="1929" y="940"/>
                  <a:pt x="1929" y="937"/>
                </a:cubicBezTo>
                <a:cubicBezTo>
                  <a:pt x="1929" y="933"/>
                  <a:pt x="1926" y="930"/>
                  <a:pt x="1922" y="930"/>
                </a:cubicBezTo>
                <a:close/>
                <a:moveTo>
                  <a:pt x="1900" y="950"/>
                </a:moveTo>
                <a:cubicBezTo>
                  <a:pt x="1895" y="950"/>
                  <a:pt x="1892" y="953"/>
                  <a:pt x="1892" y="956"/>
                </a:cubicBezTo>
                <a:cubicBezTo>
                  <a:pt x="1892" y="960"/>
                  <a:pt x="1895" y="963"/>
                  <a:pt x="1900" y="963"/>
                </a:cubicBezTo>
                <a:cubicBezTo>
                  <a:pt x="1904" y="963"/>
                  <a:pt x="1907" y="960"/>
                  <a:pt x="1907" y="956"/>
                </a:cubicBezTo>
                <a:cubicBezTo>
                  <a:pt x="1907" y="953"/>
                  <a:pt x="1904" y="950"/>
                  <a:pt x="1900" y="950"/>
                </a:cubicBezTo>
                <a:close/>
                <a:moveTo>
                  <a:pt x="1922" y="950"/>
                </a:moveTo>
                <a:cubicBezTo>
                  <a:pt x="1917" y="950"/>
                  <a:pt x="1914" y="953"/>
                  <a:pt x="1914" y="956"/>
                </a:cubicBezTo>
                <a:cubicBezTo>
                  <a:pt x="1914" y="960"/>
                  <a:pt x="1917" y="963"/>
                  <a:pt x="1922" y="963"/>
                </a:cubicBezTo>
                <a:cubicBezTo>
                  <a:pt x="1926" y="963"/>
                  <a:pt x="1929" y="960"/>
                  <a:pt x="1929" y="956"/>
                </a:cubicBezTo>
                <a:cubicBezTo>
                  <a:pt x="1929" y="953"/>
                  <a:pt x="1926" y="950"/>
                  <a:pt x="1922" y="950"/>
                </a:cubicBezTo>
                <a:close/>
                <a:moveTo>
                  <a:pt x="1900" y="969"/>
                </a:moveTo>
                <a:cubicBezTo>
                  <a:pt x="1895" y="969"/>
                  <a:pt x="1892" y="972"/>
                  <a:pt x="1892" y="976"/>
                </a:cubicBezTo>
                <a:cubicBezTo>
                  <a:pt x="1892" y="980"/>
                  <a:pt x="1895" y="983"/>
                  <a:pt x="1900" y="983"/>
                </a:cubicBezTo>
                <a:cubicBezTo>
                  <a:pt x="1904" y="983"/>
                  <a:pt x="1907" y="980"/>
                  <a:pt x="1907" y="976"/>
                </a:cubicBezTo>
                <a:cubicBezTo>
                  <a:pt x="1907" y="972"/>
                  <a:pt x="1904" y="969"/>
                  <a:pt x="1900" y="969"/>
                </a:cubicBezTo>
                <a:close/>
                <a:moveTo>
                  <a:pt x="1922" y="969"/>
                </a:moveTo>
                <a:cubicBezTo>
                  <a:pt x="1917" y="969"/>
                  <a:pt x="1914" y="972"/>
                  <a:pt x="1914" y="976"/>
                </a:cubicBezTo>
                <a:cubicBezTo>
                  <a:pt x="1914" y="980"/>
                  <a:pt x="1917" y="983"/>
                  <a:pt x="1922" y="983"/>
                </a:cubicBezTo>
                <a:cubicBezTo>
                  <a:pt x="1926" y="983"/>
                  <a:pt x="1929" y="980"/>
                  <a:pt x="1929" y="976"/>
                </a:cubicBezTo>
                <a:cubicBezTo>
                  <a:pt x="1929" y="972"/>
                  <a:pt x="1926" y="969"/>
                  <a:pt x="1922" y="969"/>
                </a:cubicBezTo>
                <a:close/>
                <a:moveTo>
                  <a:pt x="1900" y="988"/>
                </a:moveTo>
                <a:cubicBezTo>
                  <a:pt x="1895" y="988"/>
                  <a:pt x="1892" y="991"/>
                  <a:pt x="1892" y="995"/>
                </a:cubicBezTo>
                <a:cubicBezTo>
                  <a:pt x="1892" y="999"/>
                  <a:pt x="1895" y="1002"/>
                  <a:pt x="1900" y="1002"/>
                </a:cubicBezTo>
                <a:cubicBezTo>
                  <a:pt x="1904" y="1002"/>
                  <a:pt x="1907" y="999"/>
                  <a:pt x="1907" y="995"/>
                </a:cubicBezTo>
                <a:cubicBezTo>
                  <a:pt x="1907" y="991"/>
                  <a:pt x="1904" y="988"/>
                  <a:pt x="1900" y="988"/>
                </a:cubicBezTo>
                <a:close/>
                <a:moveTo>
                  <a:pt x="1922" y="988"/>
                </a:moveTo>
                <a:cubicBezTo>
                  <a:pt x="1917" y="988"/>
                  <a:pt x="1914" y="991"/>
                  <a:pt x="1914" y="995"/>
                </a:cubicBezTo>
                <a:cubicBezTo>
                  <a:pt x="1914" y="999"/>
                  <a:pt x="1917" y="1002"/>
                  <a:pt x="1922" y="1002"/>
                </a:cubicBezTo>
                <a:cubicBezTo>
                  <a:pt x="1926" y="1002"/>
                  <a:pt x="1929" y="999"/>
                  <a:pt x="1929" y="995"/>
                </a:cubicBezTo>
                <a:cubicBezTo>
                  <a:pt x="1929" y="991"/>
                  <a:pt x="1926" y="988"/>
                  <a:pt x="1922" y="988"/>
                </a:cubicBezTo>
                <a:close/>
                <a:moveTo>
                  <a:pt x="1944" y="911"/>
                </a:moveTo>
                <a:cubicBezTo>
                  <a:pt x="1940" y="911"/>
                  <a:pt x="1936" y="914"/>
                  <a:pt x="1936" y="917"/>
                </a:cubicBezTo>
                <a:cubicBezTo>
                  <a:pt x="1936" y="921"/>
                  <a:pt x="1940" y="924"/>
                  <a:pt x="1944" y="924"/>
                </a:cubicBezTo>
                <a:cubicBezTo>
                  <a:pt x="1948" y="924"/>
                  <a:pt x="1952" y="921"/>
                  <a:pt x="1952" y="917"/>
                </a:cubicBezTo>
                <a:cubicBezTo>
                  <a:pt x="1952" y="914"/>
                  <a:pt x="1948" y="911"/>
                  <a:pt x="1944" y="911"/>
                </a:cubicBezTo>
                <a:close/>
                <a:moveTo>
                  <a:pt x="1966" y="911"/>
                </a:moveTo>
                <a:cubicBezTo>
                  <a:pt x="1962" y="911"/>
                  <a:pt x="1959" y="914"/>
                  <a:pt x="1959" y="917"/>
                </a:cubicBezTo>
                <a:cubicBezTo>
                  <a:pt x="1959" y="921"/>
                  <a:pt x="1962" y="924"/>
                  <a:pt x="1966" y="924"/>
                </a:cubicBezTo>
                <a:cubicBezTo>
                  <a:pt x="1970" y="924"/>
                  <a:pt x="1974" y="921"/>
                  <a:pt x="1974" y="917"/>
                </a:cubicBezTo>
                <a:cubicBezTo>
                  <a:pt x="1974" y="914"/>
                  <a:pt x="1970" y="911"/>
                  <a:pt x="1966" y="911"/>
                </a:cubicBezTo>
                <a:close/>
                <a:moveTo>
                  <a:pt x="1944" y="930"/>
                </a:moveTo>
                <a:cubicBezTo>
                  <a:pt x="1940" y="930"/>
                  <a:pt x="1936" y="933"/>
                  <a:pt x="1936" y="937"/>
                </a:cubicBezTo>
                <a:cubicBezTo>
                  <a:pt x="1936" y="940"/>
                  <a:pt x="1940" y="943"/>
                  <a:pt x="1944" y="943"/>
                </a:cubicBezTo>
                <a:cubicBezTo>
                  <a:pt x="1948" y="943"/>
                  <a:pt x="1952" y="940"/>
                  <a:pt x="1952" y="937"/>
                </a:cubicBezTo>
                <a:cubicBezTo>
                  <a:pt x="1952" y="933"/>
                  <a:pt x="1948" y="930"/>
                  <a:pt x="1944" y="930"/>
                </a:cubicBezTo>
                <a:close/>
                <a:moveTo>
                  <a:pt x="1966" y="930"/>
                </a:moveTo>
                <a:cubicBezTo>
                  <a:pt x="1962" y="930"/>
                  <a:pt x="1959" y="933"/>
                  <a:pt x="1959" y="937"/>
                </a:cubicBezTo>
                <a:cubicBezTo>
                  <a:pt x="1959" y="940"/>
                  <a:pt x="1962" y="943"/>
                  <a:pt x="1966" y="943"/>
                </a:cubicBezTo>
                <a:cubicBezTo>
                  <a:pt x="1970" y="943"/>
                  <a:pt x="1974" y="940"/>
                  <a:pt x="1974" y="937"/>
                </a:cubicBezTo>
                <a:cubicBezTo>
                  <a:pt x="1974" y="933"/>
                  <a:pt x="1970" y="930"/>
                  <a:pt x="1966" y="930"/>
                </a:cubicBezTo>
                <a:close/>
                <a:moveTo>
                  <a:pt x="1944" y="950"/>
                </a:moveTo>
                <a:cubicBezTo>
                  <a:pt x="1940" y="950"/>
                  <a:pt x="1936" y="953"/>
                  <a:pt x="1936" y="956"/>
                </a:cubicBezTo>
                <a:cubicBezTo>
                  <a:pt x="1936" y="960"/>
                  <a:pt x="1940" y="963"/>
                  <a:pt x="1944" y="963"/>
                </a:cubicBezTo>
                <a:cubicBezTo>
                  <a:pt x="1948" y="963"/>
                  <a:pt x="1952" y="960"/>
                  <a:pt x="1952" y="956"/>
                </a:cubicBezTo>
                <a:cubicBezTo>
                  <a:pt x="1952" y="953"/>
                  <a:pt x="1948" y="950"/>
                  <a:pt x="1944" y="950"/>
                </a:cubicBezTo>
                <a:close/>
                <a:moveTo>
                  <a:pt x="1966" y="950"/>
                </a:moveTo>
                <a:cubicBezTo>
                  <a:pt x="1962" y="950"/>
                  <a:pt x="1959" y="953"/>
                  <a:pt x="1959" y="956"/>
                </a:cubicBezTo>
                <a:cubicBezTo>
                  <a:pt x="1959" y="960"/>
                  <a:pt x="1962" y="963"/>
                  <a:pt x="1966" y="963"/>
                </a:cubicBezTo>
                <a:cubicBezTo>
                  <a:pt x="1970" y="963"/>
                  <a:pt x="1974" y="960"/>
                  <a:pt x="1974" y="956"/>
                </a:cubicBezTo>
                <a:cubicBezTo>
                  <a:pt x="1974" y="953"/>
                  <a:pt x="1970" y="950"/>
                  <a:pt x="1966" y="950"/>
                </a:cubicBezTo>
                <a:close/>
                <a:moveTo>
                  <a:pt x="1944" y="969"/>
                </a:moveTo>
                <a:cubicBezTo>
                  <a:pt x="1940" y="969"/>
                  <a:pt x="1936" y="972"/>
                  <a:pt x="1936" y="976"/>
                </a:cubicBezTo>
                <a:cubicBezTo>
                  <a:pt x="1936" y="980"/>
                  <a:pt x="1940" y="983"/>
                  <a:pt x="1944" y="983"/>
                </a:cubicBezTo>
                <a:cubicBezTo>
                  <a:pt x="1948" y="983"/>
                  <a:pt x="1952" y="980"/>
                  <a:pt x="1952" y="976"/>
                </a:cubicBezTo>
                <a:cubicBezTo>
                  <a:pt x="1952" y="972"/>
                  <a:pt x="1948" y="969"/>
                  <a:pt x="1944" y="969"/>
                </a:cubicBezTo>
                <a:close/>
                <a:moveTo>
                  <a:pt x="1966" y="969"/>
                </a:moveTo>
                <a:cubicBezTo>
                  <a:pt x="1962" y="969"/>
                  <a:pt x="1959" y="972"/>
                  <a:pt x="1959" y="976"/>
                </a:cubicBezTo>
                <a:cubicBezTo>
                  <a:pt x="1959" y="980"/>
                  <a:pt x="1962" y="983"/>
                  <a:pt x="1966" y="983"/>
                </a:cubicBezTo>
                <a:cubicBezTo>
                  <a:pt x="1970" y="983"/>
                  <a:pt x="1974" y="980"/>
                  <a:pt x="1974" y="976"/>
                </a:cubicBezTo>
                <a:cubicBezTo>
                  <a:pt x="1974" y="972"/>
                  <a:pt x="1970" y="969"/>
                  <a:pt x="1966" y="969"/>
                </a:cubicBezTo>
                <a:close/>
                <a:moveTo>
                  <a:pt x="1944" y="988"/>
                </a:moveTo>
                <a:cubicBezTo>
                  <a:pt x="1940" y="988"/>
                  <a:pt x="1936" y="991"/>
                  <a:pt x="1936" y="995"/>
                </a:cubicBezTo>
                <a:cubicBezTo>
                  <a:pt x="1936" y="999"/>
                  <a:pt x="1940" y="1002"/>
                  <a:pt x="1944" y="1002"/>
                </a:cubicBezTo>
                <a:cubicBezTo>
                  <a:pt x="1948" y="1002"/>
                  <a:pt x="1952" y="999"/>
                  <a:pt x="1952" y="995"/>
                </a:cubicBezTo>
                <a:cubicBezTo>
                  <a:pt x="1952" y="991"/>
                  <a:pt x="1948" y="988"/>
                  <a:pt x="1944" y="988"/>
                </a:cubicBezTo>
                <a:close/>
              </a:path>
            </a:pathLst>
          </a:custGeom>
          <a:solidFill>
            <a:srgbClr val="1E57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06" tIns="45702" rIns="91406" bIns="45702"/>
          <a:lstStyle/>
          <a:p>
            <a:endParaRPr lang="zh-CN" altLang="en-US"/>
          </a:p>
        </p:txBody>
      </p:sp>
      <p:grpSp>
        <p:nvGrpSpPr>
          <p:cNvPr id="31747" name="组合 53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1835" name="组合 54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58" name="矩形 57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60" name="矩形 59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1836" name="Freeform 152"/>
            <p:cNvSpPr>
              <a:spLocks noEditPoints="1"/>
            </p:cNvSpPr>
            <p:nvPr/>
          </p:nvSpPr>
          <p:spPr bwMode="auto">
            <a:xfrm>
              <a:off x="2093495" y="322945"/>
              <a:ext cx="225659" cy="216510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2147483646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1" h="30">
                  <a:moveTo>
                    <a:pt x="21" y="8"/>
                  </a:moveTo>
                  <a:cubicBezTo>
                    <a:pt x="22" y="9"/>
                    <a:pt x="23" y="9"/>
                    <a:pt x="24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4"/>
                    <a:pt x="28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5"/>
                    <a:pt x="31" y="16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3"/>
                    <a:pt x="25" y="25"/>
                    <a:pt x="23" y="26"/>
                  </a:cubicBezTo>
                  <a:cubicBezTo>
                    <a:pt x="22" y="27"/>
                    <a:pt x="22" y="28"/>
                    <a:pt x="22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9"/>
                    <a:pt x="18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2" y="29"/>
                    <a:pt x="12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5" y="25"/>
                    <a:pt x="3" y="22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3"/>
                    <a:pt x="6" y="10"/>
                    <a:pt x="10" y="8"/>
                  </a:cubicBezTo>
                  <a:cubicBezTo>
                    <a:pt x="11" y="10"/>
                    <a:pt x="13" y="12"/>
                    <a:pt x="15" y="12"/>
                  </a:cubicBezTo>
                  <a:cubicBezTo>
                    <a:pt x="18" y="12"/>
                    <a:pt x="20" y="10"/>
                    <a:pt x="21" y="8"/>
                  </a:cubicBezTo>
                  <a:close/>
                  <a:moveTo>
                    <a:pt x="15" y="0"/>
                  </a:moveTo>
                  <a:cubicBezTo>
                    <a:pt x="13" y="0"/>
                    <a:pt x="10" y="2"/>
                    <a:pt x="10" y="5"/>
                  </a:cubicBezTo>
                  <a:cubicBezTo>
                    <a:pt x="10" y="8"/>
                    <a:pt x="13" y="10"/>
                    <a:pt x="15" y="10"/>
                  </a:cubicBezTo>
                  <a:cubicBezTo>
                    <a:pt x="18" y="10"/>
                    <a:pt x="21" y="8"/>
                    <a:pt x="21" y="5"/>
                  </a:cubicBezTo>
                  <a:cubicBezTo>
                    <a:pt x="21" y="2"/>
                    <a:pt x="18" y="0"/>
                    <a:pt x="15" y="0"/>
                  </a:cubicBezTo>
                  <a:close/>
                  <a:moveTo>
                    <a:pt x="14" y="8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5" name="组合 34"/>
          <p:cNvGrpSpPr/>
          <p:nvPr/>
        </p:nvGrpSpPr>
        <p:grpSpPr bwMode="auto">
          <a:xfrm>
            <a:off x="2894013" y="3749675"/>
            <a:ext cx="336550" cy="334963"/>
            <a:chOff x="1989137" y="-1925638"/>
            <a:chExt cx="960438" cy="958850"/>
          </a:xfrm>
        </p:grpSpPr>
        <p:sp>
          <p:nvSpPr>
            <p:cNvPr id="36" name="Oval 56"/>
            <p:cNvSpPr>
              <a:spLocks noChangeArrowheads="1"/>
            </p:cNvSpPr>
            <p:nvPr/>
          </p:nvSpPr>
          <p:spPr bwMode="auto">
            <a:xfrm>
              <a:off x="1989137" y="-1925638"/>
              <a:ext cx="960438" cy="958850"/>
            </a:xfrm>
            <a:prstGeom prst="ellips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832" name="Freeform 57"/>
            <p:cNvSpPr/>
            <p:nvPr/>
          </p:nvSpPr>
          <p:spPr bwMode="auto">
            <a:xfrm>
              <a:off x="2300287" y="-1685925"/>
              <a:ext cx="635000" cy="688975"/>
            </a:xfrm>
            <a:custGeom>
              <a:avLst/>
              <a:gdLst>
                <a:gd name="T0" fmla="*/ 2147483646 w 169"/>
                <a:gd name="T1" fmla="*/ 0 h 184"/>
                <a:gd name="T2" fmla="*/ 2147483646 w 169"/>
                <a:gd name="T3" fmla="*/ 2147483646 h 184"/>
                <a:gd name="T4" fmla="*/ 2147483646 w 169"/>
                <a:gd name="T5" fmla="*/ 2147483646 h 184"/>
                <a:gd name="T6" fmla="*/ 2147483646 w 169"/>
                <a:gd name="T7" fmla="*/ 2147483646 h 184"/>
                <a:gd name="T8" fmla="*/ 2147483646 w 169"/>
                <a:gd name="T9" fmla="*/ 2147483646 h 184"/>
                <a:gd name="T10" fmla="*/ 2147483646 w 169"/>
                <a:gd name="T11" fmla="*/ 2147483646 h 184"/>
                <a:gd name="T12" fmla="*/ 2147483646 w 169"/>
                <a:gd name="T13" fmla="*/ 2147483646 h 184"/>
                <a:gd name="T14" fmla="*/ 2147483646 w 169"/>
                <a:gd name="T15" fmla="*/ 2147483646 h 184"/>
                <a:gd name="T16" fmla="*/ 0 w 169"/>
                <a:gd name="T17" fmla="*/ 2147483646 h 184"/>
                <a:gd name="T18" fmla="*/ 2147483646 w 169"/>
                <a:gd name="T19" fmla="*/ 2147483646 h 184"/>
                <a:gd name="T20" fmla="*/ 2147483646 w 169"/>
                <a:gd name="T21" fmla="*/ 2147483646 h 184"/>
                <a:gd name="T22" fmla="*/ 2147483646 w 169"/>
                <a:gd name="T23" fmla="*/ 0 h 18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9" h="184">
                  <a:moveTo>
                    <a:pt x="73" y="0"/>
                  </a:move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184"/>
                    <a:pt x="91" y="184"/>
                    <a:pt x="91" y="184"/>
                  </a:cubicBezTo>
                  <a:cubicBezTo>
                    <a:pt x="129" y="169"/>
                    <a:pt x="158" y="136"/>
                    <a:pt x="169" y="96"/>
                  </a:cubicBezTo>
                  <a:cubicBezTo>
                    <a:pt x="73" y="0"/>
                    <a:pt x="73" y="0"/>
                    <a:pt x="73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33" name="Freeform 58"/>
            <p:cNvSpPr/>
            <p:nvPr/>
          </p:nvSpPr>
          <p:spPr bwMode="auto">
            <a:xfrm>
              <a:off x="2365375" y="-1622425"/>
              <a:ext cx="152400" cy="236538"/>
            </a:xfrm>
            <a:custGeom>
              <a:avLst/>
              <a:gdLst>
                <a:gd name="T0" fmla="*/ 2147483646 w 41"/>
                <a:gd name="T1" fmla="*/ 0 h 63"/>
                <a:gd name="T2" fmla="*/ 2147483646 w 41"/>
                <a:gd name="T3" fmla="*/ 0 h 63"/>
                <a:gd name="T4" fmla="*/ 2147483646 w 41"/>
                <a:gd name="T5" fmla="*/ 2147483646 h 63"/>
                <a:gd name="T6" fmla="*/ 0 w 41"/>
                <a:gd name="T7" fmla="*/ 2147483646 h 63"/>
                <a:gd name="T8" fmla="*/ 0 w 41"/>
                <a:gd name="T9" fmla="*/ 2147483646 h 63"/>
                <a:gd name="T10" fmla="*/ 2147483646 w 41"/>
                <a:gd name="T11" fmla="*/ 2147483646 h 63"/>
                <a:gd name="T12" fmla="*/ 2147483646 w 41"/>
                <a:gd name="T13" fmla="*/ 2147483646 h 63"/>
                <a:gd name="T14" fmla="*/ 2147483646 w 41"/>
                <a:gd name="T15" fmla="*/ 0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6" y="7"/>
                    <a:pt x="33" y="13"/>
                    <a:pt x="30" y="19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3"/>
                    <a:pt x="40" y="6"/>
                    <a:pt x="41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34" name="Freeform 59"/>
            <p:cNvSpPr>
              <a:spLocks noEditPoints="1"/>
            </p:cNvSpPr>
            <p:nvPr/>
          </p:nvSpPr>
          <p:spPr bwMode="auto">
            <a:xfrm>
              <a:off x="2300287" y="-1685925"/>
              <a:ext cx="338138" cy="479425"/>
            </a:xfrm>
            <a:custGeom>
              <a:avLst/>
              <a:gdLst>
                <a:gd name="T0" fmla="*/ 2147483646 w 90"/>
                <a:gd name="T1" fmla="*/ 2147483646 h 128"/>
                <a:gd name="T2" fmla="*/ 2147483646 w 90"/>
                <a:gd name="T3" fmla="*/ 2147483646 h 128"/>
                <a:gd name="T4" fmla="*/ 0 w 90"/>
                <a:gd name="T5" fmla="*/ 2147483646 h 128"/>
                <a:gd name="T6" fmla="*/ 0 w 90"/>
                <a:gd name="T7" fmla="*/ 2147483646 h 128"/>
                <a:gd name="T8" fmla="*/ 2147483646 w 90"/>
                <a:gd name="T9" fmla="*/ 0 h 128"/>
                <a:gd name="T10" fmla="*/ 2147483646 w 90"/>
                <a:gd name="T11" fmla="*/ 0 h 128"/>
                <a:gd name="T12" fmla="*/ 2147483646 w 90"/>
                <a:gd name="T13" fmla="*/ 2147483646 h 128"/>
                <a:gd name="T14" fmla="*/ 2147483646 w 90"/>
                <a:gd name="T15" fmla="*/ 2147483646 h 128"/>
                <a:gd name="T16" fmla="*/ 2147483646 w 90"/>
                <a:gd name="T17" fmla="*/ 2147483646 h 128"/>
                <a:gd name="T18" fmla="*/ 2147483646 w 90"/>
                <a:gd name="T19" fmla="*/ 2147483646 h 128"/>
                <a:gd name="T20" fmla="*/ 2147483646 w 90"/>
                <a:gd name="T21" fmla="*/ 2147483646 h 128"/>
                <a:gd name="T22" fmla="*/ 2147483646 w 90"/>
                <a:gd name="T23" fmla="*/ 2147483646 h 128"/>
                <a:gd name="T24" fmla="*/ 2147483646 w 90"/>
                <a:gd name="T25" fmla="*/ 2147483646 h 128"/>
                <a:gd name="T26" fmla="*/ 2147483646 w 90"/>
                <a:gd name="T27" fmla="*/ 2147483646 h 128"/>
                <a:gd name="T28" fmla="*/ 2147483646 w 90"/>
                <a:gd name="T29" fmla="*/ 2147483646 h 128"/>
                <a:gd name="T30" fmla="*/ 2147483646 w 90"/>
                <a:gd name="T31" fmla="*/ 2147483646 h 128"/>
                <a:gd name="T32" fmla="*/ 2147483646 w 90"/>
                <a:gd name="T33" fmla="*/ 2147483646 h 128"/>
                <a:gd name="T34" fmla="*/ 2147483646 w 90"/>
                <a:gd name="T35" fmla="*/ 2147483646 h 128"/>
                <a:gd name="T36" fmla="*/ 2147483646 w 90"/>
                <a:gd name="T37" fmla="*/ 2147483646 h 128"/>
                <a:gd name="T38" fmla="*/ 2147483646 w 90"/>
                <a:gd name="T39" fmla="*/ 2147483646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0" h="128">
                  <a:moveTo>
                    <a:pt x="57" y="128"/>
                  </a:move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lnTo>
                    <a:pt x="57" y="128"/>
                  </a:lnTo>
                  <a:close/>
                  <a:moveTo>
                    <a:pt x="57" y="80"/>
                  </a:moveTo>
                  <a:cubicBezTo>
                    <a:pt x="57" y="37"/>
                    <a:pt x="57" y="37"/>
                    <a:pt x="57" y="37"/>
                  </a:cubicBezTo>
                  <a:cubicBezTo>
                    <a:pt x="57" y="30"/>
                    <a:pt x="57" y="23"/>
                    <a:pt x="58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3" y="24"/>
                    <a:pt x="50" y="30"/>
                    <a:pt x="47" y="36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80"/>
                    <a:pt x="17" y="80"/>
                    <a:pt x="17" y="80"/>
                  </a:cubicBezTo>
                  <a:lnTo>
                    <a:pt x="5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0" name="组合 39"/>
          <p:cNvGrpSpPr/>
          <p:nvPr/>
        </p:nvGrpSpPr>
        <p:grpSpPr bwMode="auto">
          <a:xfrm>
            <a:off x="2200275" y="1806575"/>
            <a:ext cx="336550" cy="336550"/>
            <a:chOff x="730250" y="-1925638"/>
            <a:chExt cx="958850" cy="958850"/>
          </a:xfrm>
        </p:grpSpPr>
        <p:sp>
          <p:nvSpPr>
            <p:cNvPr id="41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Freeform 61"/>
            <p:cNvSpPr/>
            <p:nvPr/>
          </p:nvSpPr>
          <p:spPr bwMode="auto">
            <a:xfrm>
              <a:off x="1178016" y="-1685924"/>
              <a:ext cx="479425" cy="687477"/>
            </a:xfrm>
            <a:custGeom>
              <a:avLst/>
              <a:gdLst>
                <a:gd name="T0" fmla="*/ 16 w 127"/>
                <a:gd name="T1" fmla="*/ 0 h 183"/>
                <a:gd name="T2" fmla="*/ 16 w 127"/>
                <a:gd name="T3" fmla="*/ 128 h 183"/>
                <a:gd name="T4" fmla="*/ 0 w 127"/>
                <a:gd name="T5" fmla="*/ 128 h 183"/>
                <a:gd name="T6" fmla="*/ 55 w 127"/>
                <a:gd name="T7" fmla="*/ 183 h 183"/>
                <a:gd name="T8" fmla="*/ 127 w 127"/>
                <a:gd name="T9" fmla="*/ 111 h 183"/>
                <a:gd name="T10" fmla="*/ 16 w 127"/>
                <a:gd name="T11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7" h="183">
                  <a:moveTo>
                    <a:pt x="16" y="0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55" y="183"/>
                    <a:pt x="55" y="183"/>
                    <a:pt x="55" y="183"/>
                  </a:cubicBezTo>
                  <a:cubicBezTo>
                    <a:pt x="88" y="170"/>
                    <a:pt x="114" y="144"/>
                    <a:pt x="127" y="1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828" name="Freeform 62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9" name="Freeform 63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</a:path>
              </a:pathLst>
            </a:custGeom>
            <a:solidFill>
              <a:srgbClr val="973735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30" name="Freeform 64"/>
            <p:cNvSpPr/>
            <p:nvPr/>
          </p:nvSpPr>
          <p:spPr bwMode="auto">
            <a:xfrm>
              <a:off x="1085850" y="-1685925"/>
              <a:ext cx="153988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6" name="组合 45"/>
          <p:cNvGrpSpPr/>
          <p:nvPr/>
        </p:nvGrpSpPr>
        <p:grpSpPr bwMode="auto">
          <a:xfrm>
            <a:off x="6364288" y="2162175"/>
            <a:ext cx="336550" cy="334963"/>
            <a:chOff x="-1789113" y="-1925638"/>
            <a:chExt cx="958850" cy="958850"/>
          </a:xfrm>
        </p:grpSpPr>
        <p:sp>
          <p:nvSpPr>
            <p:cNvPr id="47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823" name="Freeform 66"/>
            <p:cNvSpPr/>
            <p:nvPr/>
          </p:nvSpPr>
          <p:spPr bwMode="auto">
            <a:xfrm>
              <a:off x="-1455738" y="-1649413"/>
              <a:ext cx="600075" cy="676275"/>
            </a:xfrm>
            <a:custGeom>
              <a:avLst/>
              <a:gdLst>
                <a:gd name="T0" fmla="*/ 2147483646 w 160"/>
                <a:gd name="T1" fmla="*/ 0 h 180"/>
                <a:gd name="T2" fmla="*/ 2147483646 w 160"/>
                <a:gd name="T3" fmla="*/ 2147483646 h 180"/>
                <a:gd name="T4" fmla="*/ 2147483646 w 160"/>
                <a:gd name="T5" fmla="*/ 2147483646 h 180"/>
                <a:gd name="T6" fmla="*/ 2147483646 w 160"/>
                <a:gd name="T7" fmla="*/ 2147483646 h 180"/>
                <a:gd name="T8" fmla="*/ 2147483646 w 160"/>
                <a:gd name="T9" fmla="*/ 2147483646 h 180"/>
                <a:gd name="T10" fmla="*/ 2147483646 w 160"/>
                <a:gd name="T11" fmla="*/ 2147483646 h 180"/>
                <a:gd name="T12" fmla="*/ 2147483646 w 160"/>
                <a:gd name="T13" fmla="*/ 2147483646 h 180"/>
                <a:gd name="T14" fmla="*/ 0 w 160"/>
                <a:gd name="T15" fmla="*/ 2147483646 h 180"/>
                <a:gd name="T16" fmla="*/ 2147483646 w 160"/>
                <a:gd name="T17" fmla="*/ 2147483646 h 180"/>
                <a:gd name="T18" fmla="*/ 2147483646 w 160"/>
                <a:gd name="T19" fmla="*/ 2147483646 h 180"/>
                <a:gd name="T20" fmla="*/ 2147483646 w 160"/>
                <a:gd name="T21" fmla="*/ 0 h 1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0" h="180">
                  <a:moveTo>
                    <a:pt x="65" y="0"/>
                  </a:moveTo>
                  <a:cubicBezTo>
                    <a:pt x="67" y="3"/>
                    <a:pt x="75" y="12"/>
                    <a:pt x="75" y="27"/>
                  </a:cubicBezTo>
                  <a:cubicBezTo>
                    <a:pt x="75" y="50"/>
                    <a:pt x="59" y="69"/>
                    <a:pt x="33" y="94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62" y="180"/>
                    <a:pt x="62" y="180"/>
                    <a:pt x="62" y="180"/>
                  </a:cubicBezTo>
                  <a:cubicBezTo>
                    <a:pt x="108" y="172"/>
                    <a:pt x="145" y="139"/>
                    <a:pt x="160" y="95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4" name="Freeform 67"/>
            <p:cNvSpPr/>
            <p:nvPr/>
          </p:nvSpPr>
          <p:spPr bwMode="auto">
            <a:xfrm>
              <a:off x="-1425575" y="-1633538"/>
              <a:ext cx="187325" cy="190500"/>
            </a:xfrm>
            <a:custGeom>
              <a:avLst/>
              <a:gdLst>
                <a:gd name="T0" fmla="*/ 2147483646 w 50"/>
                <a:gd name="T1" fmla="*/ 0 h 51"/>
                <a:gd name="T2" fmla="*/ 0 w 50"/>
                <a:gd name="T3" fmla="*/ 2147483646 h 51"/>
                <a:gd name="T4" fmla="*/ 2147483646 w 50"/>
                <a:gd name="T5" fmla="*/ 2147483646 h 51"/>
                <a:gd name="T6" fmla="*/ 2147483646 w 50"/>
                <a:gd name="T7" fmla="*/ 2147483646 h 51"/>
                <a:gd name="T8" fmla="*/ 2147483646 w 50"/>
                <a:gd name="T9" fmla="*/ 0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1">
                  <a:moveTo>
                    <a:pt x="26" y="0"/>
                  </a:moveTo>
                  <a:cubicBezTo>
                    <a:pt x="15" y="0"/>
                    <a:pt x="6" y="6"/>
                    <a:pt x="0" y="1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7" y="42"/>
                    <a:pt x="50" y="34"/>
                    <a:pt x="50" y="25"/>
                  </a:cubicBezTo>
                  <a:cubicBezTo>
                    <a:pt x="50" y="12"/>
                    <a:pt x="44" y="0"/>
                    <a:pt x="26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5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1" name="组合 50"/>
          <p:cNvGrpSpPr/>
          <p:nvPr/>
        </p:nvGrpSpPr>
        <p:grpSpPr bwMode="auto">
          <a:xfrm>
            <a:off x="4870450" y="3006725"/>
            <a:ext cx="338138" cy="338138"/>
            <a:chOff x="-2120900" y="2405063"/>
            <a:chExt cx="968375" cy="968375"/>
          </a:xfrm>
        </p:grpSpPr>
        <p:sp>
          <p:nvSpPr>
            <p:cNvPr id="31816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3" name="Oval 73"/>
            <p:cNvSpPr>
              <a:spLocks noChangeArrowheads="1"/>
            </p:cNvSpPr>
            <p:nvPr/>
          </p:nvSpPr>
          <p:spPr bwMode="auto">
            <a:xfrm>
              <a:off x="-2116352" y="2409611"/>
              <a:ext cx="959279" cy="959279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818" name="Freeform 74"/>
            <p:cNvSpPr/>
            <p:nvPr/>
          </p:nvSpPr>
          <p:spPr bwMode="auto">
            <a:xfrm>
              <a:off x="-1711325" y="2897188"/>
              <a:ext cx="153988" cy="142875"/>
            </a:xfrm>
            <a:custGeom>
              <a:avLst/>
              <a:gdLst>
                <a:gd name="T0" fmla="*/ 2147483646 w 41"/>
                <a:gd name="T1" fmla="*/ 0 h 38"/>
                <a:gd name="T2" fmla="*/ 0 w 41"/>
                <a:gd name="T3" fmla="*/ 0 h 38"/>
                <a:gd name="T4" fmla="*/ 2147483646 w 41"/>
                <a:gd name="T5" fmla="*/ 2147483646 h 38"/>
                <a:gd name="T6" fmla="*/ 2147483646 w 41"/>
                <a:gd name="T7" fmla="*/ 2147483646 h 38"/>
                <a:gd name="T8" fmla="*/ 2147483646 w 41"/>
                <a:gd name="T9" fmla="*/ 0 h 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38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0" y="34"/>
                    <a:pt x="41" y="29"/>
                    <a:pt x="41" y="25"/>
                  </a:cubicBezTo>
                  <a:cubicBezTo>
                    <a:pt x="41" y="7"/>
                    <a:pt x="25" y="0"/>
                    <a:pt x="9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19" name="Freeform 75"/>
            <p:cNvSpPr/>
            <p:nvPr/>
          </p:nvSpPr>
          <p:spPr bwMode="auto">
            <a:xfrm>
              <a:off x="-1746250" y="2693988"/>
              <a:ext cx="173038" cy="146050"/>
            </a:xfrm>
            <a:custGeom>
              <a:avLst/>
              <a:gdLst>
                <a:gd name="T0" fmla="*/ 2147483646 w 46"/>
                <a:gd name="T1" fmla="*/ 0 h 39"/>
                <a:gd name="T2" fmla="*/ 0 w 46"/>
                <a:gd name="T3" fmla="*/ 2147483646 h 39"/>
                <a:gd name="T4" fmla="*/ 2147483646 w 46"/>
                <a:gd name="T5" fmla="*/ 2147483646 h 39"/>
                <a:gd name="T6" fmla="*/ 2147483646 w 46"/>
                <a:gd name="T7" fmla="*/ 2147483646 h 39"/>
                <a:gd name="T8" fmla="*/ 2147483646 w 46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" h="39">
                  <a:moveTo>
                    <a:pt x="24" y="0"/>
                  </a:moveTo>
                  <a:cubicBezTo>
                    <a:pt x="15" y="0"/>
                    <a:pt x="5" y="4"/>
                    <a:pt x="0" y="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9" y="36"/>
                    <a:pt x="46" y="30"/>
                    <a:pt x="46" y="19"/>
                  </a:cubicBezTo>
                  <a:cubicBezTo>
                    <a:pt x="46" y="9"/>
                    <a:pt x="40" y="0"/>
                    <a:pt x="24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0" name="Freeform 76"/>
            <p:cNvSpPr>
              <a:spLocks noEditPoints="1"/>
            </p:cNvSpPr>
            <p:nvPr/>
          </p:nvSpPr>
          <p:spPr bwMode="auto">
            <a:xfrm>
              <a:off x="-1779588" y="2674938"/>
              <a:ext cx="600075" cy="682625"/>
            </a:xfrm>
            <a:custGeom>
              <a:avLst/>
              <a:gdLst>
                <a:gd name="T0" fmla="*/ 2147483646 w 160"/>
                <a:gd name="T1" fmla="*/ 2147483646 h 182"/>
                <a:gd name="T2" fmla="*/ 2147483646 w 160"/>
                <a:gd name="T3" fmla="*/ 2147483646 h 182"/>
                <a:gd name="T4" fmla="*/ 2147483646 w 160"/>
                <a:gd name="T5" fmla="*/ 2147483646 h 182"/>
                <a:gd name="T6" fmla="*/ 2147483646 w 160"/>
                <a:gd name="T7" fmla="*/ 2147483646 h 182"/>
                <a:gd name="T8" fmla="*/ 2147483646 w 160"/>
                <a:gd name="T9" fmla="*/ 2147483646 h 182"/>
                <a:gd name="T10" fmla="*/ 2147483646 w 160"/>
                <a:gd name="T11" fmla="*/ 2147483646 h 182"/>
                <a:gd name="T12" fmla="*/ 0 w 160"/>
                <a:gd name="T13" fmla="*/ 2147483646 h 182"/>
                <a:gd name="T14" fmla="*/ 2147483646 w 160"/>
                <a:gd name="T15" fmla="*/ 2147483646 h 182"/>
                <a:gd name="T16" fmla="*/ 2147483646 w 160"/>
                <a:gd name="T17" fmla="*/ 2147483646 h 182"/>
                <a:gd name="T18" fmla="*/ 2147483646 w 160"/>
                <a:gd name="T19" fmla="*/ 2147483646 h 182"/>
                <a:gd name="T20" fmla="*/ 2147483646 w 160"/>
                <a:gd name="T21" fmla="*/ 0 h 182"/>
                <a:gd name="T22" fmla="*/ 2147483646 w 160"/>
                <a:gd name="T23" fmla="*/ 2147483646 h 182"/>
                <a:gd name="T24" fmla="*/ 2147483646 w 160"/>
                <a:gd name="T25" fmla="*/ 0 h 1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0" h="182">
                  <a:moveTo>
                    <a:pt x="63" y="1"/>
                  </a:moveTo>
                  <a:cubicBezTo>
                    <a:pt x="69" y="6"/>
                    <a:pt x="72" y="14"/>
                    <a:pt x="72" y="21"/>
                  </a:cubicBezTo>
                  <a:cubicBezTo>
                    <a:pt x="72" y="35"/>
                    <a:pt x="64" y="46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64" y="55"/>
                    <a:pt x="76" y="67"/>
                    <a:pt x="76" y="85"/>
                  </a:cubicBezTo>
                  <a:cubicBezTo>
                    <a:pt x="76" y="105"/>
                    <a:pt x="61" y="123"/>
                    <a:pt x="32" y="123"/>
                  </a:cubicBezTo>
                  <a:cubicBezTo>
                    <a:pt x="18" y="123"/>
                    <a:pt x="6" y="118"/>
                    <a:pt x="0" y="114"/>
                  </a:cubicBezTo>
                  <a:cubicBezTo>
                    <a:pt x="67" y="182"/>
                    <a:pt x="67" y="182"/>
                    <a:pt x="67" y="182"/>
                  </a:cubicBezTo>
                  <a:cubicBezTo>
                    <a:pt x="111" y="172"/>
                    <a:pt x="146" y="139"/>
                    <a:pt x="160" y="97"/>
                  </a:cubicBezTo>
                  <a:cubicBezTo>
                    <a:pt x="63" y="1"/>
                    <a:pt x="63" y="1"/>
                    <a:pt x="63" y="1"/>
                  </a:cubicBezTo>
                  <a:moveTo>
                    <a:pt x="63" y="0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1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" name="组合 2"/>
          <p:cNvGrpSpPr/>
          <p:nvPr/>
        </p:nvGrpSpPr>
        <p:grpSpPr bwMode="auto">
          <a:xfrm>
            <a:off x="2555875" y="1774825"/>
            <a:ext cx="1944688" cy="400050"/>
            <a:chOff x="2555776" y="1774563"/>
            <a:chExt cx="1944216" cy="400110"/>
          </a:xfrm>
        </p:grpSpPr>
        <p:sp>
          <p:nvSpPr>
            <p:cNvPr id="85" name="矩形 84"/>
            <p:cNvSpPr/>
            <p:nvPr/>
          </p:nvSpPr>
          <p:spPr>
            <a:xfrm>
              <a:off x="2555776" y="1796791"/>
              <a:ext cx="1944216" cy="360417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矩形 85"/>
            <p:cNvSpPr/>
            <p:nvPr/>
          </p:nvSpPr>
          <p:spPr>
            <a:xfrm>
              <a:off x="2854154" y="1774563"/>
              <a:ext cx="1590289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803" name="组合 82"/>
            <p:cNvGrpSpPr/>
            <p:nvPr/>
          </p:nvGrpSpPr>
          <p:grpSpPr bwMode="auto">
            <a:xfrm rot="10800000" flipH="1" flipV="1">
              <a:off x="2611600" y="1851101"/>
              <a:ext cx="261837" cy="260335"/>
              <a:chOff x="7129657" y="-1531645"/>
              <a:chExt cx="564454" cy="561216"/>
            </a:xfrm>
          </p:grpSpPr>
          <p:sp>
            <p:nvSpPr>
              <p:cNvPr id="90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807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08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09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10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11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12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13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8" name="Freeform 128"/>
              <p:cNvSpPr/>
              <p:nvPr/>
            </p:nvSpPr>
            <p:spPr bwMode="auto">
              <a:xfrm>
                <a:off x="7313820" y="-1261951"/>
                <a:ext cx="191599" cy="9241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815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" name="组合 3"/>
          <p:cNvGrpSpPr/>
          <p:nvPr/>
        </p:nvGrpSpPr>
        <p:grpSpPr bwMode="auto">
          <a:xfrm>
            <a:off x="6713538" y="2117725"/>
            <a:ext cx="1944687" cy="400050"/>
            <a:chOff x="6713501" y="2117220"/>
            <a:chExt cx="1944216" cy="400110"/>
          </a:xfrm>
        </p:grpSpPr>
        <p:sp>
          <p:nvSpPr>
            <p:cNvPr id="78" name="矩形 77"/>
            <p:cNvSpPr/>
            <p:nvPr/>
          </p:nvSpPr>
          <p:spPr>
            <a:xfrm>
              <a:off x="6713501" y="2139448"/>
              <a:ext cx="1944216" cy="36041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9" name="矩形 88"/>
            <p:cNvSpPr/>
            <p:nvPr/>
          </p:nvSpPr>
          <p:spPr>
            <a:xfrm>
              <a:off x="6967439" y="2117220"/>
              <a:ext cx="158870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788" name="组合 99"/>
            <p:cNvGrpSpPr/>
            <p:nvPr/>
          </p:nvGrpSpPr>
          <p:grpSpPr bwMode="auto">
            <a:xfrm rot="10800000" flipH="1" flipV="1">
              <a:off x="6763206" y="2187973"/>
              <a:ext cx="261837" cy="260335"/>
              <a:chOff x="7129657" y="-1531645"/>
              <a:chExt cx="564454" cy="561216"/>
            </a:xfrm>
          </p:grpSpPr>
          <p:sp>
            <p:nvSpPr>
              <p:cNvPr id="101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92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3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4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5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6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7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8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9" name="Freeform 128"/>
              <p:cNvSpPr/>
              <p:nvPr/>
            </p:nvSpPr>
            <p:spPr bwMode="auto">
              <a:xfrm>
                <a:off x="7327011" y="-1259748"/>
                <a:ext cx="191600" cy="92416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800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" name="组合 4"/>
          <p:cNvGrpSpPr/>
          <p:nvPr/>
        </p:nvGrpSpPr>
        <p:grpSpPr bwMode="auto">
          <a:xfrm>
            <a:off x="5221288" y="2976563"/>
            <a:ext cx="1943100" cy="400050"/>
            <a:chOff x="5220508" y="2977155"/>
            <a:chExt cx="1944216" cy="400110"/>
          </a:xfrm>
        </p:grpSpPr>
        <p:sp>
          <p:nvSpPr>
            <p:cNvPr id="79" name="矩形 78"/>
            <p:cNvSpPr/>
            <p:nvPr/>
          </p:nvSpPr>
          <p:spPr>
            <a:xfrm>
              <a:off x="5220508" y="2997795"/>
              <a:ext cx="1944216" cy="358829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矩形 87"/>
            <p:cNvSpPr/>
            <p:nvPr/>
          </p:nvSpPr>
          <p:spPr>
            <a:xfrm>
              <a:off x="5522306" y="2977155"/>
              <a:ext cx="158841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773" name="组合 110"/>
            <p:cNvGrpSpPr/>
            <p:nvPr/>
          </p:nvGrpSpPr>
          <p:grpSpPr bwMode="auto">
            <a:xfrm rot="10800000" flipH="1" flipV="1">
              <a:off x="5285730" y="3045505"/>
              <a:ext cx="261837" cy="260335"/>
              <a:chOff x="7129657" y="-1531645"/>
              <a:chExt cx="564454" cy="561216"/>
            </a:xfrm>
          </p:grpSpPr>
          <p:sp>
            <p:nvSpPr>
              <p:cNvPr id="112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77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78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79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80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81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82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83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0" name="Freeform 128"/>
              <p:cNvSpPr/>
              <p:nvPr/>
            </p:nvSpPr>
            <p:spPr bwMode="auto">
              <a:xfrm>
                <a:off x="7314353" y="-1261414"/>
                <a:ext cx="191756" cy="9241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85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6" name="组合 5"/>
          <p:cNvGrpSpPr/>
          <p:nvPr/>
        </p:nvGrpSpPr>
        <p:grpSpPr bwMode="auto">
          <a:xfrm>
            <a:off x="3254375" y="3717925"/>
            <a:ext cx="1943100" cy="400050"/>
            <a:chOff x="3253865" y="3717289"/>
            <a:chExt cx="1944216" cy="400110"/>
          </a:xfrm>
        </p:grpSpPr>
        <p:sp>
          <p:nvSpPr>
            <p:cNvPr id="84" name="矩形 83"/>
            <p:cNvSpPr/>
            <p:nvPr/>
          </p:nvSpPr>
          <p:spPr>
            <a:xfrm>
              <a:off x="3253865" y="3717289"/>
              <a:ext cx="1944216" cy="360417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3565194" y="3717289"/>
              <a:ext cx="158841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758" name="组合 121"/>
            <p:cNvGrpSpPr/>
            <p:nvPr/>
          </p:nvGrpSpPr>
          <p:grpSpPr bwMode="auto">
            <a:xfrm rot="10800000" flipH="1" flipV="1">
              <a:off x="3309272" y="3767141"/>
              <a:ext cx="261837" cy="260335"/>
              <a:chOff x="7129657" y="-1531645"/>
              <a:chExt cx="564454" cy="561216"/>
            </a:xfrm>
          </p:grpSpPr>
          <p:sp>
            <p:nvSpPr>
              <p:cNvPr id="123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62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3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4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5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6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7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8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1" name="Freeform 128"/>
              <p:cNvSpPr/>
              <p:nvPr/>
            </p:nvSpPr>
            <p:spPr bwMode="auto">
              <a:xfrm>
                <a:off x="7314970" y="-1262611"/>
                <a:ext cx="191756" cy="92416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70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1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1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203325"/>
            <a:ext cx="5622925" cy="2449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7"/>
          <p:cNvSpPr>
            <a:spLocks noChangeAspect="1"/>
          </p:cNvSpPr>
          <p:nvPr/>
        </p:nvSpPr>
        <p:spPr bwMode="auto">
          <a:xfrm>
            <a:off x="6234113" y="3644900"/>
            <a:ext cx="2441575" cy="374650"/>
          </a:xfrm>
          <a:prstGeom prst="rect">
            <a:avLst/>
          </a:prstGeom>
          <a:solidFill>
            <a:srgbClr val="32879E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18"/>
          <p:cNvSpPr>
            <a:spLocks noChangeAspect="1"/>
          </p:cNvSpPr>
          <p:nvPr/>
        </p:nvSpPr>
        <p:spPr bwMode="auto">
          <a:xfrm>
            <a:off x="6234113" y="4019550"/>
            <a:ext cx="2441575" cy="366713"/>
          </a:xfrm>
          <a:prstGeom prst="rect">
            <a:avLst/>
          </a:prstGeom>
          <a:solidFill>
            <a:srgbClr val="40BDB6">
              <a:alpha val="69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Rectangle 19"/>
          <p:cNvSpPr>
            <a:spLocks noChangeAspect="1"/>
          </p:cNvSpPr>
          <p:nvPr/>
        </p:nvSpPr>
        <p:spPr bwMode="auto">
          <a:xfrm>
            <a:off x="6234113" y="4386263"/>
            <a:ext cx="2441575" cy="366712"/>
          </a:xfrm>
          <a:prstGeom prst="rect">
            <a:avLst/>
          </a:prstGeom>
          <a:solidFill>
            <a:srgbClr val="40BDB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" name="组合 25"/>
          <p:cNvGrpSpPr/>
          <p:nvPr/>
        </p:nvGrpSpPr>
        <p:grpSpPr bwMode="auto">
          <a:xfrm>
            <a:off x="6234113" y="1203325"/>
            <a:ext cx="2433637" cy="2441575"/>
            <a:chOff x="6233849" y="1203598"/>
            <a:chExt cx="2434617" cy="2440697"/>
          </a:xfrm>
        </p:grpSpPr>
        <p:sp>
          <p:nvSpPr>
            <p:cNvPr id="9" name="Rectangle 20"/>
            <p:cNvSpPr>
              <a:spLocks noChangeAspect="1"/>
            </p:cNvSpPr>
            <p:nvPr/>
          </p:nvSpPr>
          <p:spPr bwMode="auto">
            <a:xfrm>
              <a:off x="6233849" y="1203598"/>
              <a:ext cx="2434617" cy="2440697"/>
            </a:xfrm>
            <a:prstGeom prst="rect">
              <a:avLst/>
            </a:prstGeom>
            <a:solidFill>
              <a:srgbClr val="8CC63F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848" name="Freeform 55"/>
            <p:cNvSpPr>
              <a:spLocks noEditPoints="1"/>
            </p:cNvSpPr>
            <p:nvPr/>
          </p:nvSpPr>
          <p:spPr bwMode="auto">
            <a:xfrm>
              <a:off x="6719956" y="1449402"/>
              <a:ext cx="1462405" cy="1949088"/>
            </a:xfrm>
            <a:custGeom>
              <a:avLst/>
              <a:gdLst>
                <a:gd name="T0" fmla="*/ 2147483646 w 66"/>
                <a:gd name="T1" fmla="*/ 2147483646 h 88"/>
                <a:gd name="T2" fmla="*/ 2147483646 w 66"/>
                <a:gd name="T3" fmla="*/ 2147483646 h 88"/>
                <a:gd name="T4" fmla="*/ 2147483646 w 66"/>
                <a:gd name="T5" fmla="*/ 2147483646 h 88"/>
                <a:gd name="T6" fmla="*/ 2147483646 w 66"/>
                <a:gd name="T7" fmla="*/ 2147483646 h 88"/>
                <a:gd name="T8" fmla="*/ 2147483646 w 66"/>
                <a:gd name="T9" fmla="*/ 2147483646 h 88"/>
                <a:gd name="T10" fmla="*/ 2147483646 w 66"/>
                <a:gd name="T11" fmla="*/ 2147483646 h 88"/>
                <a:gd name="T12" fmla="*/ 2147483646 w 66"/>
                <a:gd name="T13" fmla="*/ 2147483646 h 88"/>
                <a:gd name="T14" fmla="*/ 2147483646 w 66"/>
                <a:gd name="T15" fmla="*/ 2147483646 h 88"/>
                <a:gd name="T16" fmla="*/ 2147483646 w 66"/>
                <a:gd name="T17" fmla="*/ 2147483646 h 88"/>
                <a:gd name="T18" fmla="*/ 2147483646 w 66"/>
                <a:gd name="T19" fmla="*/ 2147483646 h 88"/>
                <a:gd name="T20" fmla="*/ 2147483646 w 66"/>
                <a:gd name="T21" fmla="*/ 2147483646 h 88"/>
                <a:gd name="T22" fmla="*/ 2147483646 w 66"/>
                <a:gd name="T23" fmla="*/ 2147483646 h 88"/>
                <a:gd name="T24" fmla="*/ 2147483646 w 66"/>
                <a:gd name="T25" fmla="*/ 2147483646 h 88"/>
                <a:gd name="T26" fmla="*/ 2147483646 w 66"/>
                <a:gd name="T27" fmla="*/ 2147483646 h 88"/>
                <a:gd name="T28" fmla="*/ 2147483646 w 66"/>
                <a:gd name="T29" fmla="*/ 2147483646 h 88"/>
                <a:gd name="T30" fmla="*/ 2147483646 w 66"/>
                <a:gd name="T31" fmla="*/ 2147483646 h 88"/>
                <a:gd name="T32" fmla="*/ 2147483646 w 66"/>
                <a:gd name="T33" fmla="*/ 2147483646 h 88"/>
                <a:gd name="T34" fmla="*/ 2147483646 w 66"/>
                <a:gd name="T35" fmla="*/ 2147483646 h 88"/>
                <a:gd name="T36" fmla="*/ 2147483646 w 66"/>
                <a:gd name="T37" fmla="*/ 2147483646 h 88"/>
                <a:gd name="T38" fmla="*/ 2147483646 w 66"/>
                <a:gd name="T39" fmla="*/ 2147483646 h 88"/>
                <a:gd name="T40" fmla="*/ 2147483646 w 66"/>
                <a:gd name="T41" fmla="*/ 2147483646 h 88"/>
                <a:gd name="T42" fmla="*/ 2147483646 w 66"/>
                <a:gd name="T43" fmla="*/ 2147483646 h 88"/>
                <a:gd name="T44" fmla="*/ 2147483646 w 66"/>
                <a:gd name="T45" fmla="*/ 2147483646 h 88"/>
                <a:gd name="T46" fmla="*/ 2147483646 w 66"/>
                <a:gd name="T47" fmla="*/ 2147483646 h 88"/>
                <a:gd name="T48" fmla="*/ 2147483646 w 66"/>
                <a:gd name="T49" fmla="*/ 2147483646 h 88"/>
                <a:gd name="T50" fmla="*/ 2147483646 w 66"/>
                <a:gd name="T51" fmla="*/ 2147483646 h 88"/>
                <a:gd name="T52" fmla="*/ 2147483646 w 66"/>
                <a:gd name="T53" fmla="*/ 2147483646 h 88"/>
                <a:gd name="T54" fmla="*/ 0 w 66"/>
                <a:gd name="T55" fmla="*/ 2147483646 h 88"/>
                <a:gd name="T56" fmla="*/ 2147483646 w 66"/>
                <a:gd name="T57" fmla="*/ 2147483646 h 88"/>
                <a:gd name="T58" fmla="*/ 2147483646 w 66"/>
                <a:gd name="T59" fmla="*/ 2147483646 h 88"/>
                <a:gd name="T60" fmla="*/ 2147483646 w 66"/>
                <a:gd name="T61" fmla="*/ 2147483646 h 88"/>
                <a:gd name="T62" fmla="*/ 2147483646 w 66"/>
                <a:gd name="T63" fmla="*/ 2147483646 h 88"/>
                <a:gd name="T64" fmla="*/ 2147483646 w 66"/>
                <a:gd name="T65" fmla="*/ 2147483646 h 88"/>
                <a:gd name="T66" fmla="*/ 2147483646 w 66"/>
                <a:gd name="T67" fmla="*/ 2147483646 h 88"/>
                <a:gd name="T68" fmla="*/ 2147483646 w 66"/>
                <a:gd name="T69" fmla="*/ 2147483646 h 88"/>
                <a:gd name="T70" fmla="*/ 2147483646 w 66"/>
                <a:gd name="T71" fmla="*/ 2147483646 h 88"/>
                <a:gd name="T72" fmla="*/ 2147483646 w 66"/>
                <a:gd name="T73" fmla="*/ 2147483646 h 88"/>
                <a:gd name="T74" fmla="*/ 2147483646 w 66"/>
                <a:gd name="T75" fmla="*/ 2147483646 h 88"/>
                <a:gd name="T76" fmla="*/ 2147483646 w 66"/>
                <a:gd name="T77" fmla="*/ 2147483646 h 88"/>
                <a:gd name="T78" fmla="*/ 2147483646 w 66"/>
                <a:gd name="T79" fmla="*/ 2147483646 h 88"/>
                <a:gd name="T80" fmla="*/ 2147483646 w 66"/>
                <a:gd name="T81" fmla="*/ 2147483646 h 88"/>
                <a:gd name="T82" fmla="*/ 2147483646 w 66"/>
                <a:gd name="T83" fmla="*/ 0 h 88"/>
                <a:gd name="T84" fmla="*/ 2147483646 w 66"/>
                <a:gd name="T85" fmla="*/ 2147483646 h 88"/>
                <a:gd name="T86" fmla="*/ 2147483646 w 66"/>
                <a:gd name="T87" fmla="*/ 0 h 88"/>
                <a:gd name="T88" fmla="*/ 2147483646 w 66"/>
                <a:gd name="T89" fmla="*/ 2147483646 h 88"/>
                <a:gd name="T90" fmla="*/ 2147483646 w 66"/>
                <a:gd name="T91" fmla="*/ 2147483646 h 88"/>
                <a:gd name="T92" fmla="*/ 2147483646 w 66"/>
                <a:gd name="T93" fmla="*/ 2147483646 h 88"/>
                <a:gd name="T94" fmla="*/ 2147483646 w 66"/>
                <a:gd name="T95" fmla="*/ 2147483646 h 88"/>
                <a:gd name="T96" fmla="*/ 2147483646 w 66"/>
                <a:gd name="T97" fmla="*/ 2147483646 h 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6" h="88">
                  <a:moveTo>
                    <a:pt x="53" y="66"/>
                  </a:moveTo>
                  <a:cubicBezTo>
                    <a:pt x="51" y="66"/>
                    <a:pt x="48" y="64"/>
                    <a:pt x="48" y="6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4" y="23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5" y="17"/>
                    <a:pt x="45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3" y="18"/>
                    <a:pt x="63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3"/>
                    <a:pt x="62" y="23"/>
                    <a:pt x="62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4"/>
                    <a:pt x="56" y="66"/>
                    <a:pt x="53" y="66"/>
                  </a:cubicBezTo>
                  <a:moveTo>
                    <a:pt x="62" y="14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3" y="14"/>
                    <a:pt x="40" y="16"/>
                    <a:pt x="40" y="18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5"/>
                    <a:pt x="42" y="27"/>
                    <a:pt x="44" y="27"/>
                  </a:cubicBezTo>
                  <a:cubicBezTo>
                    <a:pt x="44" y="30"/>
                    <a:pt x="44" y="61"/>
                    <a:pt x="44" y="61"/>
                  </a:cubicBezTo>
                  <a:cubicBezTo>
                    <a:pt x="44" y="66"/>
                    <a:pt x="48" y="70"/>
                    <a:pt x="53" y="70"/>
                  </a:cubicBezTo>
                  <a:cubicBezTo>
                    <a:pt x="58" y="70"/>
                    <a:pt x="62" y="66"/>
                    <a:pt x="62" y="61"/>
                  </a:cubicBezTo>
                  <a:cubicBezTo>
                    <a:pt x="62" y="61"/>
                    <a:pt x="62" y="30"/>
                    <a:pt x="62" y="27"/>
                  </a:cubicBezTo>
                  <a:cubicBezTo>
                    <a:pt x="65" y="27"/>
                    <a:pt x="66" y="25"/>
                    <a:pt x="66" y="22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6"/>
                    <a:pt x="64" y="14"/>
                    <a:pt x="62" y="14"/>
                  </a:cubicBezTo>
                  <a:moveTo>
                    <a:pt x="5" y="84"/>
                  </a:moveTo>
                  <a:cubicBezTo>
                    <a:pt x="5" y="84"/>
                    <a:pt x="4" y="84"/>
                    <a:pt x="4" y="83"/>
                  </a:cubicBezTo>
                  <a:cubicBezTo>
                    <a:pt x="3" y="83"/>
                    <a:pt x="3" y="82"/>
                    <a:pt x="4" y="80"/>
                  </a:cubicBezTo>
                  <a:cubicBezTo>
                    <a:pt x="5" y="79"/>
                    <a:pt x="18" y="61"/>
                    <a:pt x="19" y="59"/>
                  </a:cubicBezTo>
                  <a:cubicBezTo>
                    <a:pt x="20" y="57"/>
                    <a:pt x="21" y="55"/>
                    <a:pt x="21" y="52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0"/>
                    <a:pt x="18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1"/>
                    <a:pt x="34" y="31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5"/>
                    <a:pt x="34" y="36"/>
                    <a:pt x="34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5"/>
                    <a:pt x="32" y="57"/>
                    <a:pt x="33" y="59"/>
                  </a:cubicBezTo>
                  <a:cubicBezTo>
                    <a:pt x="34" y="61"/>
                    <a:pt x="47" y="79"/>
                    <a:pt x="47" y="80"/>
                  </a:cubicBezTo>
                  <a:cubicBezTo>
                    <a:pt x="49" y="82"/>
                    <a:pt x="49" y="83"/>
                    <a:pt x="48" y="83"/>
                  </a:cubicBezTo>
                  <a:cubicBezTo>
                    <a:pt x="48" y="84"/>
                    <a:pt x="47" y="84"/>
                    <a:pt x="47" y="84"/>
                  </a:cubicBezTo>
                  <a:cubicBezTo>
                    <a:pt x="5" y="84"/>
                    <a:pt x="5" y="84"/>
                    <a:pt x="5" y="84"/>
                  </a:cubicBezTo>
                  <a:moveTo>
                    <a:pt x="34" y="26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6" y="26"/>
                    <a:pt x="14" y="28"/>
                    <a:pt x="14" y="31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7"/>
                    <a:pt x="16" y="39"/>
                    <a:pt x="18" y="40"/>
                  </a:cubicBezTo>
                  <a:cubicBezTo>
                    <a:pt x="18" y="42"/>
                    <a:pt x="18" y="52"/>
                    <a:pt x="18" y="52"/>
                  </a:cubicBezTo>
                  <a:cubicBezTo>
                    <a:pt x="18" y="53"/>
                    <a:pt x="17" y="55"/>
                    <a:pt x="16" y="57"/>
                  </a:cubicBezTo>
                  <a:cubicBezTo>
                    <a:pt x="15" y="58"/>
                    <a:pt x="2" y="78"/>
                    <a:pt x="2" y="78"/>
                  </a:cubicBezTo>
                  <a:cubicBezTo>
                    <a:pt x="1" y="80"/>
                    <a:pt x="0" y="81"/>
                    <a:pt x="0" y="83"/>
                  </a:cubicBezTo>
                  <a:cubicBezTo>
                    <a:pt x="0" y="84"/>
                    <a:pt x="0" y="84"/>
                    <a:pt x="1" y="85"/>
                  </a:cubicBezTo>
                  <a:cubicBezTo>
                    <a:pt x="1" y="87"/>
                    <a:pt x="3" y="88"/>
                    <a:pt x="5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9" y="88"/>
                    <a:pt x="51" y="87"/>
                    <a:pt x="51" y="85"/>
                  </a:cubicBezTo>
                  <a:cubicBezTo>
                    <a:pt x="52" y="84"/>
                    <a:pt x="52" y="84"/>
                    <a:pt x="52" y="83"/>
                  </a:cubicBezTo>
                  <a:cubicBezTo>
                    <a:pt x="52" y="81"/>
                    <a:pt x="51" y="80"/>
                    <a:pt x="50" y="78"/>
                  </a:cubicBezTo>
                  <a:cubicBezTo>
                    <a:pt x="50" y="78"/>
                    <a:pt x="37" y="58"/>
                    <a:pt x="36" y="57"/>
                  </a:cubicBezTo>
                  <a:cubicBezTo>
                    <a:pt x="35" y="55"/>
                    <a:pt x="34" y="53"/>
                    <a:pt x="34" y="52"/>
                  </a:cubicBezTo>
                  <a:cubicBezTo>
                    <a:pt x="34" y="52"/>
                    <a:pt x="34" y="42"/>
                    <a:pt x="34" y="40"/>
                  </a:cubicBezTo>
                  <a:cubicBezTo>
                    <a:pt x="36" y="39"/>
                    <a:pt x="38" y="37"/>
                    <a:pt x="38" y="35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28"/>
                    <a:pt x="36" y="26"/>
                    <a:pt x="34" y="26"/>
                  </a:cubicBezTo>
                  <a:moveTo>
                    <a:pt x="56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3"/>
                    <a:pt x="52" y="64"/>
                    <a:pt x="53" y="64"/>
                  </a:cubicBezTo>
                  <a:cubicBezTo>
                    <a:pt x="55" y="64"/>
                    <a:pt x="56" y="63"/>
                    <a:pt x="56" y="61"/>
                  </a:cubicBezTo>
                  <a:cubicBezTo>
                    <a:pt x="56" y="35"/>
                    <a:pt x="56" y="35"/>
                    <a:pt x="56" y="35"/>
                  </a:cubicBezTo>
                  <a:moveTo>
                    <a:pt x="32" y="62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81"/>
                    <a:pt x="8" y="82"/>
                    <a:pt x="10" y="82"/>
                  </a:cubicBezTo>
                  <a:cubicBezTo>
                    <a:pt x="11" y="82"/>
                    <a:pt x="26" y="82"/>
                    <a:pt x="26" y="82"/>
                  </a:cubicBezTo>
                  <a:cubicBezTo>
                    <a:pt x="26" y="82"/>
                    <a:pt x="41" y="82"/>
                    <a:pt x="42" y="82"/>
                  </a:cubicBezTo>
                  <a:cubicBezTo>
                    <a:pt x="44" y="82"/>
                    <a:pt x="44" y="81"/>
                    <a:pt x="44" y="80"/>
                  </a:cubicBezTo>
                  <a:cubicBezTo>
                    <a:pt x="32" y="62"/>
                    <a:pt x="32" y="62"/>
                    <a:pt x="32" y="62"/>
                  </a:cubicBezTo>
                  <a:moveTo>
                    <a:pt x="20" y="0"/>
                  </a:moveTo>
                  <a:cubicBezTo>
                    <a:pt x="18" y="0"/>
                    <a:pt x="17" y="2"/>
                    <a:pt x="17" y="3"/>
                  </a:cubicBezTo>
                  <a:cubicBezTo>
                    <a:pt x="17" y="5"/>
                    <a:pt x="18" y="6"/>
                    <a:pt x="20" y="6"/>
                  </a:cubicBezTo>
                  <a:cubicBezTo>
                    <a:pt x="21" y="6"/>
                    <a:pt x="23" y="5"/>
                    <a:pt x="23" y="3"/>
                  </a:cubicBezTo>
                  <a:cubicBezTo>
                    <a:pt x="23" y="2"/>
                    <a:pt x="21" y="0"/>
                    <a:pt x="20" y="0"/>
                  </a:cubicBezTo>
                  <a:moveTo>
                    <a:pt x="31" y="3"/>
                  </a:moveTo>
                  <a:cubicBezTo>
                    <a:pt x="28" y="3"/>
                    <a:pt x="25" y="5"/>
                    <a:pt x="25" y="8"/>
                  </a:cubicBezTo>
                  <a:cubicBezTo>
                    <a:pt x="25" y="11"/>
                    <a:pt x="28" y="13"/>
                    <a:pt x="31" y="13"/>
                  </a:cubicBezTo>
                  <a:cubicBezTo>
                    <a:pt x="34" y="13"/>
                    <a:pt x="36" y="11"/>
                    <a:pt x="36" y="8"/>
                  </a:cubicBezTo>
                  <a:cubicBezTo>
                    <a:pt x="36" y="5"/>
                    <a:pt x="34" y="3"/>
                    <a:pt x="31" y="3"/>
                  </a:cubicBezTo>
                  <a:moveTo>
                    <a:pt x="25" y="16"/>
                  </a:moveTo>
                  <a:cubicBezTo>
                    <a:pt x="23" y="16"/>
                    <a:pt x="22" y="18"/>
                    <a:pt x="22" y="20"/>
                  </a:cubicBezTo>
                  <a:cubicBezTo>
                    <a:pt x="22" y="22"/>
                    <a:pt x="23" y="24"/>
                    <a:pt x="25" y="24"/>
                  </a:cubicBezTo>
                  <a:cubicBezTo>
                    <a:pt x="27" y="24"/>
                    <a:pt x="29" y="22"/>
                    <a:pt x="29" y="20"/>
                  </a:cubicBezTo>
                  <a:cubicBezTo>
                    <a:pt x="29" y="18"/>
                    <a:pt x="27" y="16"/>
                    <a:pt x="25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dist="114300" dir="2700000" algn="tl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3243" tIns="46620" rIns="93243" bIns="46620"/>
            <a:lstStyle/>
            <a:p>
              <a:endParaRPr lang="zh-CN" altLang="en-US"/>
            </a:p>
          </p:txBody>
        </p:sp>
      </p:grpSp>
      <p:grpSp>
        <p:nvGrpSpPr>
          <p:cNvPr id="32775" name="组合 1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2842" name="组合 12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18" name="矩形 17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2843" name="Freeform 152"/>
            <p:cNvSpPr>
              <a:spLocks noEditPoints="1"/>
            </p:cNvSpPr>
            <p:nvPr/>
          </p:nvSpPr>
          <p:spPr bwMode="auto">
            <a:xfrm>
              <a:off x="2093495" y="322945"/>
              <a:ext cx="225659" cy="216510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2147483646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1" h="30">
                  <a:moveTo>
                    <a:pt x="21" y="8"/>
                  </a:moveTo>
                  <a:cubicBezTo>
                    <a:pt x="22" y="9"/>
                    <a:pt x="23" y="9"/>
                    <a:pt x="24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4"/>
                    <a:pt x="28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5"/>
                    <a:pt x="31" y="16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3"/>
                    <a:pt x="25" y="25"/>
                    <a:pt x="23" y="26"/>
                  </a:cubicBezTo>
                  <a:cubicBezTo>
                    <a:pt x="22" y="27"/>
                    <a:pt x="22" y="28"/>
                    <a:pt x="22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9"/>
                    <a:pt x="18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2" y="29"/>
                    <a:pt x="12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5" y="25"/>
                    <a:pt x="3" y="22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3"/>
                    <a:pt x="6" y="10"/>
                    <a:pt x="10" y="8"/>
                  </a:cubicBezTo>
                  <a:cubicBezTo>
                    <a:pt x="11" y="10"/>
                    <a:pt x="13" y="12"/>
                    <a:pt x="15" y="12"/>
                  </a:cubicBezTo>
                  <a:cubicBezTo>
                    <a:pt x="18" y="12"/>
                    <a:pt x="20" y="10"/>
                    <a:pt x="21" y="8"/>
                  </a:cubicBezTo>
                  <a:close/>
                  <a:moveTo>
                    <a:pt x="15" y="0"/>
                  </a:moveTo>
                  <a:cubicBezTo>
                    <a:pt x="13" y="0"/>
                    <a:pt x="10" y="2"/>
                    <a:pt x="10" y="5"/>
                  </a:cubicBezTo>
                  <a:cubicBezTo>
                    <a:pt x="10" y="8"/>
                    <a:pt x="13" y="10"/>
                    <a:pt x="15" y="10"/>
                  </a:cubicBezTo>
                  <a:cubicBezTo>
                    <a:pt x="18" y="10"/>
                    <a:pt x="21" y="8"/>
                    <a:pt x="21" y="5"/>
                  </a:cubicBezTo>
                  <a:cubicBezTo>
                    <a:pt x="21" y="2"/>
                    <a:pt x="18" y="0"/>
                    <a:pt x="15" y="0"/>
                  </a:cubicBezTo>
                  <a:close/>
                  <a:moveTo>
                    <a:pt x="14" y="8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5" name="组合 14"/>
          <p:cNvGrpSpPr/>
          <p:nvPr/>
        </p:nvGrpSpPr>
        <p:grpSpPr bwMode="auto">
          <a:xfrm>
            <a:off x="611188" y="3652838"/>
            <a:ext cx="5622925" cy="366712"/>
            <a:chOff x="611566" y="3652329"/>
            <a:chExt cx="5622289" cy="366699"/>
          </a:xfrm>
        </p:grpSpPr>
        <p:sp>
          <p:nvSpPr>
            <p:cNvPr id="3" name="Freeform 14"/>
            <p:cNvSpPr/>
            <p:nvPr/>
          </p:nvSpPr>
          <p:spPr>
            <a:xfrm>
              <a:off x="611566" y="3652329"/>
              <a:ext cx="5622289" cy="366699"/>
            </a:xfrm>
            <a:custGeom>
              <a:avLst/>
              <a:gdLst>
                <a:gd name="connsiteX0" fmla="*/ 0 w 7541001"/>
                <a:gd name="connsiteY0" fmla="*/ 0 h 435045"/>
                <a:gd name="connsiteX1" fmla="*/ 7541001 w 7541001"/>
                <a:gd name="connsiteY1" fmla="*/ 0 h 435045"/>
                <a:gd name="connsiteX2" fmla="*/ 7541001 w 7541001"/>
                <a:gd name="connsiteY2" fmla="*/ 435045 h 435045"/>
                <a:gd name="connsiteX3" fmla="*/ 0 w 7541001"/>
                <a:gd name="connsiteY3" fmla="*/ 435045 h 435045"/>
                <a:gd name="connsiteX4" fmla="*/ 0 w 7541001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1001" h="435045">
                  <a:moveTo>
                    <a:pt x="0" y="0"/>
                  </a:moveTo>
                  <a:lnTo>
                    <a:pt x="7541001" y="0"/>
                  </a:lnTo>
                  <a:lnTo>
                    <a:pt x="7541001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1822691" y="3666615"/>
              <a:ext cx="3109561" cy="33812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2823" name="组合 47"/>
            <p:cNvGrpSpPr/>
            <p:nvPr/>
          </p:nvGrpSpPr>
          <p:grpSpPr bwMode="auto">
            <a:xfrm>
              <a:off x="791479" y="3683057"/>
              <a:ext cx="305520" cy="305520"/>
              <a:chOff x="730250" y="-1925638"/>
              <a:chExt cx="958850" cy="958850"/>
            </a:xfrm>
          </p:grpSpPr>
          <p:sp>
            <p:nvSpPr>
              <p:cNvPr id="49" name="Oval 60"/>
              <p:cNvSpPr>
                <a:spLocks noChangeArrowheads="1"/>
              </p:cNvSpPr>
              <p:nvPr/>
            </p:nvSpPr>
            <p:spPr bwMode="auto">
              <a:xfrm>
                <a:off x="728537" y="-1927417"/>
                <a:ext cx="961464" cy="961540"/>
              </a:xfrm>
              <a:prstGeom prst="ellipse">
                <a:avLst/>
              </a:pr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2838" name="Freeform 61"/>
              <p:cNvSpPr/>
              <p:nvPr/>
            </p:nvSpPr>
            <p:spPr bwMode="auto">
              <a:xfrm>
                <a:off x="1179512" y="-1685925"/>
                <a:ext cx="476250" cy="685800"/>
              </a:xfrm>
              <a:custGeom>
                <a:avLst/>
                <a:gdLst>
                  <a:gd name="T0" fmla="*/ 2147483646 w 127"/>
                  <a:gd name="T1" fmla="*/ 0 h 183"/>
                  <a:gd name="T2" fmla="*/ 2147483646 w 127"/>
                  <a:gd name="T3" fmla="*/ 2147483646 h 183"/>
                  <a:gd name="T4" fmla="*/ 0 w 127"/>
                  <a:gd name="T5" fmla="*/ 2147483646 h 183"/>
                  <a:gd name="T6" fmla="*/ 2147483646 w 127"/>
                  <a:gd name="T7" fmla="*/ 2147483646 h 183"/>
                  <a:gd name="T8" fmla="*/ 2147483646 w 127"/>
                  <a:gd name="T9" fmla="*/ 2147483646 h 183"/>
                  <a:gd name="T10" fmla="*/ 2147483646 w 127"/>
                  <a:gd name="T11" fmla="*/ 0 h 1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7" h="183">
                    <a:moveTo>
                      <a:pt x="16" y="0"/>
                    </a:moveTo>
                    <a:cubicBezTo>
                      <a:pt x="16" y="128"/>
                      <a:pt x="16" y="128"/>
                      <a:pt x="16" y="128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55" y="183"/>
                      <a:pt x="55" y="183"/>
                      <a:pt x="55" y="183"/>
                    </a:cubicBezTo>
                    <a:cubicBezTo>
                      <a:pt x="88" y="170"/>
                      <a:pt x="114" y="144"/>
                      <a:pt x="127" y="111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9" name="Freeform 62"/>
              <p:cNvSpPr/>
              <p:nvPr/>
            </p:nvSpPr>
            <p:spPr bwMode="auto">
              <a:xfrm>
                <a:off x="1101725" y="-1625600"/>
                <a:ext cx="77788" cy="127000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40" name="Freeform 63"/>
              <p:cNvSpPr/>
              <p:nvPr/>
            </p:nvSpPr>
            <p:spPr bwMode="auto">
              <a:xfrm>
                <a:off x="1101725" y="-1625600"/>
                <a:ext cx="77788" cy="127000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41" name="Freeform 64"/>
              <p:cNvSpPr/>
              <p:nvPr/>
            </p:nvSpPr>
            <p:spPr bwMode="auto">
              <a:xfrm>
                <a:off x="1085850" y="-1685925"/>
                <a:ext cx="153988" cy="479425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32824" name="组合 65"/>
            <p:cNvGrpSpPr/>
            <p:nvPr/>
          </p:nvGrpSpPr>
          <p:grpSpPr bwMode="auto">
            <a:xfrm>
              <a:off x="1547293" y="3728241"/>
              <a:ext cx="216395" cy="215153"/>
              <a:chOff x="7129657" y="-1531645"/>
              <a:chExt cx="564454" cy="561216"/>
            </a:xfrm>
          </p:grpSpPr>
          <p:sp>
            <p:nvSpPr>
              <p:cNvPr id="67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828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29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0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1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2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3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4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5" name="Freeform 128"/>
              <p:cNvSpPr/>
              <p:nvPr/>
            </p:nvSpPr>
            <p:spPr bwMode="auto">
              <a:xfrm>
                <a:off x="7318041" y="-1249330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836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3" name="组合 22"/>
          <p:cNvGrpSpPr/>
          <p:nvPr/>
        </p:nvGrpSpPr>
        <p:grpSpPr bwMode="auto">
          <a:xfrm>
            <a:off x="611188" y="4019550"/>
            <a:ext cx="5622925" cy="366713"/>
            <a:chOff x="611560" y="4019023"/>
            <a:chExt cx="5622289" cy="366699"/>
          </a:xfrm>
        </p:grpSpPr>
        <p:sp>
          <p:nvSpPr>
            <p:cNvPr id="4" name="Freeform 15"/>
            <p:cNvSpPr/>
            <p:nvPr/>
          </p:nvSpPr>
          <p:spPr>
            <a:xfrm>
              <a:off x="611560" y="4019023"/>
              <a:ext cx="5622289" cy="366699"/>
            </a:xfrm>
            <a:custGeom>
              <a:avLst/>
              <a:gdLst>
                <a:gd name="connsiteX0" fmla="*/ 0 w 7382862"/>
                <a:gd name="connsiteY0" fmla="*/ 0 h 435045"/>
                <a:gd name="connsiteX1" fmla="*/ 7382862 w 7382862"/>
                <a:gd name="connsiteY1" fmla="*/ 0 h 435045"/>
                <a:gd name="connsiteX2" fmla="*/ 7382862 w 7382862"/>
                <a:gd name="connsiteY2" fmla="*/ 435045 h 435045"/>
                <a:gd name="connsiteX3" fmla="*/ 0 w 7382862"/>
                <a:gd name="connsiteY3" fmla="*/ 435045 h 435045"/>
                <a:gd name="connsiteX4" fmla="*/ 0 w 7382862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2862" h="435045">
                  <a:moveTo>
                    <a:pt x="0" y="0"/>
                  </a:moveTo>
                  <a:lnTo>
                    <a:pt x="7382862" y="0"/>
                  </a:lnTo>
                  <a:lnTo>
                    <a:pt x="7382862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1822685" y="4034897"/>
              <a:ext cx="3109561" cy="33971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2803" name="组合 53"/>
            <p:cNvGrpSpPr/>
            <p:nvPr/>
          </p:nvGrpSpPr>
          <p:grpSpPr bwMode="auto">
            <a:xfrm>
              <a:off x="791479" y="4051891"/>
              <a:ext cx="305520" cy="305520"/>
              <a:chOff x="-1789113" y="-1925638"/>
              <a:chExt cx="958850" cy="958850"/>
            </a:xfrm>
          </p:grpSpPr>
          <p:sp>
            <p:nvSpPr>
              <p:cNvPr id="55" name="Oval 65"/>
              <p:cNvSpPr>
                <a:spLocks noChangeArrowheads="1"/>
              </p:cNvSpPr>
              <p:nvPr/>
            </p:nvSpPr>
            <p:spPr bwMode="auto">
              <a:xfrm>
                <a:off x="-1790845" y="-1924166"/>
                <a:ext cx="961464" cy="956553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2818" name="Freeform 66"/>
              <p:cNvSpPr/>
              <p:nvPr/>
            </p:nvSpPr>
            <p:spPr bwMode="auto">
              <a:xfrm>
                <a:off x="-1455738" y="-1649413"/>
                <a:ext cx="600075" cy="676275"/>
              </a:xfrm>
              <a:custGeom>
                <a:avLst/>
                <a:gdLst>
                  <a:gd name="T0" fmla="*/ 2147483646 w 160"/>
                  <a:gd name="T1" fmla="*/ 0 h 180"/>
                  <a:gd name="T2" fmla="*/ 2147483646 w 160"/>
                  <a:gd name="T3" fmla="*/ 2147483646 h 180"/>
                  <a:gd name="T4" fmla="*/ 2147483646 w 160"/>
                  <a:gd name="T5" fmla="*/ 2147483646 h 180"/>
                  <a:gd name="T6" fmla="*/ 2147483646 w 160"/>
                  <a:gd name="T7" fmla="*/ 2147483646 h 180"/>
                  <a:gd name="T8" fmla="*/ 2147483646 w 160"/>
                  <a:gd name="T9" fmla="*/ 2147483646 h 180"/>
                  <a:gd name="T10" fmla="*/ 2147483646 w 160"/>
                  <a:gd name="T11" fmla="*/ 2147483646 h 180"/>
                  <a:gd name="T12" fmla="*/ 2147483646 w 160"/>
                  <a:gd name="T13" fmla="*/ 2147483646 h 180"/>
                  <a:gd name="T14" fmla="*/ 0 w 160"/>
                  <a:gd name="T15" fmla="*/ 2147483646 h 180"/>
                  <a:gd name="T16" fmla="*/ 2147483646 w 160"/>
                  <a:gd name="T17" fmla="*/ 2147483646 h 180"/>
                  <a:gd name="T18" fmla="*/ 2147483646 w 160"/>
                  <a:gd name="T19" fmla="*/ 2147483646 h 180"/>
                  <a:gd name="T20" fmla="*/ 2147483646 w 160"/>
                  <a:gd name="T21" fmla="*/ 0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60" h="180">
                    <a:moveTo>
                      <a:pt x="65" y="0"/>
                    </a:moveTo>
                    <a:cubicBezTo>
                      <a:pt x="67" y="3"/>
                      <a:pt x="75" y="12"/>
                      <a:pt x="75" y="27"/>
                    </a:cubicBezTo>
                    <a:cubicBezTo>
                      <a:pt x="75" y="50"/>
                      <a:pt x="59" y="69"/>
                      <a:pt x="33" y="94"/>
                    </a:cubicBezTo>
                    <a:cubicBezTo>
                      <a:pt x="23" y="103"/>
                      <a:pt x="23" y="103"/>
                      <a:pt x="23" y="103"/>
                    </a:cubicBezTo>
                    <a:cubicBezTo>
                      <a:pt x="23" y="104"/>
                      <a:pt x="23" y="104"/>
                      <a:pt x="23" y="104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8" y="118"/>
                      <a:pt x="78" y="118"/>
                      <a:pt x="78" y="118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62" y="180"/>
                      <a:pt x="62" y="180"/>
                      <a:pt x="62" y="180"/>
                    </a:cubicBezTo>
                    <a:cubicBezTo>
                      <a:pt x="108" y="172"/>
                      <a:pt x="145" y="139"/>
                      <a:pt x="160" y="95"/>
                    </a:cubicBezTo>
                    <a:cubicBezTo>
                      <a:pt x="65" y="0"/>
                      <a:pt x="65" y="0"/>
                      <a:pt x="65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9" name="Freeform 67"/>
              <p:cNvSpPr/>
              <p:nvPr/>
            </p:nvSpPr>
            <p:spPr bwMode="auto">
              <a:xfrm>
                <a:off x="-1425575" y="-1633538"/>
                <a:ext cx="187325" cy="190500"/>
              </a:xfrm>
              <a:custGeom>
                <a:avLst/>
                <a:gdLst>
                  <a:gd name="T0" fmla="*/ 2147483646 w 50"/>
                  <a:gd name="T1" fmla="*/ 0 h 51"/>
                  <a:gd name="T2" fmla="*/ 0 w 50"/>
                  <a:gd name="T3" fmla="*/ 2147483646 h 51"/>
                  <a:gd name="T4" fmla="*/ 2147483646 w 50"/>
                  <a:gd name="T5" fmla="*/ 2147483646 h 51"/>
                  <a:gd name="T6" fmla="*/ 2147483646 w 50"/>
                  <a:gd name="T7" fmla="*/ 2147483646 h 51"/>
                  <a:gd name="T8" fmla="*/ 2147483646 w 50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0" h="51">
                    <a:moveTo>
                      <a:pt x="26" y="0"/>
                    </a:moveTo>
                    <a:cubicBezTo>
                      <a:pt x="15" y="0"/>
                      <a:pt x="6" y="6"/>
                      <a:pt x="0" y="11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7" y="42"/>
                      <a:pt x="50" y="34"/>
                      <a:pt x="50" y="25"/>
                    </a:cubicBezTo>
                    <a:cubicBezTo>
                      <a:pt x="50" y="12"/>
                      <a:pt x="44" y="0"/>
                      <a:pt x="26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20" name="Freeform 68"/>
              <p:cNvSpPr/>
              <p:nvPr/>
            </p:nvSpPr>
            <p:spPr bwMode="auto">
              <a:xfrm>
                <a:off x="-1455738" y="-1685925"/>
                <a:ext cx="292100" cy="479425"/>
              </a:xfrm>
              <a:custGeom>
                <a:avLst/>
                <a:gdLst>
                  <a:gd name="T0" fmla="*/ 0 w 78"/>
                  <a:gd name="T1" fmla="*/ 2147483646 h 128"/>
                  <a:gd name="T2" fmla="*/ 0 w 78"/>
                  <a:gd name="T3" fmla="*/ 2147483646 h 128"/>
                  <a:gd name="T4" fmla="*/ 2147483646 w 78"/>
                  <a:gd name="T5" fmla="*/ 2147483646 h 128"/>
                  <a:gd name="T6" fmla="*/ 2147483646 w 78"/>
                  <a:gd name="T7" fmla="*/ 2147483646 h 128"/>
                  <a:gd name="T8" fmla="*/ 2147483646 w 78"/>
                  <a:gd name="T9" fmla="*/ 2147483646 h 128"/>
                  <a:gd name="T10" fmla="*/ 2147483646 w 78"/>
                  <a:gd name="T11" fmla="*/ 2147483646 h 128"/>
                  <a:gd name="T12" fmla="*/ 2147483646 w 78"/>
                  <a:gd name="T13" fmla="*/ 2147483646 h 128"/>
                  <a:gd name="T14" fmla="*/ 2147483646 w 78"/>
                  <a:gd name="T15" fmla="*/ 0 h 128"/>
                  <a:gd name="T16" fmla="*/ 2147483646 w 78"/>
                  <a:gd name="T17" fmla="*/ 2147483646 h 128"/>
                  <a:gd name="T18" fmla="*/ 2147483646 w 78"/>
                  <a:gd name="T19" fmla="*/ 2147483646 h 128"/>
                  <a:gd name="T20" fmla="*/ 2147483646 w 78"/>
                  <a:gd name="T21" fmla="*/ 2147483646 h 128"/>
                  <a:gd name="T22" fmla="*/ 2147483646 w 78"/>
                  <a:gd name="T23" fmla="*/ 2147483646 h 128"/>
                  <a:gd name="T24" fmla="*/ 2147483646 w 78"/>
                  <a:gd name="T25" fmla="*/ 2147483646 h 128"/>
                  <a:gd name="T26" fmla="*/ 2147483646 w 78"/>
                  <a:gd name="T27" fmla="*/ 2147483646 h 128"/>
                  <a:gd name="T28" fmla="*/ 0 w 78"/>
                  <a:gd name="T29" fmla="*/ 2147483646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78" h="128">
                    <a:moveTo>
                      <a:pt x="0" y="128"/>
                    </a:moveTo>
                    <a:cubicBezTo>
                      <a:pt x="0" y="118"/>
                      <a:pt x="0" y="118"/>
                      <a:pt x="0" y="118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44" y="74"/>
                      <a:pt x="58" y="58"/>
                      <a:pt x="58" y="39"/>
                    </a:cubicBezTo>
                    <a:cubicBezTo>
                      <a:pt x="58" y="26"/>
                      <a:pt x="52" y="14"/>
                      <a:pt x="34" y="14"/>
                    </a:cubicBezTo>
                    <a:cubicBezTo>
                      <a:pt x="23" y="14"/>
                      <a:pt x="14" y="20"/>
                      <a:pt x="8" y="25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1" y="5"/>
                      <a:pt x="23" y="0"/>
                      <a:pt x="38" y="0"/>
                    </a:cubicBezTo>
                    <a:cubicBezTo>
                      <a:pt x="64" y="0"/>
                      <a:pt x="75" y="19"/>
                      <a:pt x="75" y="37"/>
                    </a:cubicBezTo>
                    <a:cubicBezTo>
                      <a:pt x="75" y="60"/>
                      <a:pt x="59" y="79"/>
                      <a:pt x="33" y="104"/>
                    </a:cubicBezTo>
                    <a:cubicBezTo>
                      <a:pt x="23" y="113"/>
                      <a:pt x="23" y="113"/>
                      <a:pt x="23" y="113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8" y="128"/>
                      <a:pt x="78" y="128"/>
                      <a:pt x="78" y="128"/>
                    </a:cubicBez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32804" name="组合 76"/>
            <p:cNvGrpSpPr/>
            <p:nvPr/>
          </p:nvGrpSpPr>
          <p:grpSpPr bwMode="auto">
            <a:xfrm>
              <a:off x="1547293" y="4097075"/>
              <a:ext cx="216395" cy="215153"/>
              <a:chOff x="7129657" y="-1531645"/>
              <a:chExt cx="564454" cy="561216"/>
            </a:xfrm>
          </p:grpSpPr>
          <p:sp>
            <p:nvSpPr>
              <p:cNvPr id="78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808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09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0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1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2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3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4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6" name="Freeform 128"/>
              <p:cNvSpPr/>
              <p:nvPr/>
            </p:nvSpPr>
            <p:spPr bwMode="auto">
              <a:xfrm>
                <a:off x="7318026" y="-1246630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816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5" name="组合 24"/>
          <p:cNvGrpSpPr/>
          <p:nvPr/>
        </p:nvGrpSpPr>
        <p:grpSpPr bwMode="auto">
          <a:xfrm>
            <a:off x="611188" y="4386263"/>
            <a:ext cx="5622925" cy="366712"/>
            <a:chOff x="611560" y="4385722"/>
            <a:chExt cx="5622289" cy="366699"/>
          </a:xfrm>
        </p:grpSpPr>
        <p:sp>
          <p:nvSpPr>
            <p:cNvPr id="5" name="Freeform 16"/>
            <p:cNvSpPr/>
            <p:nvPr/>
          </p:nvSpPr>
          <p:spPr>
            <a:xfrm>
              <a:off x="611560" y="4385722"/>
              <a:ext cx="5622289" cy="366699"/>
            </a:xfrm>
            <a:custGeom>
              <a:avLst/>
              <a:gdLst>
                <a:gd name="connsiteX0" fmla="*/ 0 w 7541001"/>
                <a:gd name="connsiteY0" fmla="*/ 0 h 435045"/>
                <a:gd name="connsiteX1" fmla="*/ 7541001 w 7541001"/>
                <a:gd name="connsiteY1" fmla="*/ 0 h 435045"/>
                <a:gd name="connsiteX2" fmla="*/ 7541001 w 7541001"/>
                <a:gd name="connsiteY2" fmla="*/ 435045 h 435045"/>
                <a:gd name="connsiteX3" fmla="*/ 0 w 7541001"/>
                <a:gd name="connsiteY3" fmla="*/ 435045 h 435045"/>
                <a:gd name="connsiteX4" fmla="*/ 0 w 7541001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1001" h="435045">
                  <a:moveTo>
                    <a:pt x="0" y="0"/>
                  </a:moveTo>
                  <a:lnTo>
                    <a:pt x="7541001" y="0"/>
                  </a:lnTo>
                  <a:lnTo>
                    <a:pt x="7541001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1822685" y="4404771"/>
              <a:ext cx="3109561" cy="3381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2781" name="组合 58"/>
            <p:cNvGrpSpPr/>
            <p:nvPr/>
          </p:nvGrpSpPr>
          <p:grpSpPr bwMode="auto">
            <a:xfrm>
              <a:off x="791631" y="4419282"/>
              <a:ext cx="308557" cy="308557"/>
              <a:chOff x="-2120900" y="2405063"/>
              <a:chExt cx="968375" cy="968375"/>
            </a:xfrm>
          </p:grpSpPr>
          <p:sp>
            <p:nvSpPr>
              <p:cNvPr id="32795" name="AutoShape 71"/>
              <p:cNvSpPr>
                <a:spLocks noChangeAspect="1" noChangeArrowheads="1" noTextEdit="1"/>
              </p:cNvSpPr>
              <p:nvPr/>
            </p:nvSpPr>
            <p:spPr bwMode="auto">
              <a:xfrm>
                <a:off x="-2120900" y="2405063"/>
                <a:ext cx="968375" cy="968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1" name="Oval 73"/>
              <p:cNvSpPr>
                <a:spLocks noChangeArrowheads="1"/>
              </p:cNvSpPr>
              <p:nvPr/>
            </p:nvSpPr>
            <p:spPr bwMode="auto">
              <a:xfrm>
                <a:off x="-2118126" y="2409344"/>
                <a:ext cx="961456" cy="961530"/>
              </a:xfrm>
              <a:prstGeom prst="ellipse">
                <a:avLst/>
              </a:pr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2797" name="Freeform 74"/>
              <p:cNvSpPr/>
              <p:nvPr/>
            </p:nvSpPr>
            <p:spPr bwMode="auto">
              <a:xfrm>
                <a:off x="-1711325" y="2897188"/>
                <a:ext cx="153988" cy="142875"/>
              </a:xfrm>
              <a:custGeom>
                <a:avLst/>
                <a:gdLst>
                  <a:gd name="T0" fmla="*/ 2147483646 w 41"/>
                  <a:gd name="T1" fmla="*/ 0 h 38"/>
                  <a:gd name="T2" fmla="*/ 0 w 41"/>
                  <a:gd name="T3" fmla="*/ 0 h 38"/>
                  <a:gd name="T4" fmla="*/ 2147483646 w 41"/>
                  <a:gd name="T5" fmla="*/ 2147483646 h 38"/>
                  <a:gd name="T6" fmla="*/ 2147483646 w 41"/>
                  <a:gd name="T7" fmla="*/ 2147483646 h 38"/>
                  <a:gd name="T8" fmla="*/ 2147483646 w 41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1" h="38">
                    <a:moveTo>
                      <a:pt x="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40" y="34"/>
                      <a:pt x="41" y="29"/>
                      <a:pt x="41" y="25"/>
                    </a:cubicBezTo>
                    <a:cubicBezTo>
                      <a:pt x="41" y="7"/>
                      <a:pt x="25" y="0"/>
                      <a:pt x="9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8" name="Freeform 75"/>
              <p:cNvSpPr/>
              <p:nvPr/>
            </p:nvSpPr>
            <p:spPr bwMode="auto">
              <a:xfrm>
                <a:off x="-1746250" y="2693988"/>
                <a:ext cx="173038" cy="146050"/>
              </a:xfrm>
              <a:custGeom>
                <a:avLst/>
                <a:gdLst>
                  <a:gd name="T0" fmla="*/ 2147483646 w 46"/>
                  <a:gd name="T1" fmla="*/ 0 h 39"/>
                  <a:gd name="T2" fmla="*/ 0 w 46"/>
                  <a:gd name="T3" fmla="*/ 2147483646 h 39"/>
                  <a:gd name="T4" fmla="*/ 2147483646 w 46"/>
                  <a:gd name="T5" fmla="*/ 2147483646 h 39"/>
                  <a:gd name="T6" fmla="*/ 2147483646 w 46"/>
                  <a:gd name="T7" fmla="*/ 2147483646 h 39"/>
                  <a:gd name="T8" fmla="*/ 2147483646 w 46"/>
                  <a:gd name="T9" fmla="*/ 0 h 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6" h="39">
                    <a:moveTo>
                      <a:pt x="24" y="0"/>
                    </a:moveTo>
                    <a:cubicBezTo>
                      <a:pt x="15" y="0"/>
                      <a:pt x="5" y="4"/>
                      <a:pt x="0" y="8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9" y="36"/>
                      <a:pt x="46" y="30"/>
                      <a:pt x="46" y="19"/>
                    </a:cubicBezTo>
                    <a:cubicBezTo>
                      <a:pt x="46" y="9"/>
                      <a:pt x="40" y="0"/>
                      <a:pt x="2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9" name="Freeform 76"/>
              <p:cNvSpPr>
                <a:spLocks noEditPoints="1"/>
              </p:cNvSpPr>
              <p:nvPr/>
            </p:nvSpPr>
            <p:spPr bwMode="auto">
              <a:xfrm>
                <a:off x="-1779588" y="2674938"/>
                <a:ext cx="600075" cy="682625"/>
              </a:xfrm>
              <a:custGeom>
                <a:avLst/>
                <a:gdLst>
                  <a:gd name="T0" fmla="*/ 2147483646 w 160"/>
                  <a:gd name="T1" fmla="*/ 2147483646 h 182"/>
                  <a:gd name="T2" fmla="*/ 2147483646 w 160"/>
                  <a:gd name="T3" fmla="*/ 2147483646 h 182"/>
                  <a:gd name="T4" fmla="*/ 2147483646 w 160"/>
                  <a:gd name="T5" fmla="*/ 2147483646 h 182"/>
                  <a:gd name="T6" fmla="*/ 2147483646 w 160"/>
                  <a:gd name="T7" fmla="*/ 2147483646 h 182"/>
                  <a:gd name="T8" fmla="*/ 2147483646 w 160"/>
                  <a:gd name="T9" fmla="*/ 2147483646 h 182"/>
                  <a:gd name="T10" fmla="*/ 2147483646 w 160"/>
                  <a:gd name="T11" fmla="*/ 2147483646 h 182"/>
                  <a:gd name="T12" fmla="*/ 0 w 160"/>
                  <a:gd name="T13" fmla="*/ 2147483646 h 182"/>
                  <a:gd name="T14" fmla="*/ 2147483646 w 160"/>
                  <a:gd name="T15" fmla="*/ 2147483646 h 182"/>
                  <a:gd name="T16" fmla="*/ 2147483646 w 160"/>
                  <a:gd name="T17" fmla="*/ 2147483646 h 182"/>
                  <a:gd name="T18" fmla="*/ 2147483646 w 160"/>
                  <a:gd name="T19" fmla="*/ 2147483646 h 182"/>
                  <a:gd name="T20" fmla="*/ 2147483646 w 160"/>
                  <a:gd name="T21" fmla="*/ 0 h 182"/>
                  <a:gd name="T22" fmla="*/ 2147483646 w 160"/>
                  <a:gd name="T23" fmla="*/ 2147483646 h 182"/>
                  <a:gd name="T24" fmla="*/ 2147483646 w 160"/>
                  <a:gd name="T25" fmla="*/ 0 h 18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0" h="182">
                    <a:moveTo>
                      <a:pt x="63" y="1"/>
                    </a:moveTo>
                    <a:cubicBezTo>
                      <a:pt x="69" y="6"/>
                      <a:pt x="72" y="14"/>
                      <a:pt x="72" y="21"/>
                    </a:cubicBezTo>
                    <a:cubicBezTo>
                      <a:pt x="72" y="35"/>
                      <a:pt x="64" y="46"/>
                      <a:pt x="49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64" y="55"/>
                      <a:pt x="76" y="67"/>
                      <a:pt x="76" y="85"/>
                    </a:cubicBezTo>
                    <a:cubicBezTo>
                      <a:pt x="76" y="105"/>
                      <a:pt x="61" y="123"/>
                      <a:pt x="32" y="123"/>
                    </a:cubicBezTo>
                    <a:cubicBezTo>
                      <a:pt x="18" y="123"/>
                      <a:pt x="6" y="118"/>
                      <a:pt x="0" y="114"/>
                    </a:cubicBezTo>
                    <a:cubicBezTo>
                      <a:pt x="67" y="182"/>
                      <a:pt x="67" y="182"/>
                      <a:pt x="67" y="182"/>
                    </a:cubicBezTo>
                    <a:cubicBezTo>
                      <a:pt x="111" y="172"/>
                      <a:pt x="146" y="139"/>
                      <a:pt x="160" y="97"/>
                    </a:cubicBezTo>
                    <a:cubicBezTo>
                      <a:pt x="63" y="1"/>
                      <a:pt x="63" y="1"/>
                      <a:pt x="63" y="1"/>
                    </a:cubicBezTo>
                    <a:moveTo>
                      <a:pt x="63" y="0"/>
                    </a:moveTo>
                    <a:cubicBezTo>
                      <a:pt x="63" y="1"/>
                      <a:pt x="63" y="1"/>
                      <a:pt x="63" y="1"/>
                    </a:cubicBezTo>
                    <a:cubicBezTo>
                      <a:pt x="63" y="1"/>
                      <a:pt x="63" y="0"/>
                      <a:pt x="63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00" name="Freeform 78"/>
              <p:cNvSpPr/>
              <p:nvPr/>
            </p:nvSpPr>
            <p:spPr bwMode="auto">
              <a:xfrm>
                <a:off x="-1779588" y="2641601"/>
                <a:ext cx="285750" cy="495300"/>
              </a:xfrm>
              <a:custGeom>
                <a:avLst/>
                <a:gdLst>
                  <a:gd name="T0" fmla="*/ 2147483646 w 76"/>
                  <a:gd name="T1" fmla="*/ 2147483646 h 132"/>
                  <a:gd name="T2" fmla="*/ 2147483646 w 76"/>
                  <a:gd name="T3" fmla="*/ 2147483646 h 132"/>
                  <a:gd name="T4" fmla="*/ 2147483646 w 76"/>
                  <a:gd name="T5" fmla="*/ 2147483646 h 132"/>
                  <a:gd name="T6" fmla="*/ 2147483646 w 76"/>
                  <a:gd name="T7" fmla="*/ 2147483646 h 132"/>
                  <a:gd name="T8" fmla="*/ 2147483646 w 76"/>
                  <a:gd name="T9" fmla="*/ 2147483646 h 132"/>
                  <a:gd name="T10" fmla="*/ 2147483646 w 76"/>
                  <a:gd name="T11" fmla="*/ 2147483646 h 132"/>
                  <a:gd name="T12" fmla="*/ 2147483646 w 76"/>
                  <a:gd name="T13" fmla="*/ 2147483646 h 132"/>
                  <a:gd name="T14" fmla="*/ 2147483646 w 76"/>
                  <a:gd name="T15" fmla="*/ 2147483646 h 132"/>
                  <a:gd name="T16" fmla="*/ 2147483646 w 76"/>
                  <a:gd name="T17" fmla="*/ 2147483646 h 132"/>
                  <a:gd name="T18" fmla="*/ 2147483646 w 76"/>
                  <a:gd name="T19" fmla="*/ 2147483646 h 132"/>
                  <a:gd name="T20" fmla="*/ 2147483646 w 76"/>
                  <a:gd name="T21" fmla="*/ 2147483646 h 132"/>
                  <a:gd name="T22" fmla="*/ 2147483646 w 76"/>
                  <a:gd name="T23" fmla="*/ 0 h 132"/>
                  <a:gd name="T24" fmla="*/ 2147483646 w 76"/>
                  <a:gd name="T25" fmla="*/ 2147483646 h 132"/>
                  <a:gd name="T26" fmla="*/ 2147483646 w 76"/>
                  <a:gd name="T27" fmla="*/ 2147483646 h 132"/>
                  <a:gd name="T28" fmla="*/ 2147483646 w 76"/>
                  <a:gd name="T29" fmla="*/ 2147483646 h 132"/>
                  <a:gd name="T30" fmla="*/ 2147483646 w 76"/>
                  <a:gd name="T31" fmla="*/ 2147483646 h 132"/>
                  <a:gd name="T32" fmla="*/ 2147483646 w 76"/>
                  <a:gd name="T33" fmla="*/ 2147483646 h 132"/>
                  <a:gd name="T34" fmla="*/ 0 w 76"/>
                  <a:gd name="T35" fmla="*/ 2147483646 h 132"/>
                  <a:gd name="T36" fmla="*/ 2147483646 w 76"/>
                  <a:gd name="T37" fmla="*/ 2147483646 h 13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6" h="132">
                    <a:moveTo>
                      <a:pt x="4" y="110"/>
                    </a:moveTo>
                    <a:cubicBezTo>
                      <a:pt x="9" y="113"/>
                      <a:pt x="20" y="118"/>
                      <a:pt x="31" y="118"/>
                    </a:cubicBezTo>
                    <a:cubicBezTo>
                      <a:pt x="53" y="118"/>
                      <a:pt x="59" y="104"/>
                      <a:pt x="59" y="93"/>
                    </a:cubicBezTo>
                    <a:cubicBezTo>
                      <a:pt x="59" y="75"/>
                      <a:pt x="43" y="68"/>
                      <a:pt x="2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40" y="55"/>
                      <a:pt x="55" y="48"/>
                      <a:pt x="55" y="33"/>
                    </a:cubicBezTo>
                    <a:cubicBezTo>
                      <a:pt x="55" y="23"/>
                      <a:pt x="49" y="14"/>
                      <a:pt x="33" y="14"/>
                    </a:cubicBezTo>
                    <a:cubicBezTo>
                      <a:pt x="24" y="14"/>
                      <a:pt x="14" y="18"/>
                      <a:pt x="9" y="2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1" y="5"/>
                      <a:pt x="23" y="0"/>
                      <a:pt x="36" y="0"/>
                    </a:cubicBezTo>
                    <a:cubicBezTo>
                      <a:pt x="61" y="0"/>
                      <a:pt x="72" y="15"/>
                      <a:pt x="72" y="30"/>
                    </a:cubicBezTo>
                    <a:cubicBezTo>
                      <a:pt x="72" y="44"/>
                      <a:pt x="64" y="55"/>
                      <a:pt x="49" y="61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64" y="64"/>
                      <a:pt x="76" y="76"/>
                      <a:pt x="76" y="94"/>
                    </a:cubicBezTo>
                    <a:cubicBezTo>
                      <a:pt x="76" y="114"/>
                      <a:pt x="61" y="132"/>
                      <a:pt x="32" y="132"/>
                    </a:cubicBezTo>
                    <a:cubicBezTo>
                      <a:pt x="18" y="132"/>
                      <a:pt x="6" y="127"/>
                      <a:pt x="0" y="123"/>
                    </a:cubicBezTo>
                    <a:lnTo>
                      <a:pt x="4" y="1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32782" name="组合 87"/>
            <p:cNvGrpSpPr/>
            <p:nvPr/>
          </p:nvGrpSpPr>
          <p:grpSpPr bwMode="auto">
            <a:xfrm>
              <a:off x="1547293" y="4465984"/>
              <a:ext cx="216395" cy="215153"/>
              <a:chOff x="7129657" y="-1531645"/>
              <a:chExt cx="564454" cy="561216"/>
            </a:xfrm>
          </p:grpSpPr>
          <p:sp>
            <p:nvSpPr>
              <p:cNvPr id="89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786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87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88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89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0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1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2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7" name="Freeform 128"/>
              <p:cNvSpPr/>
              <p:nvPr/>
            </p:nvSpPr>
            <p:spPr bwMode="auto">
              <a:xfrm>
                <a:off x="7318026" y="-1248255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794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25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26" presetClass="emph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26" presetClass="emph" presetSubtype="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6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6" presetClass="emph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" dur="25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26" presetClass="emph" presetSubtype="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 bwMode="auto">
          <a:xfrm>
            <a:off x="3838575" y="2170113"/>
            <a:ext cx="4851400" cy="844550"/>
            <a:chOff x="4113929" y="-3107527"/>
            <a:chExt cx="4850559" cy="845068"/>
          </a:xfrm>
        </p:grpSpPr>
        <p:sp>
          <p:nvSpPr>
            <p:cNvPr id="309" name="等腰三角形 1164"/>
            <p:cNvSpPr/>
            <p:nvPr/>
          </p:nvSpPr>
          <p:spPr>
            <a:xfrm rot="16200000" flipH="1">
              <a:off x="6117470" y="-5107891"/>
              <a:ext cx="841891" cy="4848972"/>
            </a:xfrm>
            <a:custGeom>
              <a:avLst/>
              <a:gdLst>
                <a:gd name="connsiteX0" fmla="*/ 1498 w 793663"/>
                <a:gd name="connsiteY0" fmla="*/ 135733 h 4798886"/>
                <a:gd name="connsiteX1" fmla="*/ 0 w 793663"/>
                <a:gd name="connsiteY1" fmla="*/ 187709 h 4798886"/>
                <a:gd name="connsiteX2" fmla="*/ 1498 w 793663"/>
                <a:gd name="connsiteY2" fmla="*/ 1144391 h 4798886"/>
                <a:gd name="connsiteX3" fmla="*/ 1500 w 793663"/>
                <a:gd name="connsiteY3" fmla="*/ 1144391 h 4798886"/>
                <a:gd name="connsiteX4" fmla="*/ 1500 w 793663"/>
                <a:gd name="connsiteY4" fmla="*/ 4798886 h 4798886"/>
                <a:gd name="connsiteX5" fmla="*/ 793663 w 793663"/>
                <a:gd name="connsiteY5" fmla="*/ 4798886 h 4798886"/>
                <a:gd name="connsiteX6" fmla="*/ 793663 w 793663"/>
                <a:gd name="connsiteY6" fmla="*/ 1117780 h 4798886"/>
                <a:gd name="connsiteX7" fmla="*/ 793661 w 793663"/>
                <a:gd name="connsiteY7" fmla="*/ 1117780 h 4798886"/>
                <a:gd name="connsiteX8" fmla="*/ 793661 w 793663"/>
                <a:gd name="connsiteY8" fmla="*/ 135733 h 4798886"/>
                <a:gd name="connsiteX9" fmla="*/ 572937 w 793663"/>
                <a:gd name="connsiteY9" fmla="*/ 135733 h 4798886"/>
                <a:gd name="connsiteX10" fmla="*/ 411618 w 793663"/>
                <a:gd name="connsiteY10" fmla="*/ 0 h 4798886"/>
                <a:gd name="connsiteX11" fmla="*/ 262205 w 793663"/>
                <a:gd name="connsiteY11" fmla="*/ 135733 h 4798886"/>
                <a:gd name="connsiteX12" fmla="*/ 1498 w 793663"/>
                <a:gd name="connsiteY12" fmla="*/ 135733 h 4798886"/>
                <a:gd name="connsiteX0-1" fmla="*/ 1498 w 793663"/>
                <a:gd name="connsiteY0-2" fmla="*/ 135733 h 4798886"/>
                <a:gd name="connsiteX1-3" fmla="*/ 0 w 793663"/>
                <a:gd name="connsiteY1-4" fmla="*/ 187709 h 4798886"/>
                <a:gd name="connsiteX2-5" fmla="*/ 1498 w 793663"/>
                <a:gd name="connsiteY2-6" fmla="*/ 1144391 h 4798886"/>
                <a:gd name="connsiteX3-7" fmla="*/ 1500 w 793663"/>
                <a:gd name="connsiteY3-8" fmla="*/ 1144391 h 4798886"/>
                <a:gd name="connsiteX4-9" fmla="*/ 1500 w 793663"/>
                <a:gd name="connsiteY4-10" fmla="*/ 4798886 h 4798886"/>
                <a:gd name="connsiteX5-11" fmla="*/ 793663 w 793663"/>
                <a:gd name="connsiteY5-12" fmla="*/ 4798886 h 4798886"/>
                <a:gd name="connsiteX6-13" fmla="*/ 793663 w 793663"/>
                <a:gd name="connsiteY6-14" fmla="*/ 1117780 h 4798886"/>
                <a:gd name="connsiteX7-15" fmla="*/ 793661 w 793663"/>
                <a:gd name="connsiteY7-16" fmla="*/ 1117780 h 4798886"/>
                <a:gd name="connsiteX8-17" fmla="*/ 793661 w 793663"/>
                <a:gd name="connsiteY8-18" fmla="*/ 135733 h 4798886"/>
                <a:gd name="connsiteX9-19" fmla="*/ 572937 w 793663"/>
                <a:gd name="connsiteY9-20" fmla="*/ 135733 h 4798886"/>
                <a:gd name="connsiteX10-21" fmla="*/ 411618 w 793663"/>
                <a:gd name="connsiteY10-22" fmla="*/ 0 h 4798886"/>
                <a:gd name="connsiteX11-23" fmla="*/ 262205 w 793663"/>
                <a:gd name="connsiteY11-24" fmla="*/ 135733 h 4798886"/>
                <a:gd name="connsiteX12-25" fmla="*/ 41890 w 793663"/>
                <a:gd name="connsiteY12-26" fmla="*/ 134656 h 4798886"/>
                <a:gd name="connsiteX13" fmla="*/ 1498 w 793663"/>
                <a:gd name="connsiteY13" fmla="*/ 135733 h 4798886"/>
                <a:gd name="connsiteX0-27" fmla="*/ 41890 w 793663"/>
                <a:gd name="connsiteY0-28" fmla="*/ 134656 h 4798886"/>
                <a:gd name="connsiteX1-29" fmla="*/ 0 w 793663"/>
                <a:gd name="connsiteY1-30" fmla="*/ 187709 h 4798886"/>
                <a:gd name="connsiteX2-31" fmla="*/ 1498 w 793663"/>
                <a:gd name="connsiteY2-32" fmla="*/ 1144391 h 4798886"/>
                <a:gd name="connsiteX3-33" fmla="*/ 1500 w 793663"/>
                <a:gd name="connsiteY3-34" fmla="*/ 1144391 h 4798886"/>
                <a:gd name="connsiteX4-35" fmla="*/ 1500 w 793663"/>
                <a:gd name="connsiteY4-36" fmla="*/ 4798886 h 4798886"/>
                <a:gd name="connsiteX5-37" fmla="*/ 793663 w 793663"/>
                <a:gd name="connsiteY5-38" fmla="*/ 4798886 h 4798886"/>
                <a:gd name="connsiteX6-39" fmla="*/ 793663 w 793663"/>
                <a:gd name="connsiteY6-40" fmla="*/ 1117780 h 4798886"/>
                <a:gd name="connsiteX7-41" fmla="*/ 793661 w 793663"/>
                <a:gd name="connsiteY7-42" fmla="*/ 1117780 h 4798886"/>
                <a:gd name="connsiteX8-43" fmla="*/ 793661 w 793663"/>
                <a:gd name="connsiteY8-44" fmla="*/ 135733 h 4798886"/>
                <a:gd name="connsiteX9-45" fmla="*/ 572937 w 793663"/>
                <a:gd name="connsiteY9-46" fmla="*/ 135733 h 4798886"/>
                <a:gd name="connsiteX10-47" fmla="*/ 411618 w 793663"/>
                <a:gd name="connsiteY10-48" fmla="*/ 0 h 4798886"/>
                <a:gd name="connsiteX11-49" fmla="*/ 262205 w 793663"/>
                <a:gd name="connsiteY11-50" fmla="*/ 135733 h 4798886"/>
                <a:gd name="connsiteX12-51" fmla="*/ 41890 w 793663"/>
                <a:gd name="connsiteY12-52" fmla="*/ 134656 h 4798886"/>
                <a:gd name="connsiteX0-53" fmla="*/ 41890 w 793663"/>
                <a:gd name="connsiteY0-54" fmla="*/ 134656 h 4798886"/>
                <a:gd name="connsiteX1-55" fmla="*/ 0 w 793663"/>
                <a:gd name="connsiteY1-56" fmla="*/ 187709 h 4798886"/>
                <a:gd name="connsiteX2-57" fmla="*/ 1498 w 793663"/>
                <a:gd name="connsiteY2-58" fmla="*/ 1144391 h 4798886"/>
                <a:gd name="connsiteX3-59" fmla="*/ 1500 w 793663"/>
                <a:gd name="connsiteY3-60" fmla="*/ 1144391 h 4798886"/>
                <a:gd name="connsiteX4-61" fmla="*/ 1500 w 793663"/>
                <a:gd name="connsiteY4-62" fmla="*/ 4798886 h 4798886"/>
                <a:gd name="connsiteX5-63" fmla="*/ 793663 w 793663"/>
                <a:gd name="connsiteY5-64" fmla="*/ 4767681 h 4798886"/>
                <a:gd name="connsiteX6-65" fmla="*/ 793663 w 793663"/>
                <a:gd name="connsiteY6-66" fmla="*/ 1117780 h 4798886"/>
                <a:gd name="connsiteX7-67" fmla="*/ 793661 w 793663"/>
                <a:gd name="connsiteY7-68" fmla="*/ 1117780 h 4798886"/>
                <a:gd name="connsiteX8-69" fmla="*/ 793661 w 793663"/>
                <a:gd name="connsiteY8-70" fmla="*/ 135733 h 4798886"/>
                <a:gd name="connsiteX9-71" fmla="*/ 572937 w 793663"/>
                <a:gd name="connsiteY9-72" fmla="*/ 135733 h 4798886"/>
                <a:gd name="connsiteX10-73" fmla="*/ 411618 w 793663"/>
                <a:gd name="connsiteY10-74" fmla="*/ 0 h 4798886"/>
                <a:gd name="connsiteX11-75" fmla="*/ 262205 w 793663"/>
                <a:gd name="connsiteY11-76" fmla="*/ 135733 h 4798886"/>
                <a:gd name="connsiteX12-77" fmla="*/ 41890 w 793663"/>
                <a:gd name="connsiteY12-78" fmla="*/ 134656 h 4798886"/>
                <a:gd name="connsiteX0-79" fmla="*/ 41890 w 793663"/>
                <a:gd name="connsiteY0-80" fmla="*/ 134656 h 4770802"/>
                <a:gd name="connsiteX1-81" fmla="*/ 0 w 793663"/>
                <a:gd name="connsiteY1-82" fmla="*/ 187709 h 4770802"/>
                <a:gd name="connsiteX2-83" fmla="*/ 1498 w 793663"/>
                <a:gd name="connsiteY2-84" fmla="*/ 1144391 h 4770802"/>
                <a:gd name="connsiteX3-85" fmla="*/ 1500 w 793663"/>
                <a:gd name="connsiteY3-86" fmla="*/ 1144391 h 4770802"/>
                <a:gd name="connsiteX4-87" fmla="*/ 1500 w 793663"/>
                <a:gd name="connsiteY4-88" fmla="*/ 4770802 h 4770802"/>
                <a:gd name="connsiteX5-89" fmla="*/ 793663 w 793663"/>
                <a:gd name="connsiteY5-90" fmla="*/ 4767681 h 4770802"/>
                <a:gd name="connsiteX6-91" fmla="*/ 793663 w 793663"/>
                <a:gd name="connsiteY6-92" fmla="*/ 1117780 h 4770802"/>
                <a:gd name="connsiteX7-93" fmla="*/ 793661 w 793663"/>
                <a:gd name="connsiteY7-94" fmla="*/ 1117780 h 4770802"/>
                <a:gd name="connsiteX8-95" fmla="*/ 793661 w 793663"/>
                <a:gd name="connsiteY8-96" fmla="*/ 135733 h 4770802"/>
                <a:gd name="connsiteX9-97" fmla="*/ 572937 w 793663"/>
                <a:gd name="connsiteY9-98" fmla="*/ 135733 h 4770802"/>
                <a:gd name="connsiteX10-99" fmla="*/ 411618 w 793663"/>
                <a:gd name="connsiteY10-100" fmla="*/ 0 h 4770802"/>
                <a:gd name="connsiteX11-101" fmla="*/ 262205 w 793663"/>
                <a:gd name="connsiteY11-102" fmla="*/ 135733 h 4770802"/>
                <a:gd name="connsiteX12-103" fmla="*/ 41890 w 793663"/>
                <a:gd name="connsiteY12-104" fmla="*/ 134656 h 4770802"/>
                <a:gd name="connsiteX0-105" fmla="*/ 41890 w 793663"/>
                <a:gd name="connsiteY0-106" fmla="*/ 134656 h 4770802"/>
                <a:gd name="connsiteX1-107" fmla="*/ 0 w 793663"/>
                <a:gd name="connsiteY1-108" fmla="*/ 187709 h 4770802"/>
                <a:gd name="connsiteX2-109" fmla="*/ 1498 w 793663"/>
                <a:gd name="connsiteY2-110" fmla="*/ 1144391 h 4770802"/>
                <a:gd name="connsiteX3-111" fmla="*/ 1500 w 793663"/>
                <a:gd name="connsiteY3-112" fmla="*/ 1144391 h 4770802"/>
                <a:gd name="connsiteX4-113" fmla="*/ 1500 w 793663"/>
                <a:gd name="connsiteY4-114" fmla="*/ 4770802 h 4770802"/>
                <a:gd name="connsiteX5-115" fmla="*/ 793663 w 793663"/>
                <a:gd name="connsiteY5-116" fmla="*/ 4767681 h 4770802"/>
                <a:gd name="connsiteX6-117" fmla="*/ 792912 w 793663"/>
                <a:gd name="connsiteY6-118" fmla="*/ 4737762 h 4770802"/>
                <a:gd name="connsiteX7-119" fmla="*/ 793663 w 793663"/>
                <a:gd name="connsiteY7-120" fmla="*/ 1117780 h 4770802"/>
                <a:gd name="connsiteX8-121" fmla="*/ 793661 w 793663"/>
                <a:gd name="connsiteY8-122" fmla="*/ 1117780 h 4770802"/>
                <a:gd name="connsiteX9-123" fmla="*/ 793661 w 793663"/>
                <a:gd name="connsiteY9-124" fmla="*/ 135733 h 4770802"/>
                <a:gd name="connsiteX10-125" fmla="*/ 572937 w 793663"/>
                <a:gd name="connsiteY10-126" fmla="*/ 135733 h 4770802"/>
                <a:gd name="connsiteX11-127" fmla="*/ 411618 w 793663"/>
                <a:gd name="connsiteY11-128" fmla="*/ 0 h 4770802"/>
                <a:gd name="connsiteX12-129" fmla="*/ 262205 w 793663"/>
                <a:gd name="connsiteY12-130" fmla="*/ 135733 h 4770802"/>
                <a:gd name="connsiteX13-131" fmla="*/ 41890 w 793663"/>
                <a:gd name="connsiteY13-132" fmla="*/ 134656 h 4770802"/>
                <a:gd name="connsiteX0-133" fmla="*/ 41890 w 793663"/>
                <a:gd name="connsiteY0-134" fmla="*/ 134656 h 4770802"/>
                <a:gd name="connsiteX1-135" fmla="*/ 0 w 793663"/>
                <a:gd name="connsiteY1-136" fmla="*/ 187709 h 4770802"/>
                <a:gd name="connsiteX2-137" fmla="*/ 1498 w 793663"/>
                <a:gd name="connsiteY2-138" fmla="*/ 1144391 h 4770802"/>
                <a:gd name="connsiteX3-139" fmla="*/ 1500 w 793663"/>
                <a:gd name="connsiteY3-140" fmla="*/ 1144391 h 4770802"/>
                <a:gd name="connsiteX4-141" fmla="*/ 1500 w 793663"/>
                <a:gd name="connsiteY4-142" fmla="*/ 4770802 h 4770802"/>
                <a:gd name="connsiteX5-143" fmla="*/ 742046 w 793663"/>
                <a:gd name="connsiteY5-144" fmla="*/ 4765849 h 4770802"/>
                <a:gd name="connsiteX6-145" fmla="*/ 793663 w 793663"/>
                <a:gd name="connsiteY6-146" fmla="*/ 4767681 h 4770802"/>
                <a:gd name="connsiteX7-147" fmla="*/ 792912 w 793663"/>
                <a:gd name="connsiteY7-148" fmla="*/ 4737762 h 4770802"/>
                <a:gd name="connsiteX8-149" fmla="*/ 793663 w 793663"/>
                <a:gd name="connsiteY8-150" fmla="*/ 1117780 h 4770802"/>
                <a:gd name="connsiteX9-151" fmla="*/ 793661 w 793663"/>
                <a:gd name="connsiteY9-152" fmla="*/ 1117780 h 4770802"/>
                <a:gd name="connsiteX10-153" fmla="*/ 793661 w 793663"/>
                <a:gd name="connsiteY10-154" fmla="*/ 135733 h 4770802"/>
                <a:gd name="connsiteX11-155" fmla="*/ 572937 w 793663"/>
                <a:gd name="connsiteY11-156" fmla="*/ 135733 h 4770802"/>
                <a:gd name="connsiteX12-157" fmla="*/ 411618 w 793663"/>
                <a:gd name="connsiteY12-158" fmla="*/ 0 h 4770802"/>
                <a:gd name="connsiteX13-159" fmla="*/ 262205 w 793663"/>
                <a:gd name="connsiteY13-160" fmla="*/ 135733 h 4770802"/>
                <a:gd name="connsiteX14" fmla="*/ 41890 w 793663"/>
                <a:gd name="connsiteY14" fmla="*/ 134656 h 4770802"/>
                <a:gd name="connsiteX0-161" fmla="*/ 41890 w 793663"/>
                <a:gd name="connsiteY0-162" fmla="*/ 134656 h 4770802"/>
                <a:gd name="connsiteX1-163" fmla="*/ 0 w 793663"/>
                <a:gd name="connsiteY1-164" fmla="*/ 187709 h 4770802"/>
                <a:gd name="connsiteX2-165" fmla="*/ 1498 w 793663"/>
                <a:gd name="connsiteY2-166" fmla="*/ 1144391 h 4770802"/>
                <a:gd name="connsiteX3-167" fmla="*/ 1500 w 793663"/>
                <a:gd name="connsiteY3-168" fmla="*/ 1144391 h 4770802"/>
                <a:gd name="connsiteX4-169" fmla="*/ 1500 w 793663"/>
                <a:gd name="connsiteY4-170" fmla="*/ 4770802 h 4770802"/>
                <a:gd name="connsiteX5-171" fmla="*/ 742046 w 793663"/>
                <a:gd name="connsiteY5-172" fmla="*/ 4765849 h 4770802"/>
                <a:gd name="connsiteX6-173" fmla="*/ 792912 w 793663"/>
                <a:gd name="connsiteY6-174" fmla="*/ 4737762 h 4770802"/>
                <a:gd name="connsiteX7-175" fmla="*/ 793663 w 793663"/>
                <a:gd name="connsiteY7-176" fmla="*/ 1117780 h 4770802"/>
                <a:gd name="connsiteX8-177" fmla="*/ 793661 w 793663"/>
                <a:gd name="connsiteY8-178" fmla="*/ 1117780 h 4770802"/>
                <a:gd name="connsiteX9-179" fmla="*/ 793661 w 793663"/>
                <a:gd name="connsiteY9-180" fmla="*/ 135733 h 4770802"/>
                <a:gd name="connsiteX10-181" fmla="*/ 572937 w 793663"/>
                <a:gd name="connsiteY10-182" fmla="*/ 135733 h 4770802"/>
                <a:gd name="connsiteX11-183" fmla="*/ 411618 w 793663"/>
                <a:gd name="connsiteY11-184" fmla="*/ 0 h 4770802"/>
                <a:gd name="connsiteX12-185" fmla="*/ 262205 w 793663"/>
                <a:gd name="connsiteY12-186" fmla="*/ 135733 h 4770802"/>
                <a:gd name="connsiteX13-187" fmla="*/ 41890 w 793663"/>
                <a:gd name="connsiteY13-188" fmla="*/ 134656 h 4770802"/>
                <a:gd name="connsiteX0-189" fmla="*/ 41890 w 793663"/>
                <a:gd name="connsiteY0-190" fmla="*/ 134656 h 4765849"/>
                <a:gd name="connsiteX1-191" fmla="*/ 0 w 793663"/>
                <a:gd name="connsiteY1-192" fmla="*/ 187709 h 4765849"/>
                <a:gd name="connsiteX2-193" fmla="*/ 1498 w 793663"/>
                <a:gd name="connsiteY2-194" fmla="*/ 1144391 h 4765849"/>
                <a:gd name="connsiteX3-195" fmla="*/ 1500 w 793663"/>
                <a:gd name="connsiteY3-196" fmla="*/ 1144391 h 4765849"/>
                <a:gd name="connsiteX4-197" fmla="*/ 1500 w 793663"/>
                <a:gd name="connsiteY4-198" fmla="*/ 4761442 h 4765849"/>
                <a:gd name="connsiteX5-199" fmla="*/ 742046 w 793663"/>
                <a:gd name="connsiteY5-200" fmla="*/ 4765849 h 4765849"/>
                <a:gd name="connsiteX6-201" fmla="*/ 792912 w 793663"/>
                <a:gd name="connsiteY6-202" fmla="*/ 4737762 h 4765849"/>
                <a:gd name="connsiteX7-203" fmla="*/ 793663 w 793663"/>
                <a:gd name="connsiteY7-204" fmla="*/ 1117780 h 4765849"/>
                <a:gd name="connsiteX8-205" fmla="*/ 793661 w 793663"/>
                <a:gd name="connsiteY8-206" fmla="*/ 1117780 h 4765849"/>
                <a:gd name="connsiteX9-207" fmla="*/ 793661 w 793663"/>
                <a:gd name="connsiteY9-208" fmla="*/ 135733 h 4765849"/>
                <a:gd name="connsiteX10-209" fmla="*/ 572937 w 793663"/>
                <a:gd name="connsiteY10-210" fmla="*/ 135733 h 4765849"/>
                <a:gd name="connsiteX11-211" fmla="*/ 411618 w 793663"/>
                <a:gd name="connsiteY11-212" fmla="*/ 0 h 4765849"/>
                <a:gd name="connsiteX12-213" fmla="*/ 262205 w 793663"/>
                <a:gd name="connsiteY12-214" fmla="*/ 135733 h 4765849"/>
                <a:gd name="connsiteX13-215" fmla="*/ 41890 w 793663"/>
                <a:gd name="connsiteY13-216" fmla="*/ 134656 h 476584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131" y="connsiteY13-132"/>
                </a:cxn>
              </a:cxnLst>
              <a:rect l="l" t="t" r="r" b="b"/>
              <a:pathLst>
                <a:path w="793663" h="4765849">
                  <a:moveTo>
                    <a:pt x="41890" y="134656"/>
                  </a:moveTo>
                  <a:lnTo>
                    <a:pt x="0" y="187709"/>
                  </a:lnTo>
                  <a:cubicBezTo>
                    <a:pt x="499" y="506603"/>
                    <a:pt x="999" y="825497"/>
                    <a:pt x="1498" y="1144391"/>
                  </a:cubicBezTo>
                  <a:lnTo>
                    <a:pt x="1500" y="1144391"/>
                  </a:lnTo>
                  <a:lnTo>
                    <a:pt x="1500" y="4761442"/>
                  </a:lnTo>
                  <a:lnTo>
                    <a:pt x="742046" y="4765849"/>
                  </a:lnTo>
                  <a:lnTo>
                    <a:pt x="792912" y="4737762"/>
                  </a:lnTo>
                  <a:cubicBezTo>
                    <a:pt x="793162" y="3531101"/>
                    <a:pt x="793413" y="2324441"/>
                    <a:pt x="793663" y="1117780"/>
                  </a:cubicBezTo>
                  <a:lnTo>
                    <a:pt x="793661" y="1117780"/>
                  </a:lnTo>
                  <a:lnTo>
                    <a:pt x="793661" y="135733"/>
                  </a:lnTo>
                  <a:lnTo>
                    <a:pt x="572937" y="135733"/>
                  </a:lnTo>
                  <a:lnTo>
                    <a:pt x="411618" y="0"/>
                  </a:lnTo>
                  <a:lnTo>
                    <a:pt x="262205" y="135733"/>
                  </a:lnTo>
                  <a:lnTo>
                    <a:pt x="41890" y="134656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0" name="等腰三角形 1164"/>
            <p:cNvSpPr/>
            <p:nvPr/>
          </p:nvSpPr>
          <p:spPr>
            <a:xfrm rot="16200000" flipH="1">
              <a:off x="6169074" y="-5110293"/>
              <a:ext cx="792648" cy="4798180"/>
            </a:xfrm>
            <a:custGeom>
              <a:avLst/>
              <a:gdLst/>
              <a:ahLst/>
              <a:cxnLst/>
              <a:rect l="l" t="t" r="r" b="b"/>
              <a:pathLst>
                <a:path w="792165" h="4798886">
                  <a:moveTo>
                    <a:pt x="0" y="135733"/>
                  </a:moveTo>
                  <a:lnTo>
                    <a:pt x="0" y="1144391"/>
                  </a:lnTo>
                  <a:lnTo>
                    <a:pt x="2" y="1144391"/>
                  </a:lnTo>
                  <a:lnTo>
                    <a:pt x="2" y="4798886"/>
                  </a:lnTo>
                  <a:lnTo>
                    <a:pt x="792165" y="4798886"/>
                  </a:lnTo>
                  <a:lnTo>
                    <a:pt x="792165" y="1117780"/>
                  </a:lnTo>
                  <a:lnTo>
                    <a:pt x="792163" y="1117780"/>
                  </a:lnTo>
                  <a:lnTo>
                    <a:pt x="792163" y="135733"/>
                  </a:lnTo>
                  <a:lnTo>
                    <a:pt x="571439" y="135733"/>
                  </a:lnTo>
                  <a:lnTo>
                    <a:pt x="410120" y="0"/>
                  </a:lnTo>
                  <a:lnTo>
                    <a:pt x="260707" y="135733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1" name="等腰三角形 1163"/>
            <p:cNvSpPr/>
            <p:nvPr/>
          </p:nvSpPr>
          <p:spPr>
            <a:xfrm rot="16200000" flipH="1">
              <a:off x="6188839" y="-5048180"/>
              <a:ext cx="729928" cy="4677350"/>
            </a:xfrm>
            <a:custGeom>
              <a:avLst/>
              <a:gdLst/>
              <a:ahLst/>
              <a:cxnLst/>
              <a:rect l="l" t="t" r="r" b="b"/>
              <a:pathLst>
                <a:path w="729928" h="4677350">
                  <a:moveTo>
                    <a:pt x="0" y="126577"/>
                  </a:moveTo>
                  <a:lnTo>
                    <a:pt x="0" y="1006585"/>
                  </a:lnTo>
                  <a:lnTo>
                    <a:pt x="0" y="1045374"/>
                  </a:lnTo>
                  <a:lnTo>
                    <a:pt x="0" y="4677350"/>
                  </a:lnTo>
                  <a:lnTo>
                    <a:pt x="729928" y="4677350"/>
                  </a:lnTo>
                  <a:lnTo>
                    <a:pt x="729928" y="1045374"/>
                  </a:lnTo>
                  <a:lnTo>
                    <a:pt x="729928" y="1006585"/>
                  </a:lnTo>
                  <a:lnTo>
                    <a:pt x="729928" y="126577"/>
                  </a:lnTo>
                  <a:lnTo>
                    <a:pt x="527843" y="126577"/>
                  </a:lnTo>
                  <a:lnTo>
                    <a:pt x="374542" y="0"/>
                  </a:lnTo>
                  <a:lnTo>
                    <a:pt x="234185" y="126577"/>
                  </a:lnTo>
                  <a:close/>
                </a:path>
              </a:pathLst>
            </a:custGeom>
            <a:solidFill>
              <a:srgbClr val="3DA5C1"/>
            </a:solidFill>
            <a:ln w="9525">
              <a:solidFill>
                <a:schemeClr val="bg1"/>
              </a:solidFill>
            </a:ln>
            <a:effectLst>
              <a:innerShdw blurRad="12700">
                <a:prstClr val="black">
                  <a:alpha val="8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2" name="TextBox 3"/>
            <p:cNvSpPr txBox="1">
              <a:spLocks noChangeArrowheads="1"/>
            </p:cNvSpPr>
            <p:nvPr/>
          </p:nvSpPr>
          <p:spPr bwMode="auto">
            <a:xfrm>
              <a:off x="5236097" y="-2924853"/>
              <a:ext cx="1677696" cy="338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sp>
          <p:nvSpPr>
            <p:cNvPr id="313" name="矩形 51"/>
            <p:cNvSpPr>
              <a:spLocks noChangeArrowheads="1"/>
            </p:cNvSpPr>
            <p:nvPr/>
          </p:nvSpPr>
          <p:spPr bwMode="auto">
            <a:xfrm>
              <a:off x="5261493" y="-2637339"/>
              <a:ext cx="1339618" cy="231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9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4" name="矩形 313"/>
            <p:cNvSpPr/>
            <p:nvPr/>
          </p:nvSpPr>
          <p:spPr>
            <a:xfrm>
              <a:off x="8177224" y="-3074170"/>
              <a:ext cx="715839" cy="312930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6" name="TextBox 315"/>
            <p:cNvSpPr txBox="1"/>
            <p:nvPr/>
          </p:nvSpPr>
          <p:spPr>
            <a:xfrm>
              <a:off x="8186748" y="-3058285"/>
              <a:ext cx="777740" cy="3383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NO.4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grpSp>
          <p:nvGrpSpPr>
            <p:cNvPr id="317" name="组合 316"/>
            <p:cNvGrpSpPr/>
            <p:nvPr/>
          </p:nvGrpSpPr>
          <p:grpSpPr>
            <a:xfrm>
              <a:off x="8177160" y="-2690497"/>
              <a:ext cx="574464" cy="36952"/>
              <a:chOff x="4157480" y="1795527"/>
              <a:chExt cx="574464" cy="36952"/>
            </a:xfrm>
            <a:solidFill>
              <a:srgbClr val="266678">
                <a:alpha val="43000"/>
              </a:srgbClr>
            </a:solidFill>
          </p:grpSpPr>
          <p:sp>
            <p:nvSpPr>
              <p:cNvPr id="318" name="椭圆 317"/>
              <p:cNvSpPr/>
              <p:nvPr/>
            </p:nvSpPr>
            <p:spPr>
              <a:xfrm>
                <a:off x="415748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9" name="椭圆 318"/>
              <p:cNvSpPr/>
              <p:nvPr/>
            </p:nvSpPr>
            <p:spPr>
              <a:xfrm>
                <a:off x="425521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0" name="椭圆 319"/>
              <p:cNvSpPr/>
              <p:nvPr/>
            </p:nvSpPr>
            <p:spPr>
              <a:xfrm>
                <a:off x="430407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1" name="椭圆 320"/>
              <p:cNvSpPr/>
              <p:nvPr/>
            </p:nvSpPr>
            <p:spPr>
              <a:xfrm>
                <a:off x="420634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2" name="椭圆 321"/>
              <p:cNvSpPr/>
              <p:nvPr/>
            </p:nvSpPr>
            <p:spPr>
              <a:xfrm>
                <a:off x="440180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3" name="椭圆 322"/>
              <p:cNvSpPr/>
              <p:nvPr/>
            </p:nvSpPr>
            <p:spPr>
              <a:xfrm>
                <a:off x="435294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4" name="椭圆 323"/>
              <p:cNvSpPr/>
              <p:nvPr/>
            </p:nvSpPr>
            <p:spPr>
              <a:xfrm>
                <a:off x="449953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5" name="椭圆 324"/>
              <p:cNvSpPr/>
              <p:nvPr/>
            </p:nvSpPr>
            <p:spPr>
              <a:xfrm>
                <a:off x="445067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6" name="椭圆 325"/>
              <p:cNvSpPr/>
              <p:nvPr/>
            </p:nvSpPr>
            <p:spPr>
              <a:xfrm>
                <a:off x="459726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7" name="椭圆 326"/>
              <p:cNvSpPr/>
              <p:nvPr/>
            </p:nvSpPr>
            <p:spPr>
              <a:xfrm>
                <a:off x="454840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8" name="椭圆 327"/>
              <p:cNvSpPr/>
              <p:nvPr/>
            </p:nvSpPr>
            <p:spPr>
              <a:xfrm>
                <a:off x="4694992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9" name="椭圆 328"/>
              <p:cNvSpPr/>
              <p:nvPr/>
            </p:nvSpPr>
            <p:spPr>
              <a:xfrm>
                <a:off x="464613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3832" name="组合 1162"/>
            <p:cNvGrpSpPr/>
            <p:nvPr/>
          </p:nvGrpSpPr>
          <p:grpSpPr bwMode="auto">
            <a:xfrm>
              <a:off x="4764451" y="-2869286"/>
              <a:ext cx="391102" cy="391102"/>
              <a:chOff x="4764451" y="-2869286"/>
              <a:chExt cx="391102" cy="391102"/>
            </a:xfrm>
          </p:grpSpPr>
          <p:sp>
            <p:nvSpPr>
              <p:cNvPr id="331" name="矩形 330"/>
              <p:cNvSpPr/>
              <p:nvPr/>
            </p:nvSpPr>
            <p:spPr>
              <a:xfrm>
                <a:off x="4764691" y="-2869256"/>
                <a:ext cx="390457" cy="390765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3834" name="Freeform 77"/>
              <p:cNvSpPr>
                <a:spLocks noEditPoints="1"/>
              </p:cNvSpPr>
              <p:nvPr/>
            </p:nvSpPr>
            <p:spPr bwMode="auto">
              <a:xfrm>
                <a:off x="4806805" y="-2797625"/>
                <a:ext cx="313227" cy="252438"/>
              </a:xfrm>
              <a:custGeom>
                <a:avLst/>
                <a:gdLst>
                  <a:gd name="T0" fmla="*/ 2147483646 w 60"/>
                  <a:gd name="T1" fmla="*/ 2147483646 h 53"/>
                  <a:gd name="T2" fmla="*/ 2147483646 w 60"/>
                  <a:gd name="T3" fmla="*/ 2147483646 h 53"/>
                  <a:gd name="T4" fmla="*/ 2147483646 w 60"/>
                  <a:gd name="T5" fmla="*/ 2147483646 h 53"/>
                  <a:gd name="T6" fmla="*/ 2147483646 w 60"/>
                  <a:gd name="T7" fmla="*/ 2147483646 h 53"/>
                  <a:gd name="T8" fmla="*/ 2147483646 w 60"/>
                  <a:gd name="T9" fmla="*/ 2147483646 h 53"/>
                  <a:gd name="T10" fmla="*/ 2147483646 w 60"/>
                  <a:gd name="T11" fmla="*/ 2147483646 h 53"/>
                  <a:gd name="T12" fmla="*/ 2147483646 w 60"/>
                  <a:gd name="T13" fmla="*/ 2147483646 h 53"/>
                  <a:gd name="T14" fmla="*/ 2147483646 w 60"/>
                  <a:gd name="T15" fmla="*/ 2147483646 h 53"/>
                  <a:gd name="T16" fmla="*/ 2147483646 w 60"/>
                  <a:gd name="T17" fmla="*/ 2147483646 h 53"/>
                  <a:gd name="T18" fmla="*/ 2147483646 w 60"/>
                  <a:gd name="T19" fmla="*/ 2147483646 h 53"/>
                  <a:gd name="T20" fmla="*/ 2147483646 w 60"/>
                  <a:gd name="T21" fmla="*/ 2147483646 h 53"/>
                  <a:gd name="T22" fmla="*/ 2147483646 w 60"/>
                  <a:gd name="T23" fmla="*/ 2147483646 h 53"/>
                  <a:gd name="T24" fmla="*/ 2147483646 w 60"/>
                  <a:gd name="T25" fmla="*/ 2147483646 h 53"/>
                  <a:gd name="T26" fmla="*/ 2147483646 w 60"/>
                  <a:gd name="T27" fmla="*/ 2147483646 h 53"/>
                  <a:gd name="T28" fmla="*/ 2147483646 w 60"/>
                  <a:gd name="T29" fmla="*/ 2147483646 h 53"/>
                  <a:gd name="T30" fmla="*/ 2147483646 w 60"/>
                  <a:gd name="T31" fmla="*/ 2147483646 h 53"/>
                  <a:gd name="T32" fmla="*/ 2147483646 w 60"/>
                  <a:gd name="T33" fmla="*/ 0 h 53"/>
                  <a:gd name="T34" fmla="*/ 2147483646 w 60"/>
                  <a:gd name="T35" fmla="*/ 0 h 53"/>
                  <a:gd name="T36" fmla="*/ 2147483646 w 60"/>
                  <a:gd name="T37" fmla="*/ 0 h 53"/>
                  <a:gd name="T38" fmla="*/ 2147483646 w 60"/>
                  <a:gd name="T39" fmla="*/ 0 h 53"/>
                  <a:gd name="T40" fmla="*/ 2147483646 w 60"/>
                  <a:gd name="T41" fmla="*/ 2147483646 h 53"/>
                  <a:gd name="T42" fmla="*/ 2147483646 w 60"/>
                  <a:gd name="T43" fmla="*/ 2147483646 h 53"/>
                  <a:gd name="T44" fmla="*/ 2147483646 w 60"/>
                  <a:gd name="T45" fmla="*/ 2147483646 h 53"/>
                  <a:gd name="T46" fmla="*/ 2147483646 w 60"/>
                  <a:gd name="T47" fmla="*/ 2147483646 h 53"/>
                  <a:gd name="T48" fmla="*/ 2147483646 w 60"/>
                  <a:gd name="T49" fmla="*/ 0 h 53"/>
                  <a:gd name="T50" fmla="*/ 2147483646 w 60"/>
                  <a:gd name="T51" fmla="*/ 0 h 53"/>
                  <a:gd name="T52" fmla="*/ 2147483646 w 60"/>
                  <a:gd name="T53" fmla="*/ 2147483646 h 53"/>
                  <a:gd name="T54" fmla="*/ 2147483646 w 60"/>
                  <a:gd name="T55" fmla="*/ 2147483646 h 53"/>
                  <a:gd name="T56" fmla="*/ 2147483646 w 60"/>
                  <a:gd name="T57" fmla="*/ 2147483646 h 53"/>
                  <a:gd name="T58" fmla="*/ 2147483646 w 60"/>
                  <a:gd name="T59" fmla="*/ 2147483646 h 53"/>
                  <a:gd name="T60" fmla="*/ 2147483646 w 60"/>
                  <a:gd name="T61" fmla="*/ 2147483646 h 53"/>
                  <a:gd name="T62" fmla="*/ 2147483646 w 60"/>
                  <a:gd name="T63" fmla="*/ 2147483646 h 53"/>
                  <a:gd name="T64" fmla="*/ 2147483646 w 60"/>
                  <a:gd name="T65" fmla="*/ 2147483646 h 53"/>
                  <a:gd name="T66" fmla="*/ 2147483646 w 60"/>
                  <a:gd name="T67" fmla="*/ 2147483646 h 53"/>
                  <a:gd name="T68" fmla="*/ 2147483646 w 60"/>
                  <a:gd name="T69" fmla="*/ 2147483646 h 53"/>
                  <a:gd name="T70" fmla="*/ 2147483646 w 60"/>
                  <a:gd name="T71" fmla="*/ 2147483646 h 53"/>
                  <a:gd name="T72" fmla="*/ 2147483646 w 60"/>
                  <a:gd name="T73" fmla="*/ 2147483646 h 53"/>
                  <a:gd name="T74" fmla="*/ 2147483646 w 60"/>
                  <a:gd name="T75" fmla="*/ 2147483646 h 53"/>
                  <a:gd name="T76" fmla="*/ 2147483646 w 60"/>
                  <a:gd name="T77" fmla="*/ 2147483646 h 5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60" h="53">
                    <a:moveTo>
                      <a:pt x="30" y="14"/>
                    </a:moveTo>
                    <a:cubicBezTo>
                      <a:pt x="11" y="28"/>
                      <a:pt x="11" y="28"/>
                      <a:pt x="11" y="28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11" y="50"/>
                      <a:pt x="13" y="53"/>
                      <a:pt x="16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7" y="53"/>
                      <a:pt x="49" y="50"/>
                      <a:pt x="49" y="47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0" y="14"/>
                      <a:pt x="30" y="14"/>
                      <a:pt x="30" y="14"/>
                    </a:cubicBezTo>
                    <a:close/>
                    <a:moveTo>
                      <a:pt x="2" y="26"/>
                    </a:moveTo>
                    <a:cubicBezTo>
                      <a:pt x="1" y="25"/>
                      <a:pt x="1" y="25"/>
                      <a:pt x="1" y="25"/>
                    </a:cubicBezTo>
                    <a:cubicBezTo>
                      <a:pt x="0" y="23"/>
                      <a:pt x="0" y="22"/>
                      <a:pt x="2" y="21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1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1" y="1"/>
                      <a:pt x="32" y="2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1" y="8"/>
                      <a:pt x="41" y="7"/>
                      <a:pt x="41" y="6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1" y="2"/>
                      <a:pt x="43" y="0"/>
                      <a:pt x="4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8" y="0"/>
                      <a:pt x="49" y="2"/>
                      <a:pt x="49" y="3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9" y="13"/>
                      <a:pt x="50" y="15"/>
                      <a:pt x="51" y="16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60" y="22"/>
                      <a:pt x="60" y="23"/>
                      <a:pt x="59" y="25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8" y="27"/>
                      <a:pt x="57" y="27"/>
                      <a:pt x="56" y="2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27"/>
                      <a:pt x="2" y="27"/>
                      <a:pt x="2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110" name="矩形 109"/>
          <p:cNvSpPr/>
          <p:nvPr/>
        </p:nvSpPr>
        <p:spPr>
          <a:xfrm>
            <a:off x="0" y="0"/>
            <a:ext cx="2700338" cy="5143500"/>
          </a:xfrm>
          <a:prstGeom prst="rect">
            <a:avLst/>
          </a:prstGeom>
          <a:solidFill>
            <a:srgbClr val="266678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111" name="组合 110"/>
          <p:cNvGrpSpPr/>
          <p:nvPr/>
        </p:nvGrpSpPr>
        <p:grpSpPr bwMode="auto">
          <a:xfrm>
            <a:off x="2705100" y="338138"/>
            <a:ext cx="1008063" cy="792162"/>
            <a:chOff x="1835150" y="319657"/>
            <a:chExt cx="1008658" cy="792163"/>
          </a:xfrm>
        </p:grpSpPr>
        <p:sp>
          <p:nvSpPr>
            <p:cNvPr id="112" name="矩形 111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3" name="任意多边形 112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4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15" name="组合 114"/>
          <p:cNvGrpSpPr/>
          <p:nvPr/>
        </p:nvGrpSpPr>
        <p:grpSpPr bwMode="auto">
          <a:xfrm>
            <a:off x="2705100" y="2170113"/>
            <a:ext cx="1149350" cy="792162"/>
            <a:chOff x="2983059" y="2169348"/>
            <a:chExt cx="1148609" cy="792163"/>
          </a:xfrm>
        </p:grpSpPr>
        <p:sp>
          <p:nvSpPr>
            <p:cNvPr id="116" name="等腰三角形 1164"/>
            <p:cNvSpPr/>
            <p:nvPr/>
          </p:nvSpPr>
          <p:spPr>
            <a:xfrm rot="5400000">
              <a:off x="3163662" y="1993504"/>
              <a:ext cx="792163" cy="1143849"/>
            </a:xfrm>
            <a:custGeom>
              <a:avLst/>
              <a:gdLst>
                <a:gd name="connsiteX0" fmla="*/ 0 w 792163"/>
                <a:gd name="connsiteY0" fmla="*/ 1144391 h 1144391"/>
                <a:gd name="connsiteX1" fmla="*/ 0 w 792163"/>
                <a:gd name="connsiteY1" fmla="*/ 135733 h 1144391"/>
                <a:gd name="connsiteX2" fmla="*/ 267851 w 792163"/>
                <a:gd name="connsiteY2" fmla="*/ 135733 h 1144391"/>
                <a:gd name="connsiteX3" fmla="*/ 410120 w 792163"/>
                <a:gd name="connsiteY3" fmla="*/ 0 h 1144391"/>
                <a:gd name="connsiteX4" fmla="*/ 571439 w 792163"/>
                <a:gd name="connsiteY4" fmla="*/ 135733 h 1144391"/>
                <a:gd name="connsiteX5" fmla="*/ 792163 w 792163"/>
                <a:gd name="connsiteY5" fmla="*/ 135733 h 1144391"/>
                <a:gd name="connsiteX6" fmla="*/ 792163 w 792163"/>
                <a:gd name="connsiteY6" fmla="*/ 1144391 h 1144391"/>
                <a:gd name="connsiteX7" fmla="*/ 0 w 792163"/>
                <a:gd name="connsiteY7" fmla="*/ 1144391 h 1144391"/>
                <a:gd name="connsiteX0-1" fmla="*/ 0 w 792163"/>
                <a:gd name="connsiteY0-2" fmla="*/ 1144391 h 1144391"/>
                <a:gd name="connsiteX1-3" fmla="*/ 0 w 792163"/>
                <a:gd name="connsiteY1-4" fmla="*/ 135733 h 1144391"/>
                <a:gd name="connsiteX2-5" fmla="*/ 260707 w 792163"/>
                <a:gd name="connsiteY2-6" fmla="*/ 135733 h 1144391"/>
                <a:gd name="connsiteX3-7" fmla="*/ 410120 w 792163"/>
                <a:gd name="connsiteY3-8" fmla="*/ 0 h 1144391"/>
                <a:gd name="connsiteX4-9" fmla="*/ 571439 w 792163"/>
                <a:gd name="connsiteY4-10" fmla="*/ 135733 h 1144391"/>
                <a:gd name="connsiteX5-11" fmla="*/ 792163 w 792163"/>
                <a:gd name="connsiteY5-12" fmla="*/ 135733 h 1144391"/>
                <a:gd name="connsiteX6-13" fmla="*/ 792163 w 792163"/>
                <a:gd name="connsiteY6-14" fmla="*/ 1144391 h 1144391"/>
                <a:gd name="connsiteX7-15" fmla="*/ 0 w 792163"/>
                <a:gd name="connsiteY7-16" fmla="*/ 1144391 h 114439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92163" h="1144391">
                  <a:moveTo>
                    <a:pt x="0" y="1144391"/>
                  </a:moveTo>
                  <a:lnTo>
                    <a:pt x="0" y="135733"/>
                  </a:lnTo>
                  <a:lnTo>
                    <a:pt x="260707" y="135733"/>
                  </a:lnTo>
                  <a:lnTo>
                    <a:pt x="410120" y="0"/>
                  </a:lnTo>
                  <a:lnTo>
                    <a:pt x="571439" y="135733"/>
                  </a:lnTo>
                  <a:lnTo>
                    <a:pt x="792163" y="135733"/>
                  </a:lnTo>
                  <a:lnTo>
                    <a:pt x="792163" y="1144391"/>
                  </a:lnTo>
                  <a:lnTo>
                    <a:pt x="0" y="1144391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7" name="任意多边形 116"/>
            <p:cNvSpPr/>
            <p:nvPr/>
          </p:nvSpPr>
          <p:spPr>
            <a:xfrm>
              <a:off x="2983059" y="2277298"/>
              <a:ext cx="923329" cy="608013"/>
            </a:xfrm>
            <a:custGeom>
              <a:avLst/>
              <a:gdLst>
                <a:gd name="connsiteX0" fmla="*/ 276473 w 750342"/>
                <a:gd name="connsiteY0" fmla="*/ 0 h 496951"/>
                <a:gd name="connsiteX1" fmla="*/ 731292 w 750342"/>
                <a:gd name="connsiteY1" fmla="*/ 4762 h 496951"/>
                <a:gd name="connsiteX2" fmla="*/ 750342 w 750342"/>
                <a:gd name="connsiteY2" fmla="*/ 54768 h 496951"/>
                <a:gd name="connsiteX3" fmla="*/ 743198 w 750342"/>
                <a:gd name="connsiteY3" fmla="*/ 321468 h 496951"/>
                <a:gd name="connsiteX4" fmla="*/ 425888 w 750342"/>
                <a:gd name="connsiteY4" fmla="*/ 496951 h 496951"/>
                <a:gd name="connsiteX5" fmla="*/ 0 w 750342"/>
                <a:gd name="connsiteY5" fmla="*/ 496951 h 496951"/>
                <a:gd name="connsiteX6" fmla="*/ 0 w 750342"/>
                <a:gd name="connsiteY6" fmla="*/ 232699 h 496951"/>
                <a:gd name="connsiteX7" fmla="*/ 276473 w 750342"/>
                <a:gd name="connsiteY7" fmla="*/ 0 h 496951"/>
                <a:gd name="connsiteX0-1" fmla="*/ 280365 w 754234"/>
                <a:gd name="connsiteY0-2" fmla="*/ 0 h 496951"/>
                <a:gd name="connsiteX1-3" fmla="*/ 735184 w 754234"/>
                <a:gd name="connsiteY1-4" fmla="*/ 4762 h 496951"/>
                <a:gd name="connsiteX2-5" fmla="*/ 754234 w 754234"/>
                <a:gd name="connsiteY2-6" fmla="*/ 54768 h 496951"/>
                <a:gd name="connsiteX3-7" fmla="*/ 747090 w 754234"/>
                <a:gd name="connsiteY3-8" fmla="*/ 321468 h 496951"/>
                <a:gd name="connsiteX4-9" fmla="*/ 429780 w 754234"/>
                <a:gd name="connsiteY4-10" fmla="*/ 496951 h 496951"/>
                <a:gd name="connsiteX5-11" fmla="*/ 3892 w 754234"/>
                <a:gd name="connsiteY5-12" fmla="*/ 496951 h 496951"/>
                <a:gd name="connsiteX6-13" fmla="*/ 0 w 754234"/>
                <a:gd name="connsiteY6-14" fmla="*/ 261887 h 496951"/>
                <a:gd name="connsiteX7-15" fmla="*/ 280365 w 754234"/>
                <a:gd name="connsiteY7-16" fmla="*/ 0 h 49695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54234" h="496951">
                  <a:moveTo>
                    <a:pt x="280365" y="0"/>
                  </a:moveTo>
                  <a:lnTo>
                    <a:pt x="735184" y="4762"/>
                  </a:lnTo>
                  <a:lnTo>
                    <a:pt x="754234" y="54768"/>
                  </a:lnTo>
                  <a:lnTo>
                    <a:pt x="747090" y="321468"/>
                  </a:lnTo>
                  <a:lnTo>
                    <a:pt x="429780" y="496951"/>
                  </a:lnTo>
                  <a:lnTo>
                    <a:pt x="3892" y="496951"/>
                  </a:lnTo>
                  <a:cubicBezTo>
                    <a:pt x="2595" y="418596"/>
                    <a:pt x="1297" y="340242"/>
                    <a:pt x="0" y="261887"/>
                  </a:cubicBezTo>
                  <a:lnTo>
                    <a:pt x="280365" y="0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3817" name="Freeform 6"/>
            <p:cNvSpPr>
              <a:spLocks noEditPoints="1"/>
            </p:cNvSpPr>
            <p:nvPr/>
          </p:nvSpPr>
          <p:spPr bwMode="auto">
            <a:xfrm>
              <a:off x="3282102" y="2275882"/>
              <a:ext cx="644475" cy="403450"/>
            </a:xfrm>
            <a:custGeom>
              <a:avLst/>
              <a:gdLst>
                <a:gd name="T0" fmla="*/ 2147483646 w 208"/>
                <a:gd name="T1" fmla="*/ 0 h 130"/>
                <a:gd name="T2" fmla="*/ 2147483646 w 208"/>
                <a:gd name="T3" fmla="*/ 0 h 130"/>
                <a:gd name="T4" fmla="*/ 0 w 208"/>
                <a:gd name="T5" fmla="*/ 2147483646 h 130"/>
                <a:gd name="T6" fmla="*/ 0 w 208"/>
                <a:gd name="T7" fmla="*/ 2147483646 h 130"/>
                <a:gd name="T8" fmla="*/ 2147483646 w 208"/>
                <a:gd name="T9" fmla="*/ 2147483646 h 130"/>
                <a:gd name="T10" fmla="*/ 2147483646 w 208"/>
                <a:gd name="T11" fmla="*/ 2147483646 h 130"/>
                <a:gd name="T12" fmla="*/ 2147483646 w 208"/>
                <a:gd name="T13" fmla="*/ 2147483646 h 130"/>
                <a:gd name="T14" fmla="*/ 2147483646 w 208"/>
                <a:gd name="T15" fmla="*/ 2147483646 h 130"/>
                <a:gd name="T16" fmla="*/ 2147483646 w 208"/>
                <a:gd name="T17" fmla="*/ 0 h 130"/>
                <a:gd name="T18" fmla="*/ 2147483646 w 208"/>
                <a:gd name="T19" fmla="*/ 2147483646 h 130"/>
                <a:gd name="T20" fmla="*/ 2147483646 w 208"/>
                <a:gd name="T21" fmla="*/ 2147483646 h 130"/>
                <a:gd name="T22" fmla="*/ 2147483646 w 208"/>
                <a:gd name="T23" fmla="*/ 2147483646 h 130"/>
                <a:gd name="T24" fmla="*/ 2147483646 w 208"/>
                <a:gd name="T25" fmla="*/ 2147483646 h 130"/>
                <a:gd name="T26" fmla="*/ 2147483646 w 208"/>
                <a:gd name="T27" fmla="*/ 2147483646 h 130"/>
                <a:gd name="T28" fmla="*/ 2147483646 w 208"/>
                <a:gd name="T29" fmla="*/ 2147483646 h 130"/>
                <a:gd name="T30" fmla="*/ 2147483646 w 208"/>
                <a:gd name="T31" fmla="*/ 2147483646 h 130"/>
                <a:gd name="T32" fmla="*/ 2147483646 w 208"/>
                <a:gd name="T33" fmla="*/ 2147483646 h 130"/>
                <a:gd name="T34" fmla="*/ 2147483646 w 208"/>
                <a:gd name="T35" fmla="*/ 2147483646 h 130"/>
                <a:gd name="T36" fmla="*/ 2147483646 w 208"/>
                <a:gd name="T37" fmla="*/ 2147483646 h 130"/>
                <a:gd name="T38" fmla="*/ 2147483646 w 208"/>
                <a:gd name="T39" fmla="*/ 2147483646 h 130"/>
                <a:gd name="T40" fmla="*/ 2147483646 w 208"/>
                <a:gd name="T41" fmla="*/ 2147483646 h 130"/>
                <a:gd name="T42" fmla="*/ 2147483646 w 208"/>
                <a:gd name="T43" fmla="*/ 2147483646 h 130"/>
                <a:gd name="T44" fmla="*/ 2147483646 w 208"/>
                <a:gd name="T45" fmla="*/ 2147483646 h 130"/>
                <a:gd name="T46" fmla="*/ 2147483646 w 208"/>
                <a:gd name="T47" fmla="*/ 2147483646 h 130"/>
                <a:gd name="T48" fmla="*/ 2147483646 w 208"/>
                <a:gd name="T49" fmla="*/ 2147483646 h 130"/>
                <a:gd name="T50" fmla="*/ 2147483646 w 208"/>
                <a:gd name="T51" fmla="*/ 2147483646 h 130"/>
                <a:gd name="T52" fmla="*/ 2147483646 w 208"/>
                <a:gd name="T53" fmla="*/ 2147483646 h 130"/>
                <a:gd name="T54" fmla="*/ 2147483646 w 208"/>
                <a:gd name="T55" fmla="*/ 2147483646 h 130"/>
                <a:gd name="T56" fmla="*/ 2147483646 w 208"/>
                <a:gd name="T57" fmla="*/ 2147483646 h 130"/>
                <a:gd name="T58" fmla="*/ 2147483646 w 208"/>
                <a:gd name="T59" fmla="*/ 2147483646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9" name="等腰三角形 1163"/>
            <p:cNvSpPr/>
            <p:nvPr/>
          </p:nvSpPr>
          <p:spPr>
            <a:xfrm rot="5400000">
              <a:off x="3194619" y="2045066"/>
              <a:ext cx="730251" cy="1045489"/>
            </a:xfrm>
            <a:custGeom>
              <a:avLst/>
              <a:gdLst/>
              <a:ahLst/>
              <a:cxnLst/>
              <a:rect l="l" t="t" r="r" b="b"/>
              <a:pathLst>
                <a:path w="729928" h="1045374">
                  <a:moveTo>
                    <a:pt x="0" y="1045374"/>
                  </a:moveTo>
                  <a:lnTo>
                    <a:pt x="0" y="126577"/>
                  </a:lnTo>
                  <a:lnTo>
                    <a:pt x="234185" y="126577"/>
                  </a:lnTo>
                  <a:lnTo>
                    <a:pt x="374542" y="0"/>
                  </a:lnTo>
                  <a:lnTo>
                    <a:pt x="527843" y="126577"/>
                  </a:lnTo>
                  <a:lnTo>
                    <a:pt x="729928" y="126577"/>
                  </a:lnTo>
                  <a:lnTo>
                    <a:pt x="729928" y="1045374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20" name="组合 119"/>
          <p:cNvGrpSpPr/>
          <p:nvPr/>
        </p:nvGrpSpPr>
        <p:grpSpPr bwMode="auto">
          <a:xfrm>
            <a:off x="2706688" y="1277938"/>
            <a:ext cx="1008062" cy="792162"/>
            <a:chOff x="1835150" y="319657"/>
            <a:chExt cx="1008658" cy="792163"/>
          </a:xfrm>
        </p:grpSpPr>
        <p:sp>
          <p:nvSpPr>
            <p:cNvPr id="121" name="矩形 120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2" name="任意多边形 121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3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24" name="组合 123"/>
          <p:cNvGrpSpPr/>
          <p:nvPr/>
        </p:nvGrpSpPr>
        <p:grpSpPr bwMode="auto">
          <a:xfrm>
            <a:off x="2705100" y="3121025"/>
            <a:ext cx="1008063" cy="792163"/>
            <a:chOff x="1835150" y="319657"/>
            <a:chExt cx="1008658" cy="792163"/>
          </a:xfrm>
        </p:grpSpPr>
        <p:sp>
          <p:nvSpPr>
            <p:cNvPr id="125" name="矩形 124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6" name="任意多边形 125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7" name="Freeform 6"/>
            <p:cNvSpPr>
              <a:spLocks noEditPoints="1"/>
            </p:cNvSpPr>
            <p:nvPr/>
          </p:nvSpPr>
          <p:spPr bwMode="auto">
            <a:xfrm>
              <a:off x="2086123" y="508570"/>
              <a:ext cx="643317" cy="403225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28" name="组合 127"/>
          <p:cNvGrpSpPr/>
          <p:nvPr/>
        </p:nvGrpSpPr>
        <p:grpSpPr bwMode="auto">
          <a:xfrm>
            <a:off x="2709863" y="4071938"/>
            <a:ext cx="1008062" cy="792162"/>
            <a:chOff x="1835150" y="319657"/>
            <a:chExt cx="1008658" cy="792163"/>
          </a:xfrm>
        </p:grpSpPr>
        <p:sp>
          <p:nvSpPr>
            <p:cNvPr id="129" name="矩形 128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0" name="任意多边形 129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1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32" name="组合 131"/>
          <p:cNvGrpSpPr/>
          <p:nvPr/>
        </p:nvGrpSpPr>
        <p:grpSpPr bwMode="auto">
          <a:xfrm>
            <a:off x="179388" y="1930400"/>
            <a:ext cx="1870075" cy="1562100"/>
            <a:chOff x="325535" y="1930204"/>
            <a:chExt cx="1870201" cy="1562295"/>
          </a:xfrm>
        </p:grpSpPr>
        <p:sp>
          <p:nvSpPr>
            <p:cNvPr id="133" name="矩形 257"/>
            <p:cNvSpPr/>
            <p:nvPr/>
          </p:nvSpPr>
          <p:spPr>
            <a:xfrm>
              <a:off x="638293" y="1931792"/>
              <a:ext cx="1557443" cy="1560707"/>
            </a:xfrm>
            <a:custGeom>
              <a:avLst/>
              <a:gdLst>
                <a:gd name="connsiteX0" fmla="*/ 129431 w 1564892"/>
                <a:gd name="connsiteY0" fmla="*/ 0 h 1563674"/>
                <a:gd name="connsiteX1" fmla="*/ 1562510 w 1564892"/>
                <a:gd name="connsiteY1" fmla="*/ 3034 h 1563674"/>
                <a:gd name="connsiteX2" fmla="*/ 1564892 w 1564892"/>
                <a:gd name="connsiteY2" fmla="*/ 1432510 h 1563674"/>
                <a:gd name="connsiteX3" fmla="*/ 1482392 w 1564892"/>
                <a:gd name="connsiteY3" fmla="*/ 1563674 h 1563674"/>
                <a:gd name="connsiteX4" fmla="*/ 1870 w 1564892"/>
                <a:gd name="connsiteY4" fmla="*/ 1563674 h 1563674"/>
                <a:gd name="connsiteX5" fmla="*/ 0 w 1564892"/>
                <a:gd name="connsiteY5" fmla="*/ 93158 h 1563674"/>
                <a:gd name="connsiteX6" fmla="*/ 129431 w 1564892"/>
                <a:gd name="connsiteY6" fmla="*/ 0 h 1563674"/>
                <a:gd name="connsiteX0-1" fmla="*/ 129431 w 1562510"/>
                <a:gd name="connsiteY0-2" fmla="*/ 0 h 1563674"/>
                <a:gd name="connsiteX1-3" fmla="*/ 1562510 w 1562510"/>
                <a:gd name="connsiteY1-4" fmla="*/ 3034 h 1563674"/>
                <a:gd name="connsiteX2-5" fmla="*/ 1557748 w 1562510"/>
                <a:gd name="connsiteY2-6" fmla="*/ 1434891 h 1563674"/>
                <a:gd name="connsiteX3-7" fmla="*/ 1482392 w 1562510"/>
                <a:gd name="connsiteY3-8" fmla="*/ 1563674 h 1563674"/>
                <a:gd name="connsiteX4-9" fmla="*/ 1870 w 1562510"/>
                <a:gd name="connsiteY4-10" fmla="*/ 1563674 h 1563674"/>
                <a:gd name="connsiteX5-11" fmla="*/ 0 w 1562510"/>
                <a:gd name="connsiteY5-12" fmla="*/ 93158 h 1563674"/>
                <a:gd name="connsiteX6-13" fmla="*/ 129431 w 1562510"/>
                <a:gd name="connsiteY6-14" fmla="*/ 0 h 1563674"/>
                <a:gd name="connsiteX0-15" fmla="*/ 129431 w 1558206"/>
                <a:gd name="connsiteY0-16" fmla="*/ 0 h 1563674"/>
                <a:gd name="connsiteX1-17" fmla="*/ 1557747 w 1558206"/>
                <a:gd name="connsiteY1-18" fmla="*/ 5415 h 1563674"/>
                <a:gd name="connsiteX2-19" fmla="*/ 1557748 w 1558206"/>
                <a:gd name="connsiteY2-20" fmla="*/ 1434891 h 1563674"/>
                <a:gd name="connsiteX3-21" fmla="*/ 1482392 w 1558206"/>
                <a:gd name="connsiteY3-22" fmla="*/ 1563674 h 1563674"/>
                <a:gd name="connsiteX4-23" fmla="*/ 1870 w 1558206"/>
                <a:gd name="connsiteY4-24" fmla="*/ 1563674 h 1563674"/>
                <a:gd name="connsiteX5-25" fmla="*/ 0 w 1558206"/>
                <a:gd name="connsiteY5-26" fmla="*/ 93158 h 1563674"/>
                <a:gd name="connsiteX6-27" fmla="*/ 129431 w 1558206"/>
                <a:gd name="connsiteY6-28" fmla="*/ 0 h 1563674"/>
                <a:gd name="connsiteX0-29" fmla="*/ 129431 w 1558206"/>
                <a:gd name="connsiteY0-30" fmla="*/ 0 h 1561293"/>
                <a:gd name="connsiteX1-31" fmla="*/ 1557747 w 1558206"/>
                <a:gd name="connsiteY1-32" fmla="*/ 3034 h 1561293"/>
                <a:gd name="connsiteX2-33" fmla="*/ 1557748 w 1558206"/>
                <a:gd name="connsiteY2-34" fmla="*/ 1432510 h 1561293"/>
                <a:gd name="connsiteX3-35" fmla="*/ 1482392 w 1558206"/>
                <a:gd name="connsiteY3-36" fmla="*/ 1561293 h 1561293"/>
                <a:gd name="connsiteX4-37" fmla="*/ 1870 w 1558206"/>
                <a:gd name="connsiteY4-38" fmla="*/ 1561293 h 1561293"/>
                <a:gd name="connsiteX5-39" fmla="*/ 0 w 1558206"/>
                <a:gd name="connsiteY5-40" fmla="*/ 90777 h 1561293"/>
                <a:gd name="connsiteX6-41" fmla="*/ 129431 w 1558206"/>
                <a:gd name="connsiteY6-42" fmla="*/ 0 h 156129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1558206" h="1561293">
                  <a:moveTo>
                    <a:pt x="129431" y="0"/>
                  </a:moveTo>
                  <a:lnTo>
                    <a:pt x="1557747" y="3034"/>
                  </a:lnTo>
                  <a:cubicBezTo>
                    <a:pt x="1556160" y="480320"/>
                    <a:pt x="1559335" y="955224"/>
                    <a:pt x="1557748" y="1432510"/>
                  </a:cubicBezTo>
                  <a:lnTo>
                    <a:pt x="1482392" y="1561293"/>
                  </a:lnTo>
                  <a:lnTo>
                    <a:pt x="1870" y="1561293"/>
                  </a:lnTo>
                  <a:cubicBezTo>
                    <a:pt x="1247" y="1071121"/>
                    <a:pt x="623" y="580949"/>
                    <a:pt x="0" y="90777"/>
                  </a:cubicBezTo>
                  <a:lnTo>
                    <a:pt x="129431" y="0"/>
                  </a:lnTo>
                  <a:close/>
                </a:path>
              </a:pathLst>
            </a:custGeom>
            <a:solidFill>
              <a:srgbClr val="26667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134" name="矩形 133"/>
            <p:cNvSpPr/>
            <p:nvPr/>
          </p:nvSpPr>
          <p:spPr>
            <a:xfrm>
              <a:off x="762126" y="1930204"/>
              <a:ext cx="1433610" cy="143369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5" name="TextBox 134"/>
            <p:cNvSpPr txBox="1"/>
            <p:nvPr/>
          </p:nvSpPr>
          <p:spPr bwMode="auto">
            <a:xfrm>
              <a:off x="749426" y="2120728"/>
              <a:ext cx="1408208" cy="6461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600" b="1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经典繁超宋" pitchFamily="49" charset="-122"/>
                </a:rPr>
                <a:t>目录</a:t>
              </a:r>
              <a:endParaRPr lang="zh-CN" altLang="en-US" sz="3600" b="1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繁超宋" pitchFamily="49" charset="-122"/>
              </a:endParaRPr>
            </a:p>
          </p:txBody>
        </p:sp>
        <p:sp>
          <p:nvSpPr>
            <p:cNvPr id="136" name="TextBox 179"/>
            <p:cNvSpPr txBox="1">
              <a:spLocks noChangeArrowheads="1"/>
            </p:cNvSpPr>
            <p:nvPr/>
          </p:nvSpPr>
          <p:spPr bwMode="auto">
            <a:xfrm>
              <a:off x="325535" y="2736755"/>
              <a:ext cx="1779707" cy="339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   CONTENTS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4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 tmFilter="0, 0; .2, .5; .8, .5; 1, 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250" autoRev="1" fill="hold"/>
                                        <p:tgtEl>
                                          <p:spTgt spid="1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4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 bwMode="auto">
          <a:xfrm>
            <a:off x="1238250" y="2171700"/>
            <a:ext cx="2028825" cy="276225"/>
            <a:chOff x="1238662" y="1993842"/>
            <a:chExt cx="2028804" cy="276999"/>
          </a:xfrm>
        </p:grpSpPr>
        <p:sp>
          <p:nvSpPr>
            <p:cNvPr id="3" name="AutoShape 141"/>
            <p:cNvSpPr>
              <a:spLocks noChangeArrowheads="1"/>
            </p:cNvSpPr>
            <p:nvPr/>
          </p:nvSpPr>
          <p:spPr bwMode="auto">
            <a:xfrm rot="493875">
              <a:off x="1238662" y="2012945"/>
              <a:ext cx="2028804" cy="20536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905" name="矩形 1"/>
            <p:cNvSpPr>
              <a:spLocks noChangeArrowheads="1"/>
            </p:cNvSpPr>
            <p:nvPr/>
          </p:nvSpPr>
          <p:spPr bwMode="auto">
            <a:xfrm rot="486203">
              <a:off x="1699341" y="1993842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" name="组合 4"/>
          <p:cNvGrpSpPr/>
          <p:nvPr/>
        </p:nvGrpSpPr>
        <p:grpSpPr bwMode="auto">
          <a:xfrm>
            <a:off x="1425575" y="1708150"/>
            <a:ext cx="2028825" cy="277813"/>
            <a:chOff x="1425537" y="1530841"/>
            <a:chExt cx="2028804" cy="276999"/>
          </a:xfrm>
        </p:grpSpPr>
        <p:sp>
          <p:nvSpPr>
            <p:cNvPr id="6" name="AutoShape 141"/>
            <p:cNvSpPr>
              <a:spLocks noChangeArrowheads="1"/>
            </p:cNvSpPr>
            <p:nvPr/>
          </p:nvSpPr>
          <p:spPr bwMode="auto">
            <a:xfrm rot="493875">
              <a:off x="1425537" y="1559332"/>
              <a:ext cx="2028804" cy="204188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903" name="矩形 1"/>
            <p:cNvSpPr>
              <a:spLocks noChangeArrowheads="1"/>
            </p:cNvSpPr>
            <p:nvPr/>
          </p:nvSpPr>
          <p:spPr bwMode="auto">
            <a:xfrm rot="486203">
              <a:off x="1817867" y="1530841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 bwMode="auto">
          <a:xfrm>
            <a:off x="1776413" y="1319213"/>
            <a:ext cx="2028825" cy="277812"/>
            <a:chOff x="1776700" y="1142075"/>
            <a:chExt cx="2028804" cy="276999"/>
          </a:xfrm>
        </p:grpSpPr>
        <p:sp>
          <p:nvSpPr>
            <p:cNvPr id="9" name="AutoShape 140"/>
            <p:cNvSpPr>
              <a:spLocks noChangeArrowheads="1"/>
            </p:cNvSpPr>
            <p:nvPr/>
          </p:nvSpPr>
          <p:spPr bwMode="auto">
            <a:xfrm rot="510711">
              <a:off x="1776700" y="1199058"/>
              <a:ext cx="2028804" cy="205771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901" name="矩形 1"/>
            <p:cNvSpPr>
              <a:spLocks noChangeArrowheads="1"/>
            </p:cNvSpPr>
            <p:nvPr/>
          </p:nvSpPr>
          <p:spPr bwMode="auto">
            <a:xfrm rot="486203">
              <a:off x="2029992" y="1142075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组合 10"/>
          <p:cNvGrpSpPr/>
          <p:nvPr/>
        </p:nvGrpSpPr>
        <p:grpSpPr bwMode="auto">
          <a:xfrm>
            <a:off x="2305050" y="4119563"/>
            <a:ext cx="2028825" cy="276225"/>
            <a:chOff x="2305680" y="3941479"/>
            <a:chExt cx="2028803" cy="276999"/>
          </a:xfrm>
        </p:grpSpPr>
        <p:sp>
          <p:nvSpPr>
            <p:cNvPr id="12" name="AutoShape 145"/>
            <p:cNvSpPr>
              <a:spLocks noChangeArrowheads="1"/>
            </p:cNvSpPr>
            <p:nvPr/>
          </p:nvSpPr>
          <p:spPr bwMode="auto">
            <a:xfrm rot="-624321">
              <a:off x="2305680" y="3952622"/>
              <a:ext cx="2028803" cy="20536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9" name="矩形 1"/>
            <p:cNvSpPr>
              <a:spLocks noChangeArrowheads="1"/>
            </p:cNvSpPr>
            <p:nvPr/>
          </p:nvSpPr>
          <p:spPr bwMode="auto">
            <a:xfrm rot="-651000">
              <a:off x="2493314" y="3941479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 bwMode="auto">
          <a:xfrm>
            <a:off x="1849438" y="3897313"/>
            <a:ext cx="2028825" cy="277812"/>
            <a:chOff x="1850166" y="3720081"/>
            <a:chExt cx="2028803" cy="276999"/>
          </a:xfrm>
        </p:grpSpPr>
        <p:sp>
          <p:nvSpPr>
            <p:cNvPr id="15" name="AutoShape 144"/>
            <p:cNvSpPr>
              <a:spLocks noChangeArrowheads="1"/>
            </p:cNvSpPr>
            <p:nvPr/>
          </p:nvSpPr>
          <p:spPr bwMode="auto">
            <a:xfrm rot="-617404">
              <a:off x="1850166" y="3770732"/>
              <a:ext cx="2028803" cy="205771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7" name="矩形 1"/>
            <p:cNvSpPr>
              <a:spLocks noChangeArrowheads="1"/>
            </p:cNvSpPr>
            <p:nvPr/>
          </p:nvSpPr>
          <p:spPr bwMode="auto">
            <a:xfrm rot="-651000">
              <a:off x="2275702" y="3720081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 bwMode="auto">
          <a:xfrm>
            <a:off x="1489075" y="3533775"/>
            <a:ext cx="2028825" cy="276225"/>
            <a:chOff x="1488564" y="3355922"/>
            <a:chExt cx="2028804" cy="276999"/>
          </a:xfrm>
        </p:grpSpPr>
        <p:sp>
          <p:nvSpPr>
            <p:cNvPr id="18" name="AutoShape 143"/>
            <p:cNvSpPr>
              <a:spLocks noChangeArrowheads="1"/>
            </p:cNvSpPr>
            <p:nvPr/>
          </p:nvSpPr>
          <p:spPr bwMode="auto">
            <a:xfrm rot="-624321">
              <a:off x="1488564" y="3425968"/>
              <a:ext cx="2028804" cy="20536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5" name="矩形 1"/>
            <p:cNvSpPr>
              <a:spLocks noChangeArrowheads="1"/>
            </p:cNvSpPr>
            <p:nvPr/>
          </p:nvSpPr>
          <p:spPr bwMode="auto">
            <a:xfrm rot="-651000">
              <a:off x="2034278" y="3355922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" name="组合 19"/>
          <p:cNvGrpSpPr/>
          <p:nvPr/>
        </p:nvGrpSpPr>
        <p:grpSpPr bwMode="auto">
          <a:xfrm>
            <a:off x="5688013" y="3117850"/>
            <a:ext cx="2028825" cy="276225"/>
            <a:chOff x="5687585" y="2939884"/>
            <a:chExt cx="2028804" cy="276999"/>
          </a:xfrm>
        </p:grpSpPr>
        <p:sp>
          <p:nvSpPr>
            <p:cNvPr id="21" name="AutoShape 160"/>
            <p:cNvSpPr>
              <a:spLocks noChangeArrowheads="1"/>
            </p:cNvSpPr>
            <p:nvPr/>
          </p:nvSpPr>
          <p:spPr bwMode="auto">
            <a:xfrm rot="900000">
              <a:off x="5687585" y="2998787"/>
              <a:ext cx="2028804" cy="203769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3" name="矩形 1"/>
            <p:cNvSpPr>
              <a:spLocks noChangeArrowheads="1"/>
            </p:cNvSpPr>
            <p:nvPr/>
          </p:nvSpPr>
          <p:spPr bwMode="auto">
            <a:xfrm rot="890022">
              <a:off x="5953681" y="2939884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 bwMode="auto">
          <a:xfrm>
            <a:off x="5510213" y="3560763"/>
            <a:ext cx="2028825" cy="276225"/>
            <a:chOff x="5510376" y="3382887"/>
            <a:chExt cx="2028804" cy="276999"/>
          </a:xfrm>
        </p:grpSpPr>
        <p:sp>
          <p:nvSpPr>
            <p:cNvPr id="24" name="AutoShape 162"/>
            <p:cNvSpPr>
              <a:spLocks noChangeArrowheads="1"/>
            </p:cNvSpPr>
            <p:nvPr/>
          </p:nvSpPr>
          <p:spPr bwMode="auto">
            <a:xfrm rot="900000">
              <a:off x="5510376" y="3435421"/>
              <a:ext cx="2028804" cy="20536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1" name="矩形 1"/>
            <p:cNvSpPr>
              <a:spLocks noChangeArrowheads="1"/>
            </p:cNvSpPr>
            <p:nvPr/>
          </p:nvSpPr>
          <p:spPr bwMode="auto">
            <a:xfrm rot="890022">
              <a:off x="5794727" y="3382887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 bwMode="auto">
          <a:xfrm>
            <a:off x="5159375" y="3951288"/>
            <a:ext cx="2028825" cy="276225"/>
            <a:chOff x="5159873" y="3772859"/>
            <a:chExt cx="2028804" cy="276999"/>
          </a:xfrm>
        </p:grpSpPr>
        <p:sp>
          <p:nvSpPr>
            <p:cNvPr id="27" name="AutoShape 163"/>
            <p:cNvSpPr>
              <a:spLocks noChangeArrowheads="1"/>
            </p:cNvSpPr>
            <p:nvPr/>
          </p:nvSpPr>
          <p:spPr bwMode="auto">
            <a:xfrm rot="900000">
              <a:off x="5159873" y="3791962"/>
              <a:ext cx="2028804" cy="205361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89" name="矩形 1"/>
            <p:cNvSpPr>
              <a:spLocks noChangeArrowheads="1"/>
            </p:cNvSpPr>
            <p:nvPr/>
          </p:nvSpPr>
          <p:spPr bwMode="auto">
            <a:xfrm rot="890022">
              <a:off x="5578072" y="3772859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 bwMode="auto">
          <a:xfrm>
            <a:off x="5538788" y="1717675"/>
            <a:ext cx="2028825" cy="280988"/>
            <a:chOff x="5538408" y="1539680"/>
            <a:chExt cx="2028804" cy="280705"/>
          </a:xfrm>
        </p:grpSpPr>
        <p:sp>
          <p:nvSpPr>
            <p:cNvPr id="30" name="AutoShape 155"/>
            <p:cNvSpPr>
              <a:spLocks noChangeArrowheads="1"/>
            </p:cNvSpPr>
            <p:nvPr/>
          </p:nvSpPr>
          <p:spPr bwMode="auto">
            <a:xfrm rot="-547881">
              <a:off x="5538408" y="1539680"/>
              <a:ext cx="2028804" cy="20458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87" name="矩形 1"/>
            <p:cNvSpPr>
              <a:spLocks noChangeArrowheads="1"/>
            </p:cNvSpPr>
            <p:nvPr/>
          </p:nvSpPr>
          <p:spPr bwMode="auto">
            <a:xfrm rot="-510532">
              <a:off x="5682456" y="1543386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 bwMode="auto">
          <a:xfrm>
            <a:off x="5233988" y="1379538"/>
            <a:ext cx="2028825" cy="277812"/>
            <a:chOff x="5233920" y="1202028"/>
            <a:chExt cx="2028804" cy="276999"/>
          </a:xfrm>
        </p:grpSpPr>
        <p:sp>
          <p:nvSpPr>
            <p:cNvPr id="33" name="AutoShape 154"/>
            <p:cNvSpPr>
              <a:spLocks noChangeArrowheads="1"/>
            </p:cNvSpPr>
            <p:nvPr/>
          </p:nvSpPr>
          <p:spPr bwMode="auto">
            <a:xfrm rot="-541776">
              <a:off x="5233920" y="1228936"/>
              <a:ext cx="2028804" cy="204189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85" name="矩形 1"/>
            <p:cNvSpPr>
              <a:spLocks noChangeArrowheads="1"/>
            </p:cNvSpPr>
            <p:nvPr/>
          </p:nvSpPr>
          <p:spPr bwMode="auto">
            <a:xfrm rot="-510532">
              <a:off x="5528795" y="1202028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 bwMode="auto">
          <a:xfrm>
            <a:off x="4783138" y="1136650"/>
            <a:ext cx="2028825" cy="277813"/>
            <a:chOff x="4782609" y="959427"/>
            <a:chExt cx="2028804" cy="276999"/>
          </a:xfrm>
        </p:grpSpPr>
        <p:sp>
          <p:nvSpPr>
            <p:cNvPr id="36" name="AutoShape 152"/>
            <p:cNvSpPr>
              <a:spLocks noChangeArrowheads="1"/>
            </p:cNvSpPr>
            <p:nvPr/>
          </p:nvSpPr>
          <p:spPr bwMode="auto">
            <a:xfrm rot="-554123">
              <a:off x="4782609" y="1014827"/>
              <a:ext cx="2028804" cy="205770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83" name="矩形 1"/>
            <p:cNvSpPr>
              <a:spLocks noChangeArrowheads="1"/>
            </p:cNvSpPr>
            <p:nvPr/>
          </p:nvSpPr>
          <p:spPr bwMode="auto">
            <a:xfrm rot="-510532">
              <a:off x="5287050" y="959427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" name="组合 37"/>
          <p:cNvGrpSpPr/>
          <p:nvPr/>
        </p:nvGrpSpPr>
        <p:grpSpPr bwMode="auto">
          <a:xfrm>
            <a:off x="4321175" y="1363663"/>
            <a:ext cx="1500188" cy="982662"/>
            <a:chOff x="4320933" y="1186614"/>
            <a:chExt cx="1500432" cy="981602"/>
          </a:xfrm>
        </p:grpSpPr>
        <p:sp>
          <p:nvSpPr>
            <p:cNvPr id="34880" name="Line 58"/>
            <p:cNvSpPr>
              <a:spLocks noChangeShapeType="1"/>
            </p:cNvSpPr>
            <p:nvPr/>
          </p:nvSpPr>
          <p:spPr bwMode="auto">
            <a:xfrm>
              <a:off x="5673469" y="1819944"/>
              <a:ext cx="147896" cy="348272"/>
            </a:xfrm>
            <a:prstGeom prst="line">
              <a:avLst/>
            </a:prstGeom>
            <a:noFill/>
            <a:ln w="38100">
              <a:solidFill>
                <a:srgbClr val="FBB040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81" name="Freeform 57"/>
            <p:cNvSpPr/>
            <p:nvPr/>
          </p:nvSpPr>
          <p:spPr bwMode="auto">
            <a:xfrm>
              <a:off x="4320933" y="1186614"/>
              <a:ext cx="1352536" cy="622596"/>
            </a:xfrm>
            <a:custGeom>
              <a:avLst/>
              <a:gdLst>
                <a:gd name="T0" fmla="*/ 0 w 1134"/>
                <a:gd name="T1" fmla="*/ 0 h 522"/>
                <a:gd name="T2" fmla="*/ 2147483646 w 1134"/>
                <a:gd name="T3" fmla="*/ 2147483646 h 522"/>
                <a:gd name="T4" fmla="*/ 2147483646 w 1134"/>
                <a:gd name="T5" fmla="*/ 2147483646 h 522"/>
                <a:gd name="T6" fmla="*/ 2147483646 w 1134"/>
                <a:gd name="T7" fmla="*/ 2147483646 h 52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34" h="522">
                  <a:moveTo>
                    <a:pt x="0" y="0"/>
                  </a:moveTo>
                  <a:lnTo>
                    <a:pt x="499" y="68"/>
                  </a:lnTo>
                  <a:lnTo>
                    <a:pt x="884" y="250"/>
                  </a:lnTo>
                  <a:lnTo>
                    <a:pt x="1134" y="522"/>
                  </a:lnTo>
                </a:path>
              </a:pathLst>
            </a:custGeom>
            <a:noFill/>
            <a:ln w="38100" cap="flat" cmpd="sng">
              <a:solidFill>
                <a:srgbClr val="FBB04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139AFF">
                      <a:alpha val="30196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4" name="组合 43"/>
          <p:cNvGrpSpPr/>
          <p:nvPr/>
        </p:nvGrpSpPr>
        <p:grpSpPr bwMode="auto">
          <a:xfrm>
            <a:off x="3122613" y="1404938"/>
            <a:ext cx="990600" cy="1509712"/>
            <a:chOff x="3122257" y="1227166"/>
            <a:chExt cx="991144" cy="1509973"/>
          </a:xfrm>
        </p:grpSpPr>
        <p:sp>
          <p:nvSpPr>
            <p:cNvPr id="34878" name="Line 88"/>
            <p:cNvSpPr>
              <a:spLocks noChangeShapeType="1"/>
            </p:cNvSpPr>
            <p:nvPr/>
          </p:nvSpPr>
          <p:spPr bwMode="auto">
            <a:xfrm rot="10800000" flipH="1">
              <a:off x="3703108" y="1227166"/>
              <a:ext cx="410293" cy="205146"/>
            </a:xfrm>
            <a:prstGeom prst="line">
              <a:avLst/>
            </a:prstGeom>
            <a:noFill/>
            <a:ln w="38100">
              <a:solidFill>
                <a:srgbClr val="C76361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79" name="Freeform 89"/>
            <p:cNvSpPr/>
            <p:nvPr/>
          </p:nvSpPr>
          <p:spPr bwMode="auto">
            <a:xfrm rot="10800000">
              <a:off x="3122257" y="1438276"/>
              <a:ext cx="568924" cy="1298863"/>
            </a:xfrm>
            <a:custGeom>
              <a:avLst/>
              <a:gdLst>
                <a:gd name="T0" fmla="*/ 2147483646 w 477"/>
                <a:gd name="T1" fmla="*/ 0 h 1089"/>
                <a:gd name="T2" fmla="*/ 2147483646 w 477"/>
                <a:gd name="T3" fmla="*/ 2147483646 h 1089"/>
                <a:gd name="T4" fmla="*/ 2147483646 w 477"/>
                <a:gd name="T5" fmla="*/ 2147483646 h 1089"/>
                <a:gd name="T6" fmla="*/ 0 w 477"/>
                <a:gd name="T7" fmla="*/ 2147483646 h 108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77" h="1089">
                  <a:moveTo>
                    <a:pt x="477" y="0"/>
                  </a:moveTo>
                  <a:lnTo>
                    <a:pt x="454" y="431"/>
                  </a:lnTo>
                  <a:lnTo>
                    <a:pt x="295" y="794"/>
                  </a:lnTo>
                  <a:lnTo>
                    <a:pt x="0" y="1089"/>
                  </a:lnTo>
                </a:path>
              </a:pathLst>
            </a:custGeom>
            <a:noFill/>
            <a:ln w="38100" cap="flat" cmpd="sng">
              <a:solidFill>
                <a:srgbClr val="C7636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139AFF">
                      <a:alpha val="30196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0" name="组合 49"/>
          <p:cNvGrpSpPr/>
          <p:nvPr/>
        </p:nvGrpSpPr>
        <p:grpSpPr bwMode="auto">
          <a:xfrm>
            <a:off x="4872038" y="2540000"/>
            <a:ext cx="990600" cy="1509713"/>
            <a:chOff x="4871966" y="2361435"/>
            <a:chExt cx="991144" cy="1509973"/>
          </a:xfrm>
        </p:grpSpPr>
        <p:sp>
          <p:nvSpPr>
            <p:cNvPr id="34876" name="Line 72"/>
            <p:cNvSpPr>
              <a:spLocks noChangeShapeType="1"/>
            </p:cNvSpPr>
            <p:nvPr/>
          </p:nvSpPr>
          <p:spPr bwMode="auto">
            <a:xfrm flipH="1">
              <a:off x="4871966" y="3666262"/>
              <a:ext cx="410293" cy="205146"/>
            </a:xfrm>
            <a:prstGeom prst="line">
              <a:avLst/>
            </a:prstGeom>
            <a:noFill/>
            <a:ln w="38100">
              <a:solidFill>
                <a:srgbClr val="2B7EA3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77" name="Freeform 71"/>
            <p:cNvSpPr/>
            <p:nvPr/>
          </p:nvSpPr>
          <p:spPr bwMode="auto">
            <a:xfrm>
              <a:off x="5294186" y="2361435"/>
              <a:ext cx="568924" cy="1298863"/>
            </a:xfrm>
            <a:custGeom>
              <a:avLst/>
              <a:gdLst>
                <a:gd name="T0" fmla="*/ 2147483646 w 477"/>
                <a:gd name="T1" fmla="*/ 0 h 1089"/>
                <a:gd name="T2" fmla="*/ 2147483646 w 477"/>
                <a:gd name="T3" fmla="*/ 2147483646 h 1089"/>
                <a:gd name="T4" fmla="*/ 2147483646 w 477"/>
                <a:gd name="T5" fmla="*/ 2147483646 h 1089"/>
                <a:gd name="T6" fmla="*/ 0 w 477"/>
                <a:gd name="T7" fmla="*/ 2147483646 h 108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77" h="1089">
                  <a:moveTo>
                    <a:pt x="477" y="0"/>
                  </a:moveTo>
                  <a:lnTo>
                    <a:pt x="454" y="431"/>
                  </a:lnTo>
                  <a:lnTo>
                    <a:pt x="295" y="794"/>
                  </a:lnTo>
                  <a:lnTo>
                    <a:pt x="0" y="1089"/>
                  </a:lnTo>
                </a:path>
              </a:pathLst>
            </a:custGeom>
            <a:noFill/>
            <a:ln w="38100" cap="flat" cmpd="sng">
              <a:solidFill>
                <a:srgbClr val="2B7EA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139AFF">
                      <a:alpha val="30196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 bwMode="auto">
          <a:xfrm>
            <a:off x="3181350" y="3117850"/>
            <a:ext cx="1511300" cy="990600"/>
            <a:chOff x="3181893" y="2939900"/>
            <a:chExt cx="1509974" cy="991144"/>
          </a:xfrm>
        </p:grpSpPr>
        <p:sp>
          <p:nvSpPr>
            <p:cNvPr id="34874" name="Line 75"/>
            <p:cNvSpPr>
              <a:spLocks noChangeShapeType="1"/>
            </p:cNvSpPr>
            <p:nvPr/>
          </p:nvSpPr>
          <p:spPr bwMode="auto">
            <a:xfrm rot="5400000" flipH="1">
              <a:off x="3079320" y="3042473"/>
              <a:ext cx="410293" cy="205147"/>
            </a:xfrm>
            <a:prstGeom prst="line">
              <a:avLst/>
            </a:prstGeom>
            <a:noFill/>
            <a:ln w="38100">
              <a:solidFill>
                <a:srgbClr val="8CC63F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75" name="Freeform 76"/>
            <p:cNvSpPr/>
            <p:nvPr/>
          </p:nvSpPr>
          <p:spPr bwMode="auto">
            <a:xfrm rot="5400000">
              <a:off x="3757973" y="2997150"/>
              <a:ext cx="568924" cy="1298864"/>
            </a:xfrm>
            <a:custGeom>
              <a:avLst/>
              <a:gdLst>
                <a:gd name="T0" fmla="*/ 2147483646 w 477"/>
                <a:gd name="T1" fmla="*/ 0 h 1089"/>
                <a:gd name="T2" fmla="*/ 2147483646 w 477"/>
                <a:gd name="T3" fmla="*/ 2147483646 h 1089"/>
                <a:gd name="T4" fmla="*/ 2147483646 w 477"/>
                <a:gd name="T5" fmla="*/ 2147483646 h 1089"/>
                <a:gd name="T6" fmla="*/ 0 w 477"/>
                <a:gd name="T7" fmla="*/ 2147483646 h 108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77" h="1089">
                  <a:moveTo>
                    <a:pt x="477" y="0"/>
                  </a:moveTo>
                  <a:lnTo>
                    <a:pt x="454" y="431"/>
                  </a:lnTo>
                  <a:lnTo>
                    <a:pt x="295" y="794"/>
                  </a:lnTo>
                  <a:lnTo>
                    <a:pt x="0" y="1089"/>
                  </a:lnTo>
                </a:path>
              </a:pathLst>
            </a:custGeom>
            <a:noFill/>
            <a:ln w="38100" cap="flat" cmpd="sng">
              <a:solidFill>
                <a:srgbClr val="8CC63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139AFF">
                      <a:alpha val="30196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62" name="组合 61"/>
          <p:cNvGrpSpPr/>
          <p:nvPr/>
        </p:nvGrpSpPr>
        <p:grpSpPr bwMode="auto">
          <a:xfrm>
            <a:off x="4184650" y="1254224"/>
            <a:ext cx="236538" cy="233363"/>
            <a:chOff x="4184964" y="1075691"/>
            <a:chExt cx="236157" cy="233772"/>
          </a:xfrm>
          <a:effectLst>
            <a:outerShdw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3" name="Oval 45"/>
            <p:cNvSpPr>
              <a:spLocks noChangeArrowheads="1"/>
            </p:cNvSpPr>
            <p:nvPr/>
          </p:nvSpPr>
          <p:spPr bwMode="auto">
            <a:xfrm>
              <a:off x="4184964" y="1075691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FBB04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64" name="Oval 47"/>
            <p:cNvSpPr>
              <a:spLocks noChangeArrowheads="1"/>
            </p:cNvSpPr>
            <p:nvPr/>
          </p:nvSpPr>
          <p:spPr bwMode="auto">
            <a:xfrm>
              <a:off x="4252949" y="1144868"/>
              <a:ext cx="102573" cy="100188"/>
            </a:xfrm>
            <a:prstGeom prst="ellipse">
              <a:avLst/>
            </a:prstGeom>
            <a:solidFill>
              <a:srgbClr val="FBB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5" name="组合 64"/>
          <p:cNvGrpSpPr/>
          <p:nvPr/>
        </p:nvGrpSpPr>
        <p:grpSpPr bwMode="auto">
          <a:xfrm>
            <a:off x="5741988" y="2414687"/>
            <a:ext cx="234950" cy="233362"/>
            <a:chOff x="5741453" y="2236200"/>
            <a:chExt cx="236157" cy="233772"/>
          </a:xfrm>
          <a:effectLst>
            <a:outerShdw dist="762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6" name="Oval 51"/>
            <p:cNvSpPr>
              <a:spLocks noChangeArrowheads="1"/>
            </p:cNvSpPr>
            <p:nvPr/>
          </p:nvSpPr>
          <p:spPr bwMode="auto">
            <a:xfrm>
              <a:off x="5741453" y="223620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2B7EA3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67" name="Oval 52"/>
            <p:cNvSpPr>
              <a:spLocks noChangeArrowheads="1"/>
            </p:cNvSpPr>
            <p:nvPr/>
          </p:nvSpPr>
          <p:spPr bwMode="auto">
            <a:xfrm>
              <a:off x="5809438" y="2305377"/>
              <a:ext cx="102573" cy="100188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8" name="组合 67"/>
          <p:cNvGrpSpPr/>
          <p:nvPr/>
        </p:nvGrpSpPr>
        <p:grpSpPr bwMode="auto">
          <a:xfrm>
            <a:off x="4586288" y="3981549"/>
            <a:ext cx="234950" cy="233363"/>
            <a:chOff x="4585715" y="3803424"/>
            <a:chExt cx="236157" cy="233772"/>
          </a:xfrm>
          <a:effectLst>
            <a:outerShdw dist="508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69" name="Oval 63"/>
            <p:cNvSpPr>
              <a:spLocks noChangeArrowheads="1"/>
            </p:cNvSpPr>
            <p:nvPr/>
          </p:nvSpPr>
          <p:spPr bwMode="auto">
            <a:xfrm>
              <a:off x="4585715" y="3803424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8CC63F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70" name="Oval 64"/>
            <p:cNvSpPr>
              <a:spLocks noChangeArrowheads="1"/>
            </p:cNvSpPr>
            <p:nvPr/>
          </p:nvSpPr>
          <p:spPr bwMode="auto">
            <a:xfrm>
              <a:off x="4653700" y="3872601"/>
              <a:ext cx="102573" cy="100188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71" name="组合 70"/>
          <p:cNvGrpSpPr/>
          <p:nvPr/>
        </p:nvGrpSpPr>
        <p:grpSpPr bwMode="auto">
          <a:xfrm>
            <a:off x="3019425" y="2805212"/>
            <a:ext cx="236538" cy="233362"/>
            <a:chOff x="3019684" y="2627410"/>
            <a:chExt cx="236157" cy="233772"/>
          </a:xfrm>
          <a:effectLst>
            <a:outerShdw dist="508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72" name="Oval 66"/>
            <p:cNvSpPr>
              <a:spLocks noChangeArrowheads="1"/>
            </p:cNvSpPr>
            <p:nvPr/>
          </p:nvSpPr>
          <p:spPr bwMode="auto">
            <a:xfrm>
              <a:off x="3019684" y="262741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C7636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73" name="Oval 67"/>
            <p:cNvSpPr>
              <a:spLocks noChangeArrowheads="1"/>
            </p:cNvSpPr>
            <p:nvPr/>
          </p:nvSpPr>
          <p:spPr bwMode="auto">
            <a:xfrm>
              <a:off x="3087669" y="2696587"/>
              <a:ext cx="102573" cy="100188"/>
            </a:xfrm>
            <a:prstGeom prst="ellipse">
              <a:avLst/>
            </a:prstGeom>
            <a:solidFill>
              <a:srgbClr val="C76361"/>
            </a:solidFill>
            <a:ln w="9525">
              <a:solidFill>
                <a:schemeClr val="bg1"/>
              </a:solidFill>
              <a:rou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34838" name="Freeform 135"/>
          <p:cNvSpPr/>
          <p:nvPr/>
        </p:nvSpPr>
        <p:spPr bwMode="auto">
          <a:xfrm>
            <a:off x="4454525" y="2519363"/>
            <a:ext cx="0" cy="3175"/>
          </a:xfrm>
          <a:custGeom>
            <a:avLst/>
            <a:gdLst>
              <a:gd name="T0" fmla="*/ 0 h 2"/>
              <a:gd name="T1" fmla="*/ 2147483646 h 2"/>
              <a:gd name="T2" fmla="*/ 2147483646 h 2"/>
              <a:gd name="T3" fmla="*/ 2147483646 h 2"/>
              <a:gd name="T4" fmla="*/ 2147483646 h 2"/>
              <a:gd name="T5" fmla="*/ 0 h 2"/>
              <a:gd name="T6" fmla="*/ 0 h 2"/>
              <a:gd name="T7" fmla="*/ 0 h 2"/>
              <a:gd name="T8" fmla="*/ 0 h 2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0" y="T0"/>
              </a:cxn>
              <a:cxn ang="T10">
                <a:pos x="0" y="T1"/>
              </a:cxn>
              <a:cxn ang="T11">
                <a:pos x="0" y="T2"/>
              </a:cxn>
              <a:cxn ang="T12">
                <a:pos x="0" y="T3"/>
              </a:cxn>
              <a:cxn ang="T13">
                <a:pos x="0" y="T4"/>
              </a:cxn>
              <a:cxn ang="T14">
                <a:pos x="0" y="T5"/>
              </a:cxn>
              <a:cxn ang="T15">
                <a:pos x="0" y="T6"/>
              </a:cxn>
              <a:cxn ang="T16">
                <a:pos x="0" y="T7"/>
              </a:cxn>
              <a:cxn ang="T17">
                <a:pos x="0" y="T8"/>
              </a:cxn>
            </a:cxnLst>
            <a:rect l="0" t="0" r="r" b="b"/>
            <a:pathLst>
              <a:path h="2">
                <a:moveTo>
                  <a:pt x="0" y="0"/>
                </a:move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54B94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6" name="TextBox 75"/>
          <p:cNvSpPr txBox="1">
            <a:spLocks noChangeArrowheads="1"/>
          </p:cNvSpPr>
          <p:nvPr/>
        </p:nvSpPr>
        <p:spPr bwMode="auto">
          <a:xfrm>
            <a:off x="4067175" y="900113"/>
            <a:ext cx="9413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TextBox 76"/>
          <p:cNvSpPr txBox="1">
            <a:spLocks noChangeArrowheads="1"/>
          </p:cNvSpPr>
          <p:nvPr/>
        </p:nvSpPr>
        <p:spPr bwMode="auto">
          <a:xfrm>
            <a:off x="6053138" y="2386013"/>
            <a:ext cx="9429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TextBox 77"/>
          <p:cNvSpPr txBox="1">
            <a:spLocks noChangeArrowheads="1"/>
          </p:cNvSpPr>
          <p:nvPr/>
        </p:nvSpPr>
        <p:spPr bwMode="auto">
          <a:xfrm>
            <a:off x="4637088" y="4281488"/>
            <a:ext cx="941387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TextBox 78"/>
          <p:cNvSpPr txBox="1">
            <a:spLocks noChangeArrowheads="1"/>
          </p:cNvSpPr>
          <p:nvPr/>
        </p:nvSpPr>
        <p:spPr bwMode="auto">
          <a:xfrm>
            <a:off x="2032000" y="2795588"/>
            <a:ext cx="9413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矩形 1"/>
          <p:cNvSpPr>
            <a:spLocks noChangeArrowheads="1"/>
          </p:cNvSpPr>
          <p:nvPr/>
        </p:nvSpPr>
        <p:spPr bwMode="auto">
          <a:xfrm>
            <a:off x="3971925" y="2382838"/>
            <a:ext cx="1039813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zh-CN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en-US" altLang="zh-CN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1" name="组合 80"/>
          <p:cNvGrpSpPr/>
          <p:nvPr/>
        </p:nvGrpSpPr>
        <p:grpSpPr bwMode="auto">
          <a:xfrm>
            <a:off x="4370388" y="1619250"/>
            <a:ext cx="1228725" cy="1001713"/>
            <a:chOff x="4369834" y="1441854"/>
            <a:chExt cx="1228494" cy="1001878"/>
          </a:xfrm>
        </p:grpSpPr>
        <p:sp>
          <p:nvSpPr>
            <p:cNvPr id="82" name="Freeform 39"/>
            <p:cNvSpPr/>
            <p:nvPr/>
          </p:nvSpPr>
          <p:spPr bwMode="auto">
            <a:xfrm>
              <a:off x="4369834" y="1441854"/>
              <a:ext cx="1228494" cy="1001878"/>
            </a:xfrm>
            <a:custGeom>
              <a:avLst/>
              <a:gdLst>
                <a:gd name="T0" fmla="*/ 799480041 w 1030"/>
                <a:gd name="T1" fmla="*/ 1194951818 h 840"/>
                <a:gd name="T2" fmla="*/ 1465240299 w 1030"/>
                <a:gd name="T3" fmla="*/ 1101062729 h 840"/>
                <a:gd name="T4" fmla="*/ 1465240299 w 1030"/>
                <a:gd name="T5" fmla="*/ 1101062729 h 840"/>
                <a:gd name="T6" fmla="*/ 1451014816 w 1030"/>
                <a:gd name="T7" fmla="*/ 1035624591 h 840"/>
                <a:gd name="T8" fmla="*/ 1436789332 w 1030"/>
                <a:gd name="T9" fmla="*/ 973032263 h 840"/>
                <a:gd name="T10" fmla="*/ 1416873417 w 1030"/>
                <a:gd name="T11" fmla="*/ 910439935 h 840"/>
                <a:gd name="T12" fmla="*/ 1396957501 w 1030"/>
                <a:gd name="T13" fmla="*/ 850692224 h 840"/>
                <a:gd name="T14" fmla="*/ 1371351154 w 1030"/>
                <a:gd name="T15" fmla="*/ 793789132 h 840"/>
                <a:gd name="T16" fmla="*/ 1345744807 w 1030"/>
                <a:gd name="T17" fmla="*/ 734041422 h 840"/>
                <a:gd name="T18" fmla="*/ 1314448028 w 1030"/>
                <a:gd name="T19" fmla="*/ 679984140 h 840"/>
                <a:gd name="T20" fmla="*/ 1283152441 w 1030"/>
                <a:gd name="T21" fmla="*/ 625926859 h 840"/>
                <a:gd name="T22" fmla="*/ 1249011043 w 1030"/>
                <a:gd name="T23" fmla="*/ 574715388 h 840"/>
                <a:gd name="T24" fmla="*/ 1212023831 w 1030"/>
                <a:gd name="T25" fmla="*/ 523502724 h 840"/>
                <a:gd name="T26" fmla="*/ 1175037813 w 1030"/>
                <a:gd name="T27" fmla="*/ 475135871 h 840"/>
                <a:gd name="T28" fmla="*/ 1132360170 w 1030"/>
                <a:gd name="T29" fmla="*/ 429613635 h 840"/>
                <a:gd name="T30" fmla="*/ 1089683720 w 1030"/>
                <a:gd name="T31" fmla="*/ 384091400 h 840"/>
                <a:gd name="T32" fmla="*/ 1044161457 w 1030"/>
                <a:gd name="T33" fmla="*/ 341414975 h 840"/>
                <a:gd name="T34" fmla="*/ 998639194 w 1030"/>
                <a:gd name="T35" fmla="*/ 301583169 h 840"/>
                <a:gd name="T36" fmla="*/ 950272312 w 1030"/>
                <a:gd name="T37" fmla="*/ 264595980 h 840"/>
                <a:gd name="T38" fmla="*/ 899059618 w 1030"/>
                <a:gd name="T39" fmla="*/ 227609984 h 840"/>
                <a:gd name="T40" fmla="*/ 847848116 w 1030"/>
                <a:gd name="T41" fmla="*/ 196313223 h 840"/>
                <a:gd name="T42" fmla="*/ 793790802 w 1030"/>
                <a:gd name="T43" fmla="*/ 165017656 h 840"/>
                <a:gd name="T44" fmla="*/ 739733488 w 1030"/>
                <a:gd name="T45" fmla="*/ 136565513 h 840"/>
                <a:gd name="T46" fmla="*/ 682830361 w 1030"/>
                <a:gd name="T47" fmla="*/ 110960374 h 840"/>
                <a:gd name="T48" fmla="*/ 625928427 w 1030"/>
                <a:gd name="T49" fmla="*/ 85354042 h 840"/>
                <a:gd name="T50" fmla="*/ 569025301 w 1030"/>
                <a:gd name="T51" fmla="*/ 65438139 h 840"/>
                <a:gd name="T52" fmla="*/ 509277555 w 1030"/>
                <a:gd name="T53" fmla="*/ 48366853 h 840"/>
                <a:gd name="T54" fmla="*/ 446685189 w 1030"/>
                <a:gd name="T55" fmla="*/ 31296760 h 840"/>
                <a:gd name="T56" fmla="*/ 386937443 w 1030"/>
                <a:gd name="T57" fmla="*/ 19915903 h 840"/>
                <a:gd name="T58" fmla="*/ 324343885 w 1030"/>
                <a:gd name="T59" fmla="*/ 11380857 h 840"/>
                <a:gd name="T60" fmla="*/ 258906900 w 1030"/>
                <a:gd name="T61" fmla="*/ 2844618 h 840"/>
                <a:gd name="T62" fmla="*/ 196313341 w 1030"/>
                <a:gd name="T63" fmla="*/ 0 h 840"/>
                <a:gd name="T64" fmla="*/ 130876356 w 1030"/>
                <a:gd name="T65" fmla="*/ 0 h 840"/>
                <a:gd name="T66" fmla="*/ 65438178 w 1030"/>
                <a:gd name="T67" fmla="*/ 2844618 h 840"/>
                <a:gd name="T68" fmla="*/ 0 w 1030"/>
                <a:gd name="T69" fmla="*/ 8535046 h 840"/>
                <a:gd name="T70" fmla="*/ 96733764 w 1030"/>
                <a:gd name="T71" fmla="*/ 674293712 h 840"/>
                <a:gd name="T72" fmla="*/ 96733764 w 1030"/>
                <a:gd name="T73" fmla="*/ 674293712 h 840"/>
                <a:gd name="T74" fmla="*/ 156481510 w 1030"/>
                <a:gd name="T75" fmla="*/ 674293712 h 840"/>
                <a:gd name="T76" fmla="*/ 216229257 w 1030"/>
                <a:gd name="T77" fmla="*/ 677139522 h 840"/>
                <a:gd name="T78" fmla="*/ 275977003 w 1030"/>
                <a:gd name="T79" fmla="*/ 685674569 h 840"/>
                <a:gd name="T80" fmla="*/ 335724749 w 1030"/>
                <a:gd name="T81" fmla="*/ 699900044 h 840"/>
                <a:gd name="T82" fmla="*/ 389782063 w 1030"/>
                <a:gd name="T83" fmla="*/ 719815947 h 840"/>
                <a:gd name="T84" fmla="*/ 443839377 w 1030"/>
                <a:gd name="T85" fmla="*/ 742577661 h 840"/>
                <a:gd name="T86" fmla="*/ 495052071 w 1030"/>
                <a:gd name="T87" fmla="*/ 771028611 h 840"/>
                <a:gd name="T88" fmla="*/ 543418954 w 1030"/>
                <a:gd name="T89" fmla="*/ 805169989 h 840"/>
                <a:gd name="T90" fmla="*/ 588941216 w 1030"/>
                <a:gd name="T91" fmla="*/ 842155985 h 840"/>
                <a:gd name="T92" fmla="*/ 631617667 w 1030"/>
                <a:gd name="T93" fmla="*/ 881987792 h 840"/>
                <a:gd name="T94" fmla="*/ 668604878 w 1030"/>
                <a:gd name="T95" fmla="*/ 927510027 h 840"/>
                <a:gd name="T96" fmla="*/ 702746277 w 1030"/>
                <a:gd name="T97" fmla="*/ 973032263 h 840"/>
                <a:gd name="T98" fmla="*/ 734043056 w 1030"/>
                <a:gd name="T99" fmla="*/ 1024244926 h 840"/>
                <a:gd name="T100" fmla="*/ 759649403 w 1030"/>
                <a:gd name="T101" fmla="*/ 1078302208 h 840"/>
                <a:gd name="T102" fmla="*/ 782409938 w 1030"/>
                <a:gd name="T103" fmla="*/ 1135204108 h 840"/>
                <a:gd name="T104" fmla="*/ 799480041 w 1030"/>
                <a:gd name="T105" fmla="*/ 1194951818 h 840"/>
                <a:gd name="T106" fmla="*/ 799480041 w 1030"/>
                <a:gd name="T107" fmla="*/ 1194951818 h 84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030" h="840">
                  <a:moveTo>
                    <a:pt x="562" y="840"/>
                  </a:moveTo>
                  <a:lnTo>
                    <a:pt x="1030" y="774"/>
                  </a:lnTo>
                  <a:lnTo>
                    <a:pt x="1020" y="728"/>
                  </a:lnTo>
                  <a:lnTo>
                    <a:pt x="1010" y="684"/>
                  </a:lnTo>
                  <a:lnTo>
                    <a:pt x="996" y="640"/>
                  </a:lnTo>
                  <a:lnTo>
                    <a:pt x="982" y="598"/>
                  </a:lnTo>
                  <a:lnTo>
                    <a:pt x="964" y="558"/>
                  </a:lnTo>
                  <a:lnTo>
                    <a:pt x="946" y="516"/>
                  </a:lnTo>
                  <a:lnTo>
                    <a:pt x="924" y="478"/>
                  </a:lnTo>
                  <a:lnTo>
                    <a:pt x="902" y="440"/>
                  </a:lnTo>
                  <a:lnTo>
                    <a:pt x="878" y="404"/>
                  </a:lnTo>
                  <a:lnTo>
                    <a:pt x="852" y="368"/>
                  </a:lnTo>
                  <a:lnTo>
                    <a:pt x="826" y="334"/>
                  </a:lnTo>
                  <a:lnTo>
                    <a:pt x="796" y="302"/>
                  </a:lnTo>
                  <a:lnTo>
                    <a:pt x="766" y="270"/>
                  </a:lnTo>
                  <a:lnTo>
                    <a:pt x="734" y="240"/>
                  </a:lnTo>
                  <a:lnTo>
                    <a:pt x="702" y="212"/>
                  </a:lnTo>
                  <a:lnTo>
                    <a:pt x="668" y="186"/>
                  </a:lnTo>
                  <a:lnTo>
                    <a:pt x="632" y="160"/>
                  </a:lnTo>
                  <a:lnTo>
                    <a:pt x="596" y="138"/>
                  </a:lnTo>
                  <a:lnTo>
                    <a:pt x="558" y="116"/>
                  </a:lnTo>
                  <a:lnTo>
                    <a:pt x="520" y="96"/>
                  </a:lnTo>
                  <a:lnTo>
                    <a:pt x="480" y="78"/>
                  </a:lnTo>
                  <a:lnTo>
                    <a:pt x="440" y="60"/>
                  </a:lnTo>
                  <a:lnTo>
                    <a:pt x="400" y="46"/>
                  </a:lnTo>
                  <a:lnTo>
                    <a:pt x="358" y="34"/>
                  </a:lnTo>
                  <a:lnTo>
                    <a:pt x="314" y="22"/>
                  </a:lnTo>
                  <a:lnTo>
                    <a:pt x="272" y="14"/>
                  </a:lnTo>
                  <a:lnTo>
                    <a:pt x="228" y="8"/>
                  </a:lnTo>
                  <a:lnTo>
                    <a:pt x="182" y="2"/>
                  </a:lnTo>
                  <a:lnTo>
                    <a:pt x="138" y="0"/>
                  </a:lnTo>
                  <a:lnTo>
                    <a:pt x="92" y="0"/>
                  </a:lnTo>
                  <a:lnTo>
                    <a:pt x="46" y="2"/>
                  </a:lnTo>
                  <a:lnTo>
                    <a:pt x="0" y="6"/>
                  </a:lnTo>
                  <a:lnTo>
                    <a:pt x="68" y="474"/>
                  </a:lnTo>
                  <a:lnTo>
                    <a:pt x="110" y="474"/>
                  </a:lnTo>
                  <a:lnTo>
                    <a:pt x="152" y="476"/>
                  </a:lnTo>
                  <a:lnTo>
                    <a:pt x="194" y="482"/>
                  </a:lnTo>
                  <a:lnTo>
                    <a:pt x="236" y="492"/>
                  </a:lnTo>
                  <a:lnTo>
                    <a:pt x="274" y="506"/>
                  </a:lnTo>
                  <a:lnTo>
                    <a:pt x="312" y="522"/>
                  </a:lnTo>
                  <a:lnTo>
                    <a:pt x="348" y="542"/>
                  </a:lnTo>
                  <a:lnTo>
                    <a:pt x="382" y="566"/>
                  </a:lnTo>
                  <a:lnTo>
                    <a:pt x="414" y="592"/>
                  </a:lnTo>
                  <a:lnTo>
                    <a:pt x="444" y="620"/>
                  </a:lnTo>
                  <a:lnTo>
                    <a:pt x="470" y="652"/>
                  </a:lnTo>
                  <a:lnTo>
                    <a:pt x="494" y="684"/>
                  </a:lnTo>
                  <a:lnTo>
                    <a:pt x="516" y="720"/>
                  </a:lnTo>
                  <a:lnTo>
                    <a:pt x="534" y="758"/>
                  </a:lnTo>
                  <a:lnTo>
                    <a:pt x="550" y="798"/>
                  </a:lnTo>
                  <a:lnTo>
                    <a:pt x="562" y="84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73" name="TextBox 105"/>
            <p:cNvSpPr txBox="1">
              <a:spLocks noChangeArrowheads="1"/>
            </p:cNvSpPr>
            <p:nvPr/>
          </p:nvSpPr>
          <p:spPr bwMode="auto">
            <a:xfrm rot="2164657">
              <a:off x="4642248" y="1737610"/>
              <a:ext cx="683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%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4" name="组合 83"/>
          <p:cNvGrpSpPr/>
          <p:nvPr/>
        </p:nvGrpSpPr>
        <p:grpSpPr bwMode="auto">
          <a:xfrm>
            <a:off x="3382963" y="1636713"/>
            <a:ext cx="1001712" cy="1219200"/>
            <a:chOff x="3382268" y="1458552"/>
            <a:chExt cx="1001878" cy="1218952"/>
          </a:xfrm>
        </p:grpSpPr>
        <p:sp>
          <p:nvSpPr>
            <p:cNvPr id="85" name="Freeform 40"/>
            <p:cNvSpPr/>
            <p:nvPr/>
          </p:nvSpPr>
          <p:spPr bwMode="auto">
            <a:xfrm>
              <a:off x="3382268" y="1458552"/>
              <a:ext cx="1001878" cy="1218952"/>
            </a:xfrm>
            <a:custGeom>
              <a:avLst/>
              <a:gdLst>
                <a:gd name="T0" fmla="*/ 8535046 w 840"/>
                <a:gd name="T1" fmla="*/ 1453859079 h 1022"/>
                <a:gd name="T2" fmla="*/ 651533191 w 840"/>
                <a:gd name="T3" fmla="*/ 1362814576 h 1022"/>
                <a:gd name="T4" fmla="*/ 651533191 w 840"/>
                <a:gd name="T5" fmla="*/ 1362814576 h 1022"/>
                <a:gd name="T6" fmla="*/ 651533191 w 840"/>
                <a:gd name="T7" fmla="*/ 1300222225 h 1022"/>
                <a:gd name="T8" fmla="*/ 657223619 w 840"/>
                <a:gd name="T9" fmla="*/ 1237629875 h 1022"/>
                <a:gd name="T10" fmla="*/ 665758665 w 840"/>
                <a:gd name="T11" fmla="*/ 1177882144 h 1022"/>
                <a:gd name="T12" fmla="*/ 682829951 w 840"/>
                <a:gd name="T13" fmla="*/ 1120979031 h 1022"/>
                <a:gd name="T14" fmla="*/ 702745854 w 840"/>
                <a:gd name="T15" fmla="*/ 1064077111 h 1022"/>
                <a:gd name="T16" fmla="*/ 728350993 w 840"/>
                <a:gd name="T17" fmla="*/ 1012864429 h 1022"/>
                <a:gd name="T18" fmla="*/ 756803136 w 840"/>
                <a:gd name="T19" fmla="*/ 961652940 h 1022"/>
                <a:gd name="T20" fmla="*/ 790944514 w 840"/>
                <a:gd name="T21" fmla="*/ 913284877 h 1022"/>
                <a:gd name="T22" fmla="*/ 830776321 w 840"/>
                <a:gd name="T23" fmla="*/ 867763818 h 1022"/>
                <a:gd name="T24" fmla="*/ 873452746 w 840"/>
                <a:gd name="T25" fmla="*/ 825086186 h 1022"/>
                <a:gd name="T26" fmla="*/ 918974981 w 840"/>
                <a:gd name="T27" fmla="*/ 788100176 h 1022"/>
                <a:gd name="T28" fmla="*/ 967341834 w 840"/>
                <a:gd name="T29" fmla="*/ 753958786 h 1022"/>
                <a:gd name="T30" fmla="*/ 1018554498 w 840"/>
                <a:gd name="T31" fmla="*/ 725506633 h 1022"/>
                <a:gd name="T32" fmla="*/ 1075456397 w 840"/>
                <a:gd name="T33" fmla="*/ 699900292 h 1022"/>
                <a:gd name="T34" fmla="*/ 1132359490 w 840"/>
                <a:gd name="T35" fmla="*/ 679984382 h 1022"/>
                <a:gd name="T36" fmla="*/ 1194951818 w 840"/>
                <a:gd name="T37" fmla="*/ 665758902 h 1022"/>
                <a:gd name="T38" fmla="*/ 1101062729 w 840"/>
                <a:gd name="T39" fmla="*/ 0 h 1022"/>
                <a:gd name="T40" fmla="*/ 1101062729 w 840"/>
                <a:gd name="T41" fmla="*/ 0 h 1022"/>
                <a:gd name="T42" fmla="*/ 1035624591 w 840"/>
                <a:gd name="T43" fmla="*/ 14225480 h 1022"/>
                <a:gd name="T44" fmla="*/ 973032263 w 840"/>
                <a:gd name="T45" fmla="*/ 28450960 h 1022"/>
                <a:gd name="T46" fmla="*/ 913284552 w 840"/>
                <a:gd name="T47" fmla="*/ 48366870 h 1022"/>
                <a:gd name="T48" fmla="*/ 853536842 w 840"/>
                <a:gd name="T49" fmla="*/ 68282781 h 1022"/>
                <a:gd name="T50" fmla="*/ 793789132 w 840"/>
                <a:gd name="T51" fmla="*/ 93889122 h 1022"/>
                <a:gd name="T52" fmla="*/ 736887233 w 840"/>
                <a:gd name="T53" fmla="*/ 119495463 h 1022"/>
                <a:gd name="T54" fmla="*/ 682829951 w 840"/>
                <a:gd name="T55" fmla="*/ 147946423 h 1022"/>
                <a:gd name="T56" fmla="*/ 628772669 w 840"/>
                <a:gd name="T57" fmla="*/ 179243194 h 1022"/>
                <a:gd name="T58" fmla="*/ 577560005 w 840"/>
                <a:gd name="T59" fmla="*/ 213384585 h 1022"/>
                <a:gd name="T60" fmla="*/ 526347342 w 840"/>
                <a:gd name="T61" fmla="*/ 250370594 h 1022"/>
                <a:gd name="T62" fmla="*/ 477980489 w 840"/>
                <a:gd name="T63" fmla="*/ 290202415 h 1022"/>
                <a:gd name="T64" fmla="*/ 432458253 w 840"/>
                <a:gd name="T65" fmla="*/ 330034236 h 1022"/>
                <a:gd name="T66" fmla="*/ 386937211 w 840"/>
                <a:gd name="T67" fmla="*/ 372711868 h 1022"/>
                <a:gd name="T68" fmla="*/ 347105404 w 840"/>
                <a:gd name="T69" fmla="*/ 415388308 h 1022"/>
                <a:gd name="T70" fmla="*/ 304427787 w 840"/>
                <a:gd name="T71" fmla="*/ 463755179 h 1022"/>
                <a:gd name="T72" fmla="*/ 267441790 w 840"/>
                <a:gd name="T73" fmla="*/ 512122049 h 1022"/>
                <a:gd name="T74" fmla="*/ 233300412 w 840"/>
                <a:gd name="T75" fmla="*/ 560490112 h 1022"/>
                <a:gd name="T76" fmla="*/ 199159034 w 840"/>
                <a:gd name="T77" fmla="*/ 611701601 h 1022"/>
                <a:gd name="T78" fmla="*/ 167862273 w 840"/>
                <a:gd name="T79" fmla="*/ 665758902 h 1022"/>
                <a:gd name="T80" fmla="*/ 139411324 w 840"/>
                <a:gd name="T81" fmla="*/ 719816203 h 1022"/>
                <a:gd name="T82" fmla="*/ 113804992 w 840"/>
                <a:gd name="T83" fmla="*/ 773874697 h 1022"/>
                <a:gd name="T84" fmla="*/ 88198660 w 840"/>
                <a:gd name="T85" fmla="*/ 830776616 h 1022"/>
                <a:gd name="T86" fmla="*/ 68282757 w 840"/>
                <a:gd name="T87" fmla="*/ 890524348 h 1022"/>
                <a:gd name="T88" fmla="*/ 51212664 w 840"/>
                <a:gd name="T89" fmla="*/ 950272079 h 1022"/>
                <a:gd name="T90" fmla="*/ 34141378 w 840"/>
                <a:gd name="T91" fmla="*/ 1010019811 h 1022"/>
                <a:gd name="T92" fmla="*/ 22760521 w 840"/>
                <a:gd name="T93" fmla="*/ 1069767542 h 1022"/>
                <a:gd name="T94" fmla="*/ 11380857 w 840"/>
                <a:gd name="T95" fmla="*/ 1132359892 h 1022"/>
                <a:gd name="T96" fmla="*/ 5690428 w 840"/>
                <a:gd name="T97" fmla="*/ 1194952243 h 1022"/>
                <a:gd name="T98" fmla="*/ 0 w 840"/>
                <a:gd name="T99" fmla="*/ 1257545786 h 1022"/>
                <a:gd name="T100" fmla="*/ 0 w 840"/>
                <a:gd name="T101" fmla="*/ 1322982755 h 1022"/>
                <a:gd name="T102" fmla="*/ 2844618 w 840"/>
                <a:gd name="T103" fmla="*/ 1388420917 h 1022"/>
                <a:gd name="T104" fmla="*/ 8535046 w 840"/>
                <a:gd name="T105" fmla="*/ 1453859079 h 1022"/>
                <a:gd name="T106" fmla="*/ 8535046 w 840"/>
                <a:gd name="T107" fmla="*/ 1453859079 h 102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40" h="1022">
                  <a:moveTo>
                    <a:pt x="6" y="1022"/>
                  </a:moveTo>
                  <a:lnTo>
                    <a:pt x="458" y="958"/>
                  </a:lnTo>
                  <a:lnTo>
                    <a:pt x="458" y="914"/>
                  </a:lnTo>
                  <a:lnTo>
                    <a:pt x="462" y="870"/>
                  </a:lnTo>
                  <a:lnTo>
                    <a:pt x="468" y="828"/>
                  </a:lnTo>
                  <a:lnTo>
                    <a:pt x="480" y="788"/>
                  </a:lnTo>
                  <a:lnTo>
                    <a:pt x="494" y="748"/>
                  </a:lnTo>
                  <a:lnTo>
                    <a:pt x="512" y="712"/>
                  </a:lnTo>
                  <a:lnTo>
                    <a:pt x="532" y="676"/>
                  </a:lnTo>
                  <a:lnTo>
                    <a:pt x="556" y="642"/>
                  </a:lnTo>
                  <a:lnTo>
                    <a:pt x="584" y="610"/>
                  </a:lnTo>
                  <a:lnTo>
                    <a:pt x="614" y="580"/>
                  </a:lnTo>
                  <a:lnTo>
                    <a:pt x="646" y="554"/>
                  </a:lnTo>
                  <a:lnTo>
                    <a:pt x="680" y="530"/>
                  </a:lnTo>
                  <a:lnTo>
                    <a:pt x="716" y="510"/>
                  </a:lnTo>
                  <a:lnTo>
                    <a:pt x="756" y="492"/>
                  </a:lnTo>
                  <a:lnTo>
                    <a:pt x="796" y="478"/>
                  </a:lnTo>
                  <a:lnTo>
                    <a:pt x="840" y="468"/>
                  </a:lnTo>
                  <a:lnTo>
                    <a:pt x="774" y="0"/>
                  </a:lnTo>
                  <a:lnTo>
                    <a:pt x="728" y="10"/>
                  </a:lnTo>
                  <a:lnTo>
                    <a:pt x="684" y="20"/>
                  </a:lnTo>
                  <a:lnTo>
                    <a:pt x="642" y="34"/>
                  </a:lnTo>
                  <a:lnTo>
                    <a:pt x="600" y="48"/>
                  </a:lnTo>
                  <a:lnTo>
                    <a:pt x="558" y="66"/>
                  </a:lnTo>
                  <a:lnTo>
                    <a:pt x="518" y="84"/>
                  </a:lnTo>
                  <a:lnTo>
                    <a:pt x="480" y="104"/>
                  </a:lnTo>
                  <a:lnTo>
                    <a:pt x="442" y="126"/>
                  </a:lnTo>
                  <a:lnTo>
                    <a:pt x="406" y="150"/>
                  </a:lnTo>
                  <a:lnTo>
                    <a:pt x="370" y="176"/>
                  </a:lnTo>
                  <a:lnTo>
                    <a:pt x="336" y="204"/>
                  </a:lnTo>
                  <a:lnTo>
                    <a:pt x="304" y="232"/>
                  </a:lnTo>
                  <a:lnTo>
                    <a:pt x="272" y="262"/>
                  </a:lnTo>
                  <a:lnTo>
                    <a:pt x="244" y="292"/>
                  </a:lnTo>
                  <a:lnTo>
                    <a:pt x="214" y="326"/>
                  </a:lnTo>
                  <a:lnTo>
                    <a:pt x="188" y="360"/>
                  </a:lnTo>
                  <a:lnTo>
                    <a:pt x="164" y="394"/>
                  </a:lnTo>
                  <a:lnTo>
                    <a:pt x="140" y="430"/>
                  </a:lnTo>
                  <a:lnTo>
                    <a:pt x="118" y="468"/>
                  </a:lnTo>
                  <a:lnTo>
                    <a:pt x="98" y="506"/>
                  </a:lnTo>
                  <a:lnTo>
                    <a:pt x="80" y="544"/>
                  </a:lnTo>
                  <a:lnTo>
                    <a:pt x="62" y="584"/>
                  </a:lnTo>
                  <a:lnTo>
                    <a:pt x="48" y="626"/>
                  </a:lnTo>
                  <a:lnTo>
                    <a:pt x="36" y="668"/>
                  </a:lnTo>
                  <a:lnTo>
                    <a:pt x="24" y="710"/>
                  </a:lnTo>
                  <a:lnTo>
                    <a:pt x="16" y="752"/>
                  </a:lnTo>
                  <a:lnTo>
                    <a:pt x="8" y="796"/>
                  </a:lnTo>
                  <a:lnTo>
                    <a:pt x="4" y="840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2" y="976"/>
                  </a:lnTo>
                  <a:lnTo>
                    <a:pt x="6" y="1022"/>
                  </a:lnTo>
                  <a:close/>
                </a:path>
              </a:pathLst>
            </a:cu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871" name="TextBox 106"/>
            <p:cNvSpPr txBox="1">
              <a:spLocks noChangeArrowheads="1"/>
            </p:cNvSpPr>
            <p:nvPr/>
          </p:nvSpPr>
          <p:spPr bwMode="auto">
            <a:xfrm rot="-2918081">
              <a:off x="3566422" y="1845982"/>
              <a:ext cx="683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%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7" name="组合 86"/>
          <p:cNvGrpSpPr/>
          <p:nvPr/>
        </p:nvGrpSpPr>
        <p:grpSpPr bwMode="auto">
          <a:xfrm>
            <a:off x="3397250" y="2843213"/>
            <a:ext cx="1220788" cy="1009650"/>
            <a:chOff x="3396581" y="2665577"/>
            <a:chExt cx="1221337" cy="1009034"/>
          </a:xfrm>
        </p:grpSpPr>
        <p:sp>
          <p:nvSpPr>
            <p:cNvPr id="88" name="Freeform 41"/>
            <p:cNvSpPr/>
            <p:nvPr/>
          </p:nvSpPr>
          <p:spPr bwMode="auto">
            <a:xfrm>
              <a:off x="3396581" y="2665577"/>
              <a:ext cx="1221337" cy="1009034"/>
            </a:xfrm>
            <a:custGeom>
              <a:avLst/>
              <a:gdLst>
                <a:gd name="T0" fmla="*/ 642998149 w 1024"/>
                <a:gd name="T1" fmla="*/ 0 h 846"/>
                <a:gd name="T2" fmla="*/ 0 w 1024"/>
                <a:gd name="T3" fmla="*/ 91044446 h 846"/>
                <a:gd name="T4" fmla="*/ 0 w 1024"/>
                <a:gd name="T5" fmla="*/ 91044446 h 846"/>
                <a:gd name="T6" fmla="*/ 14225475 w 1024"/>
                <a:gd name="T7" fmla="*/ 156481374 h 846"/>
                <a:gd name="T8" fmla="*/ 28450950 w 1024"/>
                <a:gd name="T9" fmla="*/ 219074878 h 846"/>
                <a:gd name="T10" fmla="*/ 48366854 w 1024"/>
                <a:gd name="T11" fmla="*/ 281667190 h 846"/>
                <a:gd name="T12" fmla="*/ 68282757 w 1024"/>
                <a:gd name="T13" fmla="*/ 341414884 h 846"/>
                <a:gd name="T14" fmla="*/ 91044471 w 1024"/>
                <a:gd name="T15" fmla="*/ 401162578 h 846"/>
                <a:gd name="T16" fmla="*/ 119495421 w 1024"/>
                <a:gd name="T17" fmla="*/ 458064462 h 846"/>
                <a:gd name="T18" fmla="*/ 147946371 w 1024"/>
                <a:gd name="T19" fmla="*/ 514967539 h 846"/>
                <a:gd name="T20" fmla="*/ 179243132 w 1024"/>
                <a:gd name="T21" fmla="*/ 569024806 h 846"/>
                <a:gd name="T22" fmla="*/ 213384510 w 1024"/>
                <a:gd name="T23" fmla="*/ 620236263 h 846"/>
                <a:gd name="T24" fmla="*/ 250370507 w 1024"/>
                <a:gd name="T25" fmla="*/ 671448913 h 846"/>
                <a:gd name="T26" fmla="*/ 287357696 w 1024"/>
                <a:gd name="T27" fmla="*/ 719815753 h 846"/>
                <a:gd name="T28" fmla="*/ 327189503 w 1024"/>
                <a:gd name="T29" fmla="*/ 765337976 h 846"/>
                <a:gd name="T30" fmla="*/ 369865928 w 1024"/>
                <a:gd name="T31" fmla="*/ 810860199 h 846"/>
                <a:gd name="T32" fmla="*/ 415388164 w 1024"/>
                <a:gd name="T33" fmla="*/ 853536613 h 846"/>
                <a:gd name="T34" fmla="*/ 460910399 w 1024"/>
                <a:gd name="T35" fmla="*/ 893368409 h 846"/>
                <a:gd name="T36" fmla="*/ 509277253 w 1024"/>
                <a:gd name="T37" fmla="*/ 933200205 h 846"/>
                <a:gd name="T38" fmla="*/ 560488724 w 1024"/>
                <a:gd name="T39" fmla="*/ 967341574 h 846"/>
                <a:gd name="T40" fmla="*/ 611701389 w 1024"/>
                <a:gd name="T41" fmla="*/ 1001482943 h 846"/>
                <a:gd name="T42" fmla="*/ 662914053 w 1024"/>
                <a:gd name="T43" fmla="*/ 1032779695 h 846"/>
                <a:gd name="T44" fmla="*/ 719815953 w 1024"/>
                <a:gd name="T45" fmla="*/ 1064075254 h 846"/>
                <a:gd name="T46" fmla="*/ 773873235 w 1024"/>
                <a:gd name="T47" fmla="*/ 1089681579 h 846"/>
                <a:gd name="T48" fmla="*/ 830776327 w 1024"/>
                <a:gd name="T49" fmla="*/ 1112442094 h 846"/>
                <a:gd name="T50" fmla="*/ 890524038 w 1024"/>
                <a:gd name="T51" fmla="*/ 1135203802 h 846"/>
                <a:gd name="T52" fmla="*/ 950271749 w 1024"/>
                <a:gd name="T53" fmla="*/ 1152273890 h 846"/>
                <a:gd name="T54" fmla="*/ 1010018267 w 1024"/>
                <a:gd name="T55" fmla="*/ 1169345171 h 846"/>
                <a:gd name="T56" fmla="*/ 1072611788 w 1024"/>
                <a:gd name="T57" fmla="*/ 1180726025 h 846"/>
                <a:gd name="T58" fmla="*/ 1135204116 w 1024"/>
                <a:gd name="T59" fmla="*/ 1192105686 h 846"/>
                <a:gd name="T60" fmla="*/ 1197796445 w 1024"/>
                <a:gd name="T61" fmla="*/ 1197796113 h 846"/>
                <a:gd name="T62" fmla="*/ 1260389966 w 1024"/>
                <a:gd name="T63" fmla="*/ 1203486540 h 846"/>
                <a:gd name="T64" fmla="*/ 1325828105 w 1024"/>
                <a:gd name="T65" fmla="*/ 1203486540 h 846"/>
                <a:gd name="T66" fmla="*/ 1391265052 w 1024"/>
                <a:gd name="T67" fmla="*/ 1200641923 h 846"/>
                <a:gd name="T68" fmla="*/ 1456703191 w 1024"/>
                <a:gd name="T69" fmla="*/ 1194951496 h 846"/>
                <a:gd name="T70" fmla="*/ 1365658720 w 1024"/>
                <a:gd name="T71" fmla="*/ 554799335 h 846"/>
                <a:gd name="T72" fmla="*/ 1365658720 w 1024"/>
                <a:gd name="T73" fmla="*/ 554799335 h 846"/>
                <a:gd name="T74" fmla="*/ 1300221773 w 1024"/>
                <a:gd name="T75" fmla="*/ 557643952 h 846"/>
                <a:gd name="T76" fmla="*/ 1237628252 w 1024"/>
                <a:gd name="T77" fmla="*/ 551953525 h 846"/>
                <a:gd name="T78" fmla="*/ 1175035923 w 1024"/>
                <a:gd name="T79" fmla="*/ 543418481 h 846"/>
                <a:gd name="T80" fmla="*/ 1115288213 w 1024"/>
                <a:gd name="T81" fmla="*/ 529193010 h 846"/>
                <a:gd name="T82" fmla="*/ 1055540502 w 1024"/>
                <a:gd name="T83" fmla="*/ 509277112 h 846"/>
                <a:gd name="T84" fmla="*/ 1001483220 w 1024"/>
                <a:gd name="T85" fmla="*/ 483670787 h 846"/>
                <a:gd name="T86" fmla="*/ 947425938 w 1024"/>
                <a:gd name="T87" fmla="*/ 452374035 h 846"/>
                <a:gd name="T88" fmla="*/ 896214467 w 1024"/>
                <a:gd name="T89" fmla="*/ 418232666 h 846"/>
                <a:gd name="T90" fmla="*/ 850692231 w 1024"/>
                <a:gd name="T91" fmla="*/ 378400870 h 846"/>
                <a:gd name="T92" fmla="*/ 808014613 w 1024"/>
                <a:gd name="T93" fmla="*/ 335724457 h 846"/>
                <a:gd name="T94" fmla="*/ 768182806 w 1024"/>
                <a:gd name="T95" fmla="*/ 287357616 h 846"/>
                <a:gd name="T96" fmla="*/ 734041428 w 1024"/>
                <a:gd name="T97" fmla="*/ 236144967 h 846"/>
                <a:gd name="T98" fmla="*/ 702745860 w 1024"/>
                <a:gd name="T99" fmla="*/ 182087699 h 846"/>
                <a:gd name="T100" fmla="*/ 677139528 w 1024"/>
                <a:gd name="T101" fmla="*/ 125185815 h 846"/>
                <a:gd name="T102" fmla="*/ 657223624 w 1024"/>
                <a:gd name="T103" fmla="*/ 65438121 h 846"/>
                <a:gd name="T104" fmla="*/ 642998149 w 1024"/>
                <a:gd name="T105" fmla="*/ 0 h 846"/>
                <a:gd name="T106" fmla="*/ 642998149 w 1024"/>
                <a:gd name="T107" fmla="*/ 0 h 84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024" h="846">
                  <a:moveTo>
                    <a:pt x="452" y="0"/>
                  </a:moveTo>
                  <a:lnTo>
                    <a:pt x="0" y="64"/>
                  </a:lnTo>
                  <a:lnTo>
                    <a:pt x="10" y="110"/>
                  </a:lnTo>
                  <a:lnTo>
                    <a:pt x="20" y="154"/>
                  </a:lnTo>
                  <a:lnTo>
                    <a:pt x="34" y="198"/>
                  </a:lnTo>
                  <a:lnTo>
                    <a:pt x="48" y="240"/>
                  </a:lnTo>
                  <a:lnTo>
                    <a:pt x="64" y="282"/>
                  </a:lnTo>
                  <a:lnTo>
                    <a:pt x="84" y="322"/>
                  </a:lnTo>
                  <a:lnTo>
                    <a:pt x="104" y="362"/>
                  </a:lnTo>
                  <a:lnTo>
                    <a:pt x="126" y="400"/>
                  </a:lnTo>
                  <a:lnTo>
                    <a:pt x="150" y="436"/>
                  </a:lnTo>
                  <a:lnTo>
                    <a:pt x="176" y="472"/>
                  </a:lnTo>
                  <a:lnTo>
                    <a:pt x="202" y="506"/>
                  </a:lnTo>
                  <a:lnTo>
                    <a:pt x="230" y="538"/>
                  </a:lnTo>
                  <a:lnTo>
                    <a:pt x="260" y="570"/>
                  </a:lnTo>
                  <a:lnTo>
                    <a:pt x="292" y="600"/>
                  </a:lnTo>
                  <a:lnTo>
                    <a:pt x="324" y="628"/>
                  </a:lnTo>
                  <a:lnTo>
                    <a:pt x="358" y="656"/>
                  </a:lnTo>
                  <a:lnTo>
                    <a:pt x="394" y="680"/>
                  </a:lnTo>
                  <a:lnTo>
                    <a:pt x="430" y="704"/>
                  </a:lnTo>
                  <a:lnTo>
                    <a:pt x="466" y="726"/>
                  </a:lnTo>
                  <a:lnTo>
                    <a:pt x="506" y="748"/>
                  </a:lnTo>
                  <a:lnTo>
                    <a:pt x="544" y="766"/>
                  </a:lnTo>
                  <a:lnTo>
                    <a:pt x="584" y="782"/>
                  </a:lnTo>
                  <a:lnTo>
                    <a:pt x="626" y="798"/>
                  </a:lnTo>
                  <a:lnTo>
                    <a:pt x="668" y="810"/>
                  </a:lnTo>
                  <a:lnTo>
                    <a:pt x="710" y="822"/>
                  </a:lnTo>
                  <a:lnTo>
                    <a:pt x="754" y="830"/>
                  </a:lnTo>
                  <a:lnTo>
                    <a:pt x="798" y="838"/>
                  </a:lnTo>
                  <a:lnTo>
                    <a:pt x="842" y="842"/>
                  </a:lnTo>
                  <a:lnTo>
                    <a:pt x="886" y="846"/>
                  </a:lnTo>
                  <a:lnTo>
                    <a:pt x="932" y="846"/>
                  </a:lnTo>
                  <a:lnTo>
                    <a:pt x="978" y="844"/>
                  </a:lnTo>
                  <a:lnTo>
                    <a:pt x="1024" y="840"/>
                  </a:lnTo>
                  <a:lnTo>
                    <a:pt x="960" y="390"/>
                  </a:lnTo>
                  <a:lnTo>
                    <a:pt x="914" y="392"/>
                  </a:lnTo>
                  <a:lnTo>
                    <a:pt x="870" y="388"/>
                  </a:lnTo>
                  <a:lnTo>
                    <a:pt x="826" y="382"/>
                  </a:lnTo>
                  <a:lnTo>
                    <a:pt x="784" y="372"/>
                  </a:lnTo>
                  <a:lnTo>
                    <a:pt x="742" y="358"/>
                  </a:lnTo>
                  <a:lnTo>
                    <a:pt x="704" y="340"/>
                  </a:lnTo>
                  <a:lnTo>
                    <a:pt x="666" y="318"/>
                  </a:lnTo>
                  <a:lnTo>
                    <a:pt x="630" y="294"/>
                  </a:lnTo>
                  <a:lnTo>
                    <a:pt x="598" y="266"/>
                  </a:lnTo>
                  <a:lnTo>
                    <a:pt x="568" y="236"/>
                  </a:lnTo>
                  <a:lnTo>
                    <a:pt x="540" y="202"/>
                  </a:lnTo>
                  <a:lnTo>
                    <a:pt x="516" y="166"/>
                  </a:lnTo>
                  <a:lnTo>
                    <a:pt x="494" y="128"/>
                  </a:lnTo>
                  <a:lnTo>
                    <a:pt x="476" y="88"/>
                  </a:lnTo>
                  <a:lnTo>
                    <a:pt x="462" y="46"/>
                  </a:lnTo>
                  <a:lnTo>
                    <a:pt x="452" y="0"/>
                  </a:ln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69" name="TextBox 107"/>
            <p:cNvSpPr txBox="1">
              <a:spLocks noChangeArrowheads="1"/>
            </p:cNvSpPr>
            <p:nvPr/>
          </p:nvSpPr>
          <p:spPr bwMode="auto">
            <a:xfrm rot="2221921">
              <a:off x="3659796" y="3008968"/>
              <a:ext cx="683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%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0" name="组合 89"/>
          <p:cNvGrpSpPr/>
          <p:nvPr/>
        </p:nvGrpSpPr>
        <p:grpSpPr bwMode="auto">
          <a:xfrm>
            <a:off x="4605338" y="2606675"/>
            <a:ext cx="1009650" cy="1231900"/>
            <a:chOff x="4605991" y="2429420"/>
            <a:chExt cx="1009035" cy="1230879"/>
          </a:xfrm>
        </p:grpSpPr>
        <p:sp>
          <p:nvSpPr>
            <p:cNvPr id="91" name="Freeform 42"/>
            <p:cNvSpPr/>
            <p:nvPr/>
          </p:nvSpPr>
          <p:spPr bwMode="auto">
            <a:xfrm>
              <a:off x="4605991" y="2429420"/>
              <a:ext cx="1009035" cy="1230879"/>
            </a:xfrm>
            <a:custGeom>
              <a:avLst/>
              <a:gdLst>
                <a:gd name="T0" fmla="*/ 529193534 w 846"/>
                <a:gd name="T1" fmla="*/ 93889112 h 1032"/>
                <a:gd name="T2" fmla="*/ 529193534 w 846"/>
                <a:gd name="T3" fmla="*/ 93889112 h 1032"/>
                <a:gd name="T4" fmla="*/ 534883967 w 846"/>
                <a:gd name="T5" fmla="*/ 159327268 h 1032"/>
                <a:gd name="T6" fmla="*/ 532039347 w 846"/>
                <a:gd name="T7" fmla="*/ 221919612 h 1032"/>
                <a:gd name="T8" fmla="*/ 523503102 w 846"/>
                <a:gd name="T9" fmla="*/ 284511956 h 1032"/>
                <a:gd name="T10" fmla="*/ 509277617 w 846"/>
                <a:gd name="T11" fmla="*/ 344259681 h 1032"/>
                <a:gd name="T12" fmla="*/ 492207512 w 846"/>
                <a:gd name="T13" fmla="*/ 401162788 h 1032"/>
                <a:gd name="T14" fmla="*/ 466601161 w 846"/>
                <a:gd name="T15" fmla="*/ 458064702 h 1032"/>
                <a:gd name="T16" fmla="*/ 438150191 w 846"/>
                <a:gd name="T17" fmla="*/ 512121998 h 1032"/>
                <a:gd name="T18" fmla="*/ 404007595 w 846"/>
                <a:gd name="T19" fmla="*/ 560490056 h 1032"/>
                <a:gd name="T20" fmla="*/ 367021572 w 846"/>
                <a:gd name="T21" fmla="*/ 608856921 h 1032"/>
                <a:gd name="T22" fmla="*/ 324345117 w 846"/>
                <a:gd name="T23" fmla="*/ 651533357 h 1032"/>
                <a:gd name="T24" fmla="*/ 278822849 w 846"/>
                <a:gd name="T25" fmla="*/ 691365174 h 1032"/>
                <a:gd name="T26" fmla="*/ 230454768 w 846"/>
                <a:gd name="T27" fmla="*/ 728352372 h 1032"/>
                <a:gd name="T28" fmla="*/ 176397447 w 846"/>
                <a:gd name="T29" fmla="*/ 759647948 h 1032"/>
                <a:gd name="T30" fmla="*/ 122340127 w 846"/>
                <a:gd name="T31" fmla="*/ 785254286 h 1032"/>
                <a:gd name="T32" fmla="*/ 62592373 w 846"/>
                <a:gd name="T33" fmla="*/ 808016006 h 1032"/>
                <a:gd name="T34" fmla="*/ 0 w 846"/>
                <a:gd name="T35" fmla="*/ 822241485 h 1032"/>
                <a:gd name="T36" fmla="*/ 91044536 w 846"/>
                <a:gd name="T37" fmla="*/ 1468084411 h 1032"/>
                <a:gd name="T38" fmla="*/ 91044536 w 846"/>
                <a:gd name="T39" fmla="*/ 1468084411 h 1032"/>
                <a:gd name="T40" fmla="*/ 156481529 w 846"/>
                <a:gd name="T41" fmla="*/ 1453858933 h 1032"/>
                <a:gd name="T42" fmla="*/ 219075095 w 846"/>
                <a:gd name="T43" fmla="*/ 1439633454 h 1032"/>
                <a:gd name="T44" fmla="*/ 281667469 w 846"/>
                <a:gd name="T45" fmla="*/ 1419717546 h 1032"/>
                <a:gd name="T46" fmla="*/ 344259842 w 846"/>
                <a:gd name="T47" fmla="*/ 1399801637 h 1032"/>
                <a:gd name="T48" fmla="*/ 401162975 w 846"/>
                <a:gd name="T49" fmla="*/ 1374195299 h 1032"/>
                <a:gd name="T50" fmla="*/ 460910729 w 846"/>
                <a:gd name="T51" fmla="*/ 1348588961 h 1032"/>
                <a:gd name="T52" fmla="*/ 514968049 w 846"/>
                <a:gd name="T53" fmla="*/ 1320138004 h 1032"/>
                <a:gd name="T54" fmla="*/ 571871183 w 846"/>
                <a:gd name="T55" fmla="*/ 1288841235 h 1032"/>
                <a:gd name="T56" fmla="*/ 623082691 w 846"/>
                <a:gd name="T57" fmla="*/ 1254699848 h 1032"/>
                <a:gd name="T58" fmla="*/ 674295391 w 846"/>
                <a:gd name="T59" fmla="*/ 1217713843 h 1032"/>
                <a:gd name="T60" fmla="*/ 722662279 w 846"/>
                <a:gd name="T61" fmla="*/ 1177882026 h 1032"/>
                <a:gd name="T62" fmla="*/ 768184548 w 846"/>
                <a:gd name="T63" fmla="*/ 1138050209 h 1032"/>
                <a:gd name="T64" fmla="*/ 813706816 w 846"/>
                <a:gd name="T65" fmla="*/ 1095372580 h 1032"/>
                <a:gd name="T66" fmla="*/ 856383271 w 846"/>
                <a:gd name="T67" fmla="*/ 1049851526 h 1032"/>
                <a:gd name="T68" fmla="*/ 896215107 w 846"/>
                <a:gd name="T69" fmla="*/ 1001483468 h 1032"/>
                <a:gd name="T70" fmla="*/ 936046942 w 846"/>
                <a:gd name="T71" fmla="*/ 953116603 h 1032"/>
                <a:gd name="T72" fmla="*/ 973034158 w 846"/>
                <a:gd name="T73" fmla="*/ 904749737 h 1032"/>
                <a:gd name="T74" fmla="*/ 1004329748 w 846"/>
                <a:gd name="T75" fmla="*/ 850692442 h 1032"/>
                <a:gd name="T76" fmla="*/ 1035626531 w 846"/>
                <a:gd name="T77" fmla="*/ 799479765 h 1032"/>
                <a:gd name="T78" fmla="*/ 1066923314 w 846"/>
                <a:gd name="T79" fmla="*/ 742577851 h 1032"/>
                <a:gd name="T80" fmla="*/ 1092528472 w 846"/>
                <a:gd name="T81" fmla="*/ 688520555 h 1032"/>
                <a:gd name="T82" fmla="*/ 1115290202 w 846"/>
                <a:gd name="T83" fmla="*/ 628772830 h 1032"/>
                <a:gd name="T84" fmla="*/ 1138050740 w 846"/>
                <a:gd name="T85" fmla="*/ 571869723 h 1032"/>
                <a:gd name="T86" fmla="*/ 1155122038 w 846"/>
                <a:gd name="T87" fmla="*/ 512121998 h 1032"/>
                <a:gd name="T88" fmla="*/ 1169347523 w 846"/>
                <a:gd name="T89" fmla="*/ 449529654 h 1032"/>
                <a:gd name="T90" fmla="*/ 1183573008 w 846"/>
                <a:gd name="T91" fmla="*/ 386937310 h 1032"/>
                <a:gd name="T92" fmla="*/ 1192108061 w 846"/>
                <a:gd name="T93" fmla="*/ 324343773 h 1032"/>
                <a:gd name="T94" fmla="*/ 1200644306 w 846"/>
                <a:gd name="T95" fmla="*/ 261751429 h 1032"/>
                <a:gd name="T96" fmla="*/ 1203488926 w 846"/>
                <a:gd name="T97" fmla="*/ 196313273 h 1032"/>
                <a:gd name="T98" fmla="*/ 1203488926 w 846"/>
                <a:gd name="T99" fmla="*/ 133720929 h 1032"/>
                <a:gd name="T100" fmla="*/ 1200644306 w 846"/>
                <a:gd name="T101" fmla="*/ 68282774 h 1032"/>
                <a:gd name="T102" fmla="*/ 1194953873 w 846"/>
                <a:gd name="T103" fmla="*/ 0 h 1032"/>
                <a:gd name="T104" fmla="*/ 529193534 w 846"/>
                <a:gd name="T105" fmla="*/ 93889112 h 103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46" h="1032">
                  <a:moveTo>
                    <a:pt x="372" y="66"/>
                  </a:moveTo>
                  <a:lnTo>
                    <a:pt x="372" y="66"/>
                  </a:lnTo>
                  <a:lnTo>
                    <a:pt x="376" y="112"/>
                  </a:lnTo>
                  <a:lnTo>
                    <a:pt x="374" y="156"/>
                  </a:lnTo>
                  <a:lnTo>
                    <a:pt x="368" y="200"/>
                  </a:lnTo>
                  <a:lnTo>
                    <a:pt x="358" y="242"/>
                  </a:lnTo>
                  <a:lnTo>
                    <a:pt x="346" y="282"/>
                  </a:lnTo>
                  <a:lnTo>
                    <a:pt x="328" y="322"/>
                  </a:lnTo>
                  <a:lnTo>
                    <a:pt x="308" y="360"/>
                  </a:lnTo>
                  <a:lnTo>
                    <a:pt x="284" y="394"/>
                  </a:lnTo>
                  <a:lnTo>
                    <a:pt x="258" y="428"/>
                  </a:lnTo>
                  <a:lnTo>
                    <a:pt x="228" y="458"/>
                  </a:lnTo>
                  <a:lnTo>
                    <a:pt x="196" y="486"/>
                  </a:lnTo>
                  <a:lnTo>
                    <a:pt x="162" y="512"/>
                  </a:lnTo>
                  <a:lnTo>
                    <a:pt x="124" y="534"/>
                  </a:lnTo>
                  <a:lnTo>
                    <a:pt x="86" y="552"/>
                  </a:lnTo>
                  <a:lnTo>
                    <a:pt x="44" y="568"/>
                  </a:lnTo>
                  <a:lnTo>
                    <a:pt x="0" y="578"/>
                  </a:lnTo>
                  <a:lnTo>
                    <a:pt x="64" y="1032"/>
                  </a:lnTo>
                  <a:lnTo>
                    <a:pt x="110" y="1022"/>
                  </a:lnTo>
                  <a:lnTo>
                    <a:pt x="154" y="1012"/>
                  </a:lnTo>
                  <a:lnTo>
                    <a:pt x="198" y="998"/>
                  </a:lnTo>
                  <a:lnTo>
                    <a:pt x="242" y="984"/>
                  </a:lnTo>
                  <a:lnTo>
                    <a:pt x="282" y="966"/>
                  </a:lnTo>
                  <a:lnTo>
                    <a:pt x="324" y="948"/>
                  </a:lnTo>
                  <a:lnTo>
                    <a:pt x="362" y="928"/>
                  </a:lnTo>
                  <a:lnTo>
                    <a:pt x="402" y="906"/>
                  </a:lnTo>
                  <a:lnTo>
                    <a:pt x="438" y="882"/>
                  </a:lnTo>
                  <a:lnTo>
                    <a:pt x="474" y="856"/>
                  </a:lnTo>
                  <a:lnTo>
                    <a:pt x="508" y="828"/>
                  </a:lnTo>
                  <a:lnTo>
                    <a:pt x="540" y="800"/>
                  </a:lnTo>
                  <a:lnTo>
                    <a:pt x="572" y="770"/>
                  </a:lnTo>
                  <a:lnTo>
                    <a:pt x="602" y="738"/>
                  </a:lnTo>
                  <a:lnTo>
                    <a:pt x="630" y="704"/>
                  </a:lnTo>
                  <a:lnTo>
                    <a:pt x="658" y="670"/>
                  </a:lnTo>
                  <a:lnTo>
                    <a:pt x="684" y="636"/>
                  </a:lnTo>
                  <a:lnTo>
                    <a:pt x="706" y="598"/>
                  </a:lnTo>
                  <a:lnTo>
                    <a:pt x="728" y="562"/>
                  </a:lnTo>
                  <a:lnTo>
                    <a:pt x="750" y="522"/>
                  </a:lnTo>
                  <a:lnTo>
                    <a:pt x="768" y="484"/>
                  </a:lnTo>
                  <a:lnTo>
                    <a:pt x="784" y="442"/>
                  </a:lnTo>
                  <a:lnTo>
                    <a:pt x="800" y="402"/>
                  </a:lnTo>
                  <a:lnTo>
                    <a:pt x="812" y="360"/>
                  </a:lnTo>
                  <a:lnTo>
                    <a:pt x="822" y="316"/>
                  </a:lnTo>
                  <a:lnTo>
                    <a:pt x="832" y="272"/>
                  </a:lnTo>
                  <a:lnTo>
                    <a:pt x="838" y="228"/>
                  </a:lnTo>
                  <a:lnTo>
                    <a:pt x="844" y="184"/>
                  </a:lnTo>
                  <a:lnTo>
                    <a:pt x="846" y="138"/>
                  </a:lnTo>
                  <a:lnTo>
                    <a:pt x="846" y="94"/>
                  </a:lnTo>
                  <a:lnTo>
                    <a:pt x="844" y="48"/>
                  </a:lnTo>
                  <a:lnTo>
                    <a:pt x="840" y="0"/>
                  </a:lnTo>
                  <a:lnTo>
                    <a:pt x="372" y="66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67" name="TextBox 108"/>
            <p:cNvSpPr txBox="1">
              <a:spLocks noChangeArrowheads="1"/>
            </p:cNvSpPr>
            <p:nvPr/>
          </p:nvSpPr>
          <p:spPr bwMode="auto">
            <a:xfrm rot="-3093094">
              <a:off x="4795199" y="2826200"/>
              <a:ext cx="683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%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0" name="组合 99"/>
          <p:cNvGrpSpPr/>
          <p:nvPr/>
        </p:nvGrpSpPr>
        <p:grpSpPr bwMode="auto">
          <a:xfrm>
            <a:off x="4830585" y="1405795"/>
            <a:ext cx="82905" cy="81792"/>
            <a:chOff x="4184964" y="1075691"/>
            <a:chExt cx="236157" cy="233772"/>
          </a:xfrm>
          <a:solidFill>
            <a:schemeClr val="bg1"/>
          </a:solidFill>
          <a:effectLst>
            <a:outerShdw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1" name="Oval 45"/>
            <p:cNvSpPr>
              <a:spLocks noChangeArrowheads="1"/>
            </p:cNvSpPr>
            <p:nvPr/>
          </p:nvSpPr>
          <p:spPr bwMode="auto">
            <a:xfrm>
              <a:off x="4184964" y="1075691"/>
              <a:ext cx="236157" cy="233772"/>
            </a:xfrm>
            <a:prstGeom prst="ellipse">
              <a:avLst/>
            </a:prstGeom>
            <a:grpFill/>
            <a:ln w="63500" algn="ctr">
              <a:solidFill>
                <a:srgbClr val="FBB04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02" name="Oval 47"/>
            <p:cNvSpPr>
              <a:spLocks noChangeArrowheads="1"/>
            </p:cNvSpPr>
            <p:nvPr/>
          </p:nvSpPr>
          <p:spPr bwMode="auto">
            <a:xfrm>
              <a:off x="4252949" y="1144868"/>
              <a:ext cx="102573" cy="100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3" name="组合 102"/>
          <p:cNvGrpSpPr/>
          <p:nvPr/>
        </p:nvGrpSpPr>
        <p:grpSpPr bwMode="auto">
          <a:xfrm>
            <a:off x="5320733" y="1610148"/>
            <a:ext cx="82905" cy="81792"/>
            <a:chOff x="4184964" y="1075691"/>
            <a:chExt cx="236157" cy="233772"/>
          </a:xfrm>
          <a:solidFill>
            <a:schemeClr val="bg1"/>
          </a:solidFill>
          <a:effectLst>
            <a:outerShdw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4" name="Oval 45"/>
            <p:cNvSpPr>
              <a:spLocks noChangeArrowheads="1"/>
            </p:cNvSpPr>
            <p:nvPr/>
          </p:nvSpPr>
          <p:spPr bwMode="auto">
            <a:xfrm>
              <a:off x="4184964" y="1075691"/>
              <a:ext cx="236157" cy="233772"/>
            </a:xfrm>
            <a:prstGeom prst="ellipse">
              <a:avLst/>
            </a:prstGeom>
            <a:grpFill/>
            <a:ln w="63500" algn="ctr">
              <a:solidFill>
                <a:srgbClr val="FBB04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05" name="Oval 47"/>
            <p:cNvSpPr>
              <a:spLocks noChangeArrowheads="1"/>
            </p:cNvSpPr>
            <p:nvPr/>
          </p:nvSpPr>
          <p:spPr bwMode="auto">
            <a:xfrm>
              <a:off x="4252949" y="1144868"/>
              <a:ext cx="102573" cy="100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6" name="组合 105"/>
          <p:cNvGrpSpPr/>
          <p:nvPr/>
        </p:nvGrpSpPr>
        <p:grpSpPr bwMode="auto">
          <a:xfrm>
            <a:off x="5620493" y="1926236"/>
            <a:ext cx="82905" cy="81792"/>
            <a:chOff x="4184964" y="1075691"/>
            <a:chExt cx="236157" cy="233772"/>
          </a:xfrm>
          <a:solidFill>
            <a:schemeClr val="bg1"/>
          </a:solidFill>
          <a:effectLst>
            <a:outerShdw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7" name="Oval 45"/>
            <p:cNvSpPr>
              <a:spLocks noChangeArrowheads="1"/>
            </p:cNvSpPr>
            <p:nvPr/>
          </p:nvSpPr>
          <p:spPr bwMode="auto">
            <a:xfrm>
              <a:off x="4184964" y="1075691"/>
              <a:ext cx="236157" cy="233772"/>
            </a:xfrm>
            <a:prstGeom prst="ellipse">
              <a:avLst/>
            </a:prstGeom>
            <a:grpFill/>
            <a:ln w="63500" algn="ctr">
              <a:solidFill>
                <a:srgbClr val="FBB04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08" name="Oval 47"/>
            <p:cNvSpPr>
              <a:spLocks noChangeArrowheads="1"/>
            </p:cNvSpPr>
            <p:nvPr/>
          </p:nvSpPr>
          <p:spPr bwMode="auto">
            <a:xfrm>
              <a:off x="4252949" y="1144868"/>
              <a:ext cx="102573" cy="100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0" name="组合 109"/>
          <p:cNvGrpSpPr/>
          <p:nvPr/>
        </p:nvGrpSpPr>
        <p:grpSpPr bwMode="auto">
          <a:xfrm>
            <a:off x="5768660" y="3012061"/>
            <a:ext cx="90584" cy="89971"/>
            <a:chOff x="5741453" y="2236200"/>
            <a:chExt cx="236157" cy="233772"/>
          </a:xfrm>
          <a:effectLst>
            <a:outerShdw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1" name="Oval 51"/>
            <p:cNvSpPr>
              <a:spLocks noChangeArrowheads="1"/>
            </p:cNvSpPr>
            <p:nvPr/>
          </p:nvSpPr>
          <p:spPr bwMode="auto">
            <a:xfrm>
              <a:off x="5741453" y="223620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2B7EA3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12" name="Oval 52"/>
            <p:cNvSpPr>
              <a:spLocks noChangeArrowheads="1"/>
            </p:cNvSpPr>
            <p:nvPr/>
          </p:nvSpPr>
          <p:spPr bwMode="auto">
            <a:xfrm>
              <a:off x="5809438" y="2305377"/>
              <a:ext cx="102573" cy="10018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2B7EA3"/>
              </a:solidFill>
              <a:rou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3" name="组合 112"/>
          <p:cNvGrpSpPr/>
          <p:nvPr/>
        </p:nvGrpSpPr>
        <p:grpSpPr bwMode="auto">
          <a:xfrm>
            <a:off x="5602345" y="3446026"/>
            <a:ext cx="90584" cy="89971"/>
            <a:chOff x="5741453" y="2236200"/>
            <a:chExt cx="236157" cy="233772"/>
          </a:xfrm>
          <a:effectLst>
            <a:outerShdw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4" name="Oval 51"/>
            <p:cNvSpPr>
              <a:spLocks noChangeArrowheads="1"/>
            </p:cNvSpPr>
            <p:nvPr/>
          </p:nvSpPr>
          <p:spPr bwMode="auto">
            <a:xfrm>
              <a:off x="5741453" y="223620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2B7EA3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15" name="Oval 52"/>
            <p:cNvSpPr>
              <a:spLocks noChangeArrowheads="1"/>
            </p:cNvSpPr>
            <p:nvPr/>
          </p:nvSpPr>
          <p:spPr bwMode="auto">
            <a:xfrm>
              <a:off x="5809438" y="2305377"/>
              <a:ext cx="102573" cy="10018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2B7EA3"/>
              </a:solidFill>
              <a:rou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6" name="组合 115"/>
          <p:cNvGrpSpPr/>
          <p:nvPr/>
        </p:nvGrpSpPr>
        <p:grpSpPr bwMode="auto">
          <a:xfrm>
            <a:off x="5248734" y="3793688"/>
            <a:ext cx="90584" cy="89971"/>
            <a:chOff x="5741453" y="2236200"/>
            <a:chExt cx="236157" cy="233772"/>
          </a:xfrm>
          <a:effectLst>
            <a:outerShdw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7" name="Oval 51"/>
            <p:cNvSpPr>
              <a:spLocks noChangeArrowheads="1"/>
            </p:cNvSpPr>
            <p:nvPr/>
          </p:nvSpPr>
          <p:spPr bwMode="auto">
            <a:xfrm>
              <a:off x="5741453" y="223620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2B7EA3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18" name="Oval 52"/>
            <p:cNvSpPr>
              <a:spLocks noChangeArrowheads="1"/>
            </p:cNvSpPr>
            <p:nvPr/>
          </p:nvSpPr>
          <p:spPr bwMode="auto">
            <a:xfrm>
              <a:off x="5809438" y="2305377"/>
              <a:ext cx="102573" cy="10018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2B7EA3"/>
              </a:solidFill>
              <a:rou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9" name="组合 118"/>
          <p:cNvGrpSpPr/>
          <p:nvPr/>
        </p:nvGrpSpPr>
        <p:grpSpPr bwMode="auto">
          <a:xfrm>
            <a:off x="4131836" y="4009505"/>
            <a:ext cx="109606" cy="108865"/>
            <a:chOff x="4585715" y="3803424"/>
            <a:chExt cx="236157" cy="233772"/>
          </a:xfrm>
          <a:effectLst>
            <a:outerShdw dist="508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20" name="Oval 63"/>
            <p:cNvSpPr>
              <a:spLocks noChangeArrowheads="1"/>
            </p:cNvSpPr>
            <p:nvPr/>
          </p:nvSpPr>
          <p:spPr bwMode="auto">
            <a:xfrm>
              <a:off x="4585715" y="3803424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8CC63F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21" name="Oval 64"/>
            <p:cNvSpPr>
              <a:spLocks noChangeArrowheads="1"/>
            </p:cNvSpPr>
            <p:nvPr/>
          </p:nvSpPr>
          <p:spPr bwMode="auto">
            <a:xfrm>
              <a:off x="4653700" y="3872601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2" name="组合 121"/>
          <p:cNvGrpSpPr/>
          <p:nvPr/>
        </p:nvGrpSpPr>
        <p:grpSpPr bwMode="auto">
          <a:xfrm>
            <a:off x="3699686" y="3827858"/>
            <a:ext cx="109606" cy="108865"/>
            <a:chOff x="4585715" y="3803424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23" name="Oval 63"/>
            <p:cNvSpPr>
              <a:spLocks noChangeArrowheads="1"/>
            </p:cNvSpPr>
            <p:nvPr/>
          </p:nvSpPr>
          <p:spPr bwMode="auto">
            <a:xfrm>
              <a:off x="4585715" y="3803424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8CC63F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24" name="Oval 64"/>
            <p:cNvSpPr>
              <a:spLocks noChangeArrowheads="1"/>
            </p:cNvSpPr>
            <p:nvPr/>
          </p:nvSpPr>
          <p:spPr bwMode="auto">
            <a:xfrm>
              <a:off x="4653700" y="3872601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5" name="组合 124"/>
          <p:cNvGrpSpPr/>
          <p:nvPr/>
        </p:nvGrpSpPr>
        <p:grpSpPr bwMode="auto">
          <a:xfrm>
            <a:off x="3331875" y="3472650"/>
            <a:ext cx="109606" cy="108865"/>
            <a:chOff x="4585715" y="3803424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26" name="Oval 63"/>
            <p:cNvSpPr>
              <a:spLocks noChangeArrowheads="1"/>
            </p:cNvSpPr>
            <p:nvPr/>
          </p:nvSpPr>
          <p:spPr bwMode="auto">
            <a:xfrm>
              <a:off x="4585715" y="3803424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8CC63F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27" name="Oval 64"/>
            <p:cNvSpPr>
              <a:spLocks noChangeArrowheads="1"/>
            </p:cNvSpPr>
            <p:nvPr/>
          </p:nvSpPr>
          <p:spPr bwMode="auto">
            <a:xfrm>
              <a:off x="4653700" y="3872601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8" name="组合 127"/>
          <p:cNvGrpSpPr/>
          <p:nvPr/>
        </p:nvGrpSpPr>
        <p:grpSpPr bwMode="auto">
          <a:xfrm>
            <a:off x="3087520" y="2349599"/>
            <a:ext cx="110347" cy="108865"/>
            <a:chOff x="3019684" y="2627410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29" name="Oval 66"/>
            <p:cNvSpPr>
              <a:spLocks noChangeArrowheads="1"/>
            </p:cNvSpPr>
            <p:nvPr/>
          </p:nvSpPr>
          <p:spPr bwMode="auto">
            <a:xfrm>
              <a:off x="3019684" y="262741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C7636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30" name="Oval 67"/>
            <p:cNvSpPr>
              <a:spLocks noChangeArrowheads="1"/>
            </p:cNvSpPr>
            <p:nvPr/>
          </p:nvSpPr>
          <p:spPr bwMode="auto">
            <a:xfrm>
              <a:off x="3087669" y="2696587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31" name="组合 130"/>
          <p:cNvGrpSpPr/>
          <p:nvPr/>
        </p:nvGrpSpPr>
        <p:grpSpPr bwMode="auto">
          <a:xfrm>
            <a:off x="3282299" y="1913534"/>
            <a:ext cx="110347" cy="108865"/>
            <a:chOff x="3019684" y="2627410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32" name="Oval 66"/>
            <p:cNvSpPr>
              <a:spLocks noChangeArrowheads="1"/>
            </p:cNvSpPr>
            <p:nvPr/>
          </p:nvSpPr>
          <p:spPr bwMode="auto">
            <a:xfrm>
              <a:off x="3019684" y="262741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C7636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33" name="Oval 67"/>
            <p:cNvSpPr>
              <a:spLocks noChangeArrowheads="1"/>
            </p:cNvSpPr>
            <p:nvPr/>
          </p:nvSpPr>
          <p:spPr bwMode="auto">
            <a:xfrm>
              <a:off x="3087669" y="2696587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34" name="组合 133"/>
          <p:cNvGrpSpPr/>
          <p:nvPr/>
        </p:nvGrpSpPr>
        <p:grpSpPr bwMode="auto">
          <a:xfrm>
            <a:off x="3620892" y="1555715"/>
            <a:ext cx="110347" cy="108865"/>
            <a:chOff x="3019684" y="2627410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35" name="Oval 66"/>
            <p:cNvSpPr>
              <a:spLocks noChangeArrowheads="1"/>
            </p:cNvSpPr>
            <p:nvPr/>
          </p:nvSpPr>
          <p:spPr bwMode="auto">
            <a:xfrm>
              <a:off x="3019684" y="262741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C7636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36" name="Oval 67"/>
            <p:cNvSpPr>
              <a:spLocks noChangeArrowheads="1"/>
            </p:cNvSpPr>
            <p:nvPr/>
          </p:nvSpPr>
          <p:spPr bwMode="auto">
            <a:xfrm>
              <a:off x="3087669" y="2696587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34860" name="组合 13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4861" name="组合 93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97" name="矩形 96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99" name="矩形 98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4862" name="Freeform 77"/>
            <p:cNvSpPr>
              <a:spLocks noEditPoints="1"/>
            </p:cNvSpPr>
            <p:nvPr/>
          </p:nvSpPr>
          <p:spPr bwMode="auto">
            <a:xfrm>
              <a:off x="2082853" y="318761"/>
              <a:ext cx="273241" cy="220212"/>
            </a:xfrm>
            <a:custGeom>
              <a:avLst/>
              <a:gdLst>
                <a:gd name="T0" fmla="*/ 2147483646 w 60"/>
                <a:gd name="T1" fmla="*/ 2147483646 h 53"/>
                <a:gd name="T2" fmla="*/ 2147483646 w 60"/>
                <a:gd name="T3" fmla="*/ 2147483646 h 53"/>
                <a:gd name="T4" fmla="*/ 2147483646 w 60"/>
                <a:gd name="T5" fmla="*/ 2147483646 h 53"/>
                <a:gd name="T6" fmla="*/ 2147483646 w 60"/>
                <a:gd name="T7" fmla="*/ 2147483646 h 53"/>
                <a:gd name="T8" fmla="*/ 2147483646 w 60"/>
                <a:gd name="T9" fmla="*/ 2147483646 h 53"/>
                <a:gd name="T10" fmla="*/ 2147483646 w 60"/>
                <a:gd name="T11" fmla="*/ 2147483646 h 53"/>
                <a:gd name="T12" fmla="*/ 2147483646 w 60"/>
                <a:gd name="T13" fmla="*/ 2147483646 h 53"/>
                <a:gd name="T14" fmla="*/ 2147483646 w 60"/>
                <a:gd name="T15" fmla="*/ 2147483646 h 53"/>
                <a:gd name="T16" fmla="*/ 2147483646 w 60"/>
                <a:gd name="T17" fmla="*/ 2147483646 h 53"/>
                <a:gd name="T18" fmla="*/ 2147483646 w 60"/>
                <a:gd name="T19" fmla="*/ 2147483646 h 53"/>
                <a:gd name="T20" fmla="*/ 2147483646 w 60"/>
                <a:gd name="T21" fmla="*/ 2147483646 h 53"/>
                <a:gd name="T22" fmla="*/ 2147483646 w 60"/>
                <a:gd name="T23" fmla="*/ 2147483646 h 53"/>
                <a:gd name="T24" fmla="*/ 2147483646 w 60"/>
                <a:gd name="T25" fmla="*/ 2147483646 h 53"/>
                <a:gd name="T26" fmla="*/ 2147483646 w 60"/>
                <a:gd name="T27" fmla="*/ 2147483646 h 53"/>
                <a:gd name="T28" fmla="*/ 2147483646 w 60"/>
                <a:gd name="T29" fmla="*/ 2147483646 h 53"/>
                <a:gd name="T30" fmla="*/ 2147483646 w 60"/>
                <a:gd name="T31" fmla="*/ 2147483646 h 53"/>
                <a:gd name="T32" fmla="*/ 2147483646 w 60"/>
                <a:gd name="T33" fmla="*/ 0 h 53"/>
                <a:gd name="T34" fmla="*/ 2147483646 w 60"/>
                <a:gd name="T35" fmla="*/ 0 h 53"/>
                <a:gd name="T36" fmla="*/ 2147483646 w 60"/>
                <a:gd name="T37" fmla="*/ 0 h 53"/>
                <a:gd name="T38" fmla="*/ 2147483646 w 60"/>
                <a:gd name="T39" fmla="*/ 0 h 53"/>
                <a:gd name="T40" fmla="*/ 2147483646 w 60"/>
                <a:gd name="T41" fmla="*/ 2147483646 h 53"/>
                <a:gd name="T42" fmla="*/ 2147483646 w 60"/>
                <a:gd name="T43" fmla="*/ 2147483646 h 53"/>
                <a:gd name="T44" fmla="*/ 2147483646 w 60"/>
                <a:gd name="T45" fmla="*/ 2147483646 h 53"/>
                <a:gd name="T46" fmla="*/ 2147483646 w 60"/>
                <a:gd name="T47" fmla="*/ 2147483646 h 53"/>
                <a:gd name="T48" fmla="*/ 2147483646 w 60"/>
                <a:gd name="T49" fmla="*/ 0 h 53"/>
                <a:gd name="T50" fmla="*/ 2147483646 w 60"/>
                <a:gd name="T51" fmla="*/ 0 h 53"/>
                <a:gd name="T52" fmla="*/ 2147483646 w 60"/>
                <a:gd name="T53" fmla="*/ 2147483646 h 53"/>
                <a:gd name="T54" fmla="*/ 2147483646 w 60"/>
                <a:gd name="T55" fmla="*/ 2147483646 h 53"/>
                <a:gd name="T56" fmla="*/ 2147483646 w 60"/>
                <a:gd name="T57" fmla="*/ 2147483646 h 53"/>
                <a:gd name="T58" fmla="*/ 2147483646 w 60"/>
                <a:gd name="T59" fmla="*/ 2147483646 h 53"/>
                <a:gd name="T60" fmla="*/ 2147483646 w 60"/>
                <a:gd name="T61" fmla="*/ 2147483646 h 53"/>
                <a:gd name="T62" fmla="*/ 2147483646 w 60"/>
                <a:gd name="T63" fmla="*/ 2147483646 h 53"/>
                <a:gd name="T64" fmla="*/ 2147483646 w 60"/>
                <a:gd name="T65" fmla="*/ 2147483646 h 53"/>
                <a:gd name="T66" fmla="*/ 2147483646 w 60"/>
                <a:gd name="T67" fmla="*/ 2147483646 h 53"/>
                <a:gd name="T68" fmla="*/ 2147483646 w 60"/>
                <a:gd name="T69" fmla="*/ 2147483646 h 53"/>
                <a:gd name="T70" fmla="*/ 2147483646 w 60"/>
                <a:gd name="T71" fmla="*/ 2147483646 h 53"/>
                <a:gd name="T72" fmla="*/ 2147483646 w 60"/>
                <a:gd name="T73" fmla="*/ 2147483646 h 53"/>
                <a:gd name="T74" fmla="*/ 2147483646 w 60"/>
                <a:gd name="T75" fmla="*/ 2147483646 h 53"/>
                <a:gd name="T76" fmla="*/ 2147483646 w 60"/>
                <a:gd name="T77" fmla="*/ 2147483646 h 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60" h="53">
                  <a:moveTo>
                    <a:pt x="30" y="14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50"/>
                    <a:pt x="13" y="53"/>
                    <a:pt x="16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7" y="53"/>
                    <a:pt x="49" y="50"/>
                    <a:pt x="49" y="47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" y="26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3"/>
                    <a:pt x="0" y="22"/>
                    <a:pt x="2" y="2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1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1" y="1"/>
                    <a:pt x="32" y="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41" y="8"/>
                    <a:pt x="41" y="7"/>
                    <a:pt x="41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3" y="0"/>
                    <a:pt x="4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2"/>
                    <a:pt x="49" y="3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5"/>
                    <a:pt x="51" y="1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60" y="22"/>
                    <a:pt x="60" y="23"/>
                    <a:pt x="59" y="25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2" y="27"/>
                    <a:pt x="2" y="26"/>
                  </a:cubicBez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3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3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3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3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3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3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3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 tmFilter="0, 0; .2, .5; .8, .5; 1, 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0" autoRev="1" fill="hold"/>
                                        <p:tgtEl>
                                          <p:spTgt spid="8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8" presetID="2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 tmFilter="0, 0; .2, .5; .8, .5; 1, 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0" dur="250" autoRev="1" fill="hold"/>
                                        <p:tgtEl>
                                          <p:spTgt spid="8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2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9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26" presetClass="emph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 tmFilter="0, 0; .2, .5; .8, .5; 1, 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6" dur="250" autoRev="1" fill="hold"/>
                                        <p:tgtEl>
                                          <p:spTgt spid="8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3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3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3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3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6" presetClass="emph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300" tmFilter="0, 0; .2, .5; .8, .5; 1, 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3" dur="150" autoRev="1" fill="hold"/>
                                        <p:tgtEl>
                                          <p:spTgt spid="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6" presetClass="emph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3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9" dur="15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6" presetClass="emph" presetSubtype="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3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5" dur="1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4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4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4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4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1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6" presetClass="emph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300" tmFilter="0, 0; .2, .5; .8, .5; 1, 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2" dur="150" autoRev="1" fill="hold"/>
                                        <p:tgtEl>
                                          <p:spTgt spid="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6" presetClass="emph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3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8" dur="15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6" presetClass="emph" presetSubtype="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3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4" dur="1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4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4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4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3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6" presetClass="emph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3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1" dur="1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2" presetID="22" presetClass="entr" presetSubtype="2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26" presetClass="emph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3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7" dur="15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8" presetID="22" presetClass="entr" presetSubtype="2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26" presetClass="emph" presetSubtype="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2" dur="3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3" dur="1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4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4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4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4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22" presetClass="entr" presetSubtype="4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22" presetClass="entr" presetSubtype="2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4" dur="4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2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26" presetClass="emph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3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0" dur="1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1" presetID="22" presetClass="entr" presetSubtype="2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26" presetClass="emph" presetSubtype="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3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6" dur="1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22" presetClass="entr" presetSubtype="2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26" presetClass="emph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1" dur="3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2" dur="1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3" presetID="53" presetClass="entr" presetSubtype="16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0" dur="3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3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2" dur="3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3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3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3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0" dur="3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3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2" dur="3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4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4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4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4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4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2" dur="4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5" dur="4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4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7" dur="4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0" dur="4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1" dur="4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2" dur="4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5" dur="4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4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7" dur="4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0" dur="4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4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2" dur="4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5" dur="4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6" dur="4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7" dur="4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0" dur="4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1" dur="4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2" dur="4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5" dur="4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4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7" dur="4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  <p:bldP spid="77" grpId="0"/>
      <p:bldP spid="78" grpId="0"/>
      <p:bldP spid="79" grpId="0"/>
      <p:bldP spid="8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 1"/>
          <p:cNvSpPr/>
          <p:nvPr/>
        </p:nvSpPr>
        <p:spPr bwMode="auto">
          <a:xfrm>
            <a:off x="114300" y="1238250"/>
            <a:ext cx="4660900" cy="3057525"/>
          </a:xfrm>
          <a:custGeom>
            <a:avLst/>
            <a:gdLst>
              <a:gd name="T0" fmla="*/ 0 w 4660900"/>
              <a:gd name="T1" fmla="*/ 2933141 h 3058108"/>
              <a:gd name="T2" fmla="*/ 0 w 4660900"/>
              <a:gd name="T3" fmla="*/ 2304611 h 3058108"/>
              <a:gd name="T4" fmla="*/ 4660900 w 4660900"/>
              <a:gd name="T5" fmla="*/ 0 h 3058108"/>
              <a:gd name="T6" fmla="*/ 4660900 w 4660900"/>
              <a:gd name="T7" fmla="*/ 2285564 h 3058108"/>
              <a:gd name="T8" fmla="*/ 0 w 4660900"/>
              <a:gd name="T9" fmla="*/ 2933141 h 305810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660900" h="3058108">
                <a:moveTo>
                  <a:pt x="0" y="2933700"/>
                </a:moveTo>
                <a:lnTo>
                  <a:pt x="0" y="2305050"/>
                </a:lnTo>
                <a:cubicBezTo>
                  <a:pt x="2525183" y="2190750"/>
                  <a:pt x="3920067" y="1009650"/>
                  <a:pt x="4660900" y="0"/>
                </a:cubicBezTo>
                <a:lnTo>
                  <a:pt x="4660900" y="2286000"/>
                </a:lnTo>
                <a:cubicBezTo>
                  <a:pt x="3361267" y="3208867"/>
                  <a:pt x="982133" y="3128433"/>
                  <a:pt x="0" y="2933700"/>
                </a:cubicBezTo>
                <a:close/>
              </a:path>
            </a:pathLst>
          </a:cu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" name="Freeform 2"/>
          <p:cNvSpPr/>
          <p:nvPr/>
        </p:nvSpPr>
        <p:spPr bwMode="auto">
          <a:xfrm>
            <a:off x="104775" y="1185863"/>
            <a:ext cx="4664075" cy="2389187"/>
          </a:xfrm>
          <a:custGeom>
            <a:avLst/>
            <a:gdLst>
              <a:gd name="T0" fmla="*/ 2147483647 w 4094"/>
              <a:gd name="T1" fmla="*/ 0 h 2097"/>
              <a:gd name="T2" fmla="*/ 2147483647 w 4094"/>
              <a:gd name="T3" fmla="*/ 120712619 h 2097"/>
              <a:gd name="T4" fmla="*/ 2147483647 w 4094"/>
              <a:gd name="T5" fmla="*/ 350456249 h 2097"/>
              <a:gd name="T6" fmla="*/ 2147483647 w 4094"/>
              <a:gd name="T7" fmla="*/ 565921723 h 2097"/>
              <a:gd name="T8" fmla="*/ 2147483647 w 4094"/>
              <a:gd name="T9" fmla="*/ 767109042 h 2097"/>
              <a:gd name="T10" fmla="*/ 2147483647 w 4094"/>
              <a:gd name="T11" fmla="*/ 955317049 h 2097"/>
              <a:gd name="T12" fmla="*/ 2147483647 w 4094"/>
              <a:gd name="T13" fmla="*/ 1130545743 h 2097"/>
              <a:gd name="T14" fmla="*/ 2147483647 w 4094"/>
              <a:gd name="T15" fmla="*/ 1294091688 h 2097"/>
              <a:gd name="T16" fmla="*/ 2147483647 w 4094"/>
              <a:gd name="T17" fmla="*/ 1445956025 h 2097"/>
              <a:gd name="T18" fmla="*/ 2147483647 w 4094"/>
              <a:gd name="T19" fmla="*/ 1583542206 h 2097"/>
              <a:gd name="T20" fmla="*/ 2147483647 w 4094"/>
              <a:gd name="T21" fmla="*/ 1712042185 h 2097"/>
              <a:gd name="T22" fmla="*/ 2147483647 w 4094"/>
              <a:gd name="T23" fmla="*/ 1828861694 h 2097"/>
              <a:gd name="T24" fmla="*/ 2147483647 w 4094"/>
              <a:gd name="T25" fmla="*/ 1936593861 h 2097"/>
              <a:gd name="T26" fmla="*/ 2147483647 w 4094"/>
              <a:gd name="T27" fmla="*/ 2035240966 h 2097"/>
              <a:gd name="T28" fmla="*/ 2147483647 w 4094"/>
              <a:gd name="T29" fmla="*/ 2123504165 h 2097"/>
              <a:gd name="T30" fmla="*/ 2147483647 w 4094"/>
              <a:gd name="T31" fmla="*/ 2147483647 h 2097"/>
              <a:gd name="T32" fmla="*/ 2130862525 w 4094"/>
              <a:gd name="T33" fmla="*/ 2147483647 h 2097"/>
              <a:gd name="T34" fmla="*/ 2028342875 w 4094"/>
              <a:gd name="T35" fmla="*/ 2147483647 h 2097"/>
              <a:gd name="T36" fmla="*/ 1844065204 w 4094"/>
              <a:gd name="T37" fmla="*/ 2147483647 h 2097"/>
              <a:gd name="T38" fmla="*/ 1663681477 w 4094"/>
              <a:gd name="T39" fmla="*/ 2147483647 h 2097"/>
              <a:gd name="T40" fmla="*/ 1491084499 w 4094"/>
              <a:gd name="T41" fmla="*/ 2147483647 h 2097"/>
              <a:gd name="T42" fmla="*/ 1160165302 w 4094"/>
              <a:gd name="T43" fmla="*/ 2147483647 h 2097"/>
              <a:gd name="T44" fmla="*/ 857795621 w 4094"/>
              <a:gd name="T45" fmla="*/ 2147483647 h 2097"/>
              <a:gd name="T46" fmla="*/ 589167002 w 4094"/>
              <a:gd name="T47" fmla="*/ 2147483647 h 2097"/>
              <a:gd name="T48" fmla="*/ 363362658 w 4094"/>
              <a:gd name="T49" fmla="*/ 2147483647 h 2097"/>
              <a:gd name="T50" fmla="*/ 180383727 w 4094"/>
              <a:gd name="T51" fmla="*/ 2147483647 h 2097"/>
              <a:gd name="T52" fmla="*/ 0 w 4094"/>
              <a:gd name="T53" fmla="*/ 2147483647 h 2097"/>
              <a:gd name="T54" fmla="*/ 0 w 4094"/>
              <a:gd name="T55" fmla="*/ 2147483647 h 2097"/>
              <a:gd name="T56" fmla="*/ 107711196 w 4094"/>
              <a:gd name="T57" fmla="*/ 2147483647 h 2097"/>
              <a:gd name="T58" fmla="*/ 268628619 w 4094"/>
              <a:gd name="T59" fmla="*/ 2147483647 h 2097"/>
              <a:gd name="T60" fmla="*/ 474966659 w 4094"/>
              <a:gd name="T61" fmla="*/ 2147483647 h 2097"/>
              <a:gd name="T62" fmla="*/ 725427714 w 4094"/>
              <a:gd name="T63" fmla="*/ 2147483647 h 2097"/>
              <a:gd name="T64" fmla="*/ 1013522637 w 4094"/>
              <a:gd name="T65" fmla="*/ 2147483647 h 2097"/>
              <a:gd name="T66" fmla="*/ 1332762279 w 4094"/>
              <a:gd name="T67" fmla="*/ 2147483647 h 2097"/>
              <a:gd name="T68" fmla="*/ 1592307686 w 4094"/>
              <a:gd name="T69" fmla="*/ 2147483647 h 2097"/>
              <a:gd name="T70" fmla="*/ 1770095071 w 4094"/>
              <a:gd name="T71" fmla="*/ 2147483647 h 2097"/>
              <a:gd name="T72" fmla="*/ 1954371603 w 4094"/>
              <a:gd name="T73" fmla="*/ 2147483647 h 2097"/>
              <a:gd name="T74" fmla="*/ 2047808040 w 4094"/>
              <a:gd name="T75" fmla="*/ 2147483647 h 2097"/>
              <a:gd name="T76" fmla="*/ 2147483647 w 4094"/>
              <a:gd name="T77" fmla="*/ 2147483647 h 2097"/>
              <a:gd name="T78" fmla="*/ 2147483647 w 4094"/>
              <a:gd name="T79" fmla="*/ 2147483647 h 2097"/>
              <a:gd name="T80" fmla="*/ 2147483647 w 4094"/>
              <a:gd name="T81" fmla="*/ 2145569680 h 2097"/>
              <a:gd name="T82" fmla="*/ 2147483647 w 4094"/>
              <a:gd name="T83" fmla="*/ 2054711074 h 2097"/>
              <a:gd name="T84" fmla="*/ 2147483647 w 4094"/>
              <a:gd name="T85" fmla="*/ 1953467423 h 2097"/>
              <a:gd name="T86" fmla="*/ 2147483647 w 4094"/>
              <a:gd name="T87" fmla="*/ 1841841007 h 2097"/>
              <a:gd name="T88" fmla="*/ 2147483647 w 4094"/>
              <a:gd name="T89" fmla="*/ 1722426091 h 2097"/>
              <a:gd name="T90" fmla="*/ 2147483647 w 4094"/>
              <a:gd name="T91" fmla="*/ 1590031862 h 2097"/>
              <a:gd name="T92" fmla="*/ 2147483647 w 4094"/>
              <a:gd name="T93" fmla="*/ 1448551431 h 2097"/>
              <a:gd name="T94" fmla="*/ 2147483647 w 4094"/>
              <a:gd name="T95" fmla="*/ 1294091688 h 2097"/>
              <a:gd name="T96" fmla="*/ 2147483647 w 4094"/>
              <a:gd name="T97" fmla="*/ 1129246900 h 2097"/>
              <a:gd name="T98" fmla="*/ 2147483647 w 4094"/>
              <a:gd name="T99" fmla="*/ 952721642 h 2097"/>
              <a:gd name="T100" fmla="*/ 2147483647 w 4094"/>
              <a:gd name="T101" fmla="*/ 761917089 h 2097"/>
              <a:gd name="T102" fmla="*/ 2147483647 w 4094"/>
              <a:gd name="T103" fmla="*/ 559432067 h 2097"/>
              <a:gd name="T104" fmla="*/ 2147483647 w 4094"/>
              <a:gd name="T105" fmla="*/ 340072343 h 2097"/>
              <a:gd name="T106" fmla="*/ 2147483647 w 4094"/>
              <a:gd name="T107" fmla="*/ 109031010 h 2097"/>
              <a:gd name="T108" fmla="*/ 2147483647 w 4094"/>
              <a:gd name="T109" fmla="*/ 0 h 209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094"/>
              <a:gd name="T166" fmla="*/ 0 h 2097"/>
              <a:gd name="T167" fmla="*/ 4094 w 4094"/>
              <a:gd name="T168" fmla="*/ 2097 h 209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094" h="2097">
                <a:moveTo>
                  <a:pt x="4094" y="0"/>
                </a:moveTo>
                <a:lnTo>
                  <a:pt x="4094" y="0"/>
                </a:lnTo>
                <a:lnTo>
                  <a:pt x="4061" y="47"/>
                </a:lnTo>
                <a:lnTo>
                  <a:pt x="4027" y="93"/>
                </a:lnTo>
                <a:lnTo>
                  <a:pt x="3958" y="182"/>
                </a:lnTo>
                <a:lnTo>
                  <a:pt x="3887" y="270"/>
                </a:lnTo>
                <a:lnTo>
                  <a:pt x="3816" y="354"/>
                </a:lnTo>
                <a:lnTo>
                  <a:pt x="3743" y="436"/>
                </a:lnTo>
                <a:lnTo>
                  <a:pt x="3668" y="515"/>
                </a:lnTo>
                <a:lnTo>
                  <a:pt x="3593" y="591"/>
                </a:lnTo>
                <a:lnTo>
                  <a:pt x="3517" y="665"/>
                </a:lnTo>
                <a:lnTo>
                  <a:pt x="3439" y="736"/>
                </a:lnTo>
                <a:lnTo>
                  <a:pt x="3361" y="804"/>
                </a:lnTo>
                <a:lnTo>
                  <a:pt x="3282" y="871"/>
                </a:lnTo>
                <a:lnTo>
                  <a:pt x="3202" y="935"/>
                </a:lnTo>
                <a:lnTo>
                  <a:pt x="3121" y="997"/>
                </a:lnTo>
                <a:lnTo>
                  <a:pt x="3040" y="1056"/>
                </a:lnTo>
                <a:lnTo>
                  <a:pt x="2958" y="1114"/>
                </a:lnTo>
                <a:lnTo>
                  <a:pt x="2876" y="1168"/>
                </a:lnTo>
                <a:lnTo>
                  <a:pt x="2793" y="1220"/>
                </a:lnTo>
                <a:lnTo>
                  <a:pt x="2710" y="1271"/>
                </a:lnTo>
                <a:lnTo>
                  <a:pt x="2628" y="1319"/>
                </a:lnTo>
                <a:lnTo>
                  <a:pt x="2543" y="1366"/>
                </a:lnTo>
                <a:lnTo>
                  <a:pt x="2460" y="1409"/>
                </a:lnTo>
                <a:lnTo>
                  <a:pt x="2378" y="1453"/>
                </a:lnTo>
                <a:lnTo>
                  <a:pt x="2295" y="1492"/>
                </a:lnTo>
                <a:lnTo>
                  <a:pt x="2210" y="1532"/>
                </a:lnTo>
                <a:lnTo>
                  <a:pt x="2129" y="1568"/>
                </a:lnTo>
                <a:lnTo>
                  <a:pt x="2046" y="1604"/>
                </a:lnTo>
                <a:lnTo>
                  <a:pt x="1964" y="1636"/>
                </a:lnTo>
                <a:lnTo>
                  <a:pt x="1882" y="1668"/>
                </a:lnTo>
                <a:lnTo>
                  <a:pt x="1802" y="1698"/>
                </a:lnTo>
                <a:lnTo>
                  <a:pt x="1722" y="1726"/>
                </a:lnTo>
                <a:lnTo>
                  <a:pt x="1642" y="1753"/>
                </a:lnTo>
                <a:lnTo>
                  <a:pt x="1563" y="1778"/>
                </a:lnTo>
                <a:lnTo>
                  <a:pt x="1493" y="1800"/>
                </a:lnTo>
                <a:lnTo>
                  <a:pt x="1421" y="1820"/>
                </a:lnTo>
                <a:lnTo>
                  <a:pt x="1352" y="1840"/>
                </a:lnTo>
                <a:lnTo>
                  <a:pt x="1282" y="1859"/>
                </a:lnTo>
                <a:lnTo>
                  <a:pt x="1215" y="1876"/>
                </a:lnTo>
                <a:lnTo>
                  <a:pt x="1149" y="1892"/>
                </a:lnTo>
                <a:lnTo>
                  <a:pt x="1019" y="1922"/>
                </a:lnTo>
                <a:lnTo>
                  <a:pt x="894" y="1946"/>
                </a:lnTo>
                <a:lnTo>
                  <a:pt x="774" y="1969"/>
                </a:lnTo>
                <a:lnTo>
                  <a:pt x="661" y="1987"/>
                </a:lnTo>
                <a:lnTo>
                  <a:pt x="554" y="2002"/>
                </a:lnTo>
                <a:lnTo>
                  <a:pt x="454" y="2015"/>
                </a:lnTo>
                <a:lnTo>
                  <a:pt x="363" y="2026"/>
                </a:lnTo>
                <a:lnTo>
                  <a:pt x="280" y="2033"/>
                </a:lnTo>
                <a:lnTo>
                  <a:pt x="204" y="2039"/>
                </a:lnTo>
                <a:lnTo>
                  <a:pt x="139" y="2043"/>
                </a:lnTo>
                <a:lnTo>
                  <a:pt x="82" y="2045"/>
                </a:lnTo>
                <a:lnTo>
                  <a:pt x="0" y="2048"/>
                </a:lnTo>
                <a:lnTo>
                  <a:pt x="0" y="2068"/>
                </a:lnTo>
                <a:lnTo>
                  <a:pt x="0" y="2097"/>
                </a:lnTo>
                <a:lnTo>
                  <a:pt x="83" y="2095"/>
                </a:lnTo>
                <a:lnTo>
                  <a:pt x="140" y="2092"/>
                </a:lnTo>
                <a:lnTo>
                  <a:pt x="207" y="2089"/>
                </a:lnTo>
                <a:lnTo>
                  <a:pt x="282" y="2083"/>
                </a:lnTo>
                <a:lnTo>
                  <a:pt x="366" y="2075"/>
                </a:lnTo>
                <a:lnTo>
                  <a:pt x="459" y="2064"/>
                </a:lnTo>
                <a:lnTo>
                  <a:pt x="559" y="2052"/>
                </a:lnTo>
                <a:lnTo>
                  <a:pt x="667" y="2037"/>
                </a:lnTo>
                <a:lnTo>
                  <a:pt x="781" y="2018"/>
                </a:lnTo>
                <a:lnTo>
                  <a:pt x="901" y="1996"/>
                </a:lnTo>
                <a:lnTo>
                  <a:pt x="1027" y="1970"/>
                </a:lnTo>
                <a:lnTo>
                  <a:pt x="1158" y="1940"/>
                </a:lnTo>
                <a:lnTo>
                  <a:pt x="1227" y="1924"/>
                </a:lnTo>
                <a:lnTo>
                  <a:pt x="1295" y="1907"/>
                </a:lnTo>
                <a:lnTo>
                  <a:pt x="1364" y="1888"/>
                </a:lnTo>
                <a:lnTo>
                  <a:pt x="1434" y="1869"/>
                </a:lnTo>
                <a:lnTo>
                  <a:pt x="1506" y="1847"/>
                </a:lnTo>
                <a:lnTo>
                  <a:pt x="1578" y="1825"/>
                </a:lnTo>
                <a:lnTo>
                  <a:pt x="1656" y="1800"/>
                </a:lnTo>
                <a:lnTo>
                  <a:pt x="1735" y="1774"/>
                </a:lnTo>
                <a:lnTo>
                  <a:pt x="1814" y="1746"/>
                </a:lnTo>
                <a:lnTo>
                  <a:pt x="1894" y="1716"/>
                </a:lnTo>
                <a:lnTo>
                  <a:pt x="1974" y="1685"/>
                </a:lnTo>
                <a:lnTo>
                  <a:pt x="2056" y="1653"/>
                </a:lnTo>
                <a:lnTo>
                  <a:pt x="2137" y="1619"/>
                </a:lnTo>
                <a:lnTo>
                  <a:pt x="2219" y="1583"/>
                </a:lnTo>
                <a:lnTo>
                  <a:pt x="2301" y="1544"/>
                </a:lnTo>
                <a:lnTo>
                  <a:pt x="2384" y="1505"/>
                </a:lnTo>
                <a:lnTo>
                  <a:pt x="2467" y="1463"/>
                </a:lnTo>
                <a:lnTo>
                  <a:pt x="2548" y="1419"/>
                </a:lnTo>
                <a:lnTo>
                  <a:pt x="2631" y="1374"/>
                </a:lnTo>
                <a:lnTo>
                  <a:pt x="2714" y="1327"/>
                </a:lnTo>
                <a:lnTo>
                  <a:pt x="2796" y="1277"/>
                </a:lnTo>
                <a:lnTo>
                  <a:pt x="2878" y="1225"/>
                </a:lnTo>
                <a:lnTo>
                  <a:pt x="2959" y="1172"/>
                </a:lnTo>
                <a:lnTo>
                  <a:pt x="3041" y="1116"/>
                </a:lnTo>
                <a:lnTo>
                  <a:pt x="3121" y="1058"/>
                </a:lnTo>
                <a:lnTo>
                  <a:pt x="3202" y="997"/>
                </a:lnTo>
                <a:lnTo>
                  <a:pt x="3281" y="935"/>
                </a:lnTo>
                <a:lnTo>
                  <a:pt x="3360" y="870"/>
                </a:lnTo>
                <a:lnTo>
                  <a:pt x="3438" y="803"/>
                </a:lnTo>
                <a:lnTo>
                  <a:pt x="3516" y="734"/>
                </a:lnTo>
                <a:lnTo>
                  <a:pt x="3593" y="662"/>
                </a:lnTo>
                <a:lnTo>
                  <a:pt x="3667" y="587"/>
                </a:lnTo>
                <a:lnTo>
                  <a:pt x="3741" y="510"/>
                </a:lnTo>
                <a:lnTo>
                  <a:pt x="3814" y="431"/>
                </a:lnTo>
                <a:lnTo>
                  <a:pt x="3886" y="348"/>
                </a:lnTo>
                <a:lnTo>
                  <a:pt x="3957" y="262"/>
                </a:lnTo>
                <a:lnTo>
                  <a:pt x="4026" y="176"/>
                </a:lnTo>
                <a:lnTo>
                  <a:pt x="4094" y="84"/>
                </a:lnTo>
                <a:lnTo>
                  <a:pt x="4094" y="37"/>
                </a:lnTo>
                <a:lnTo>
                  <a:pt x="4094" y="0"/>
                </a:lnTo>
                <a:close/>
              </a:path>
            </a:pathLst>
          </a:cu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" name="组合 10"/>
          <p:cNvGrpSpPr/>
          <p:nvPr/>
        </p:nvGrpSpPr>
        <p:grpSpPr bwMode="auto">
          <a:xfrm>
            <a:off x="400050" y="3476625"/>
            <a:ext cx="461963" cy="796925"/>
            <a:chOff x="400691" y="3477386"/>
            <a:chExt cx="461665" cy="796164"/>
          </a:xfrm>
        </p:grpSpPr>
        <p:sp>
          <p:nvSpPr>
            <p:cNvPr id="35887" name="TextBox 104"/>
            <p:cNvSpPr txBox="1">
              <a:spLocks noChangeArrowheads="1"/>
            </p:cNvSpPr>
            <p:nvPr/>
          </p:nvSpPr>
          <p:spPr bwMode="auto">
            <a:xfrm>
              <a:off x="400691" y="3574642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08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  <p:cxnSp>
          <p:nvCxnSpPr>
            <p:cNvPr id="13" name="直接连接符 12"/>
            <p:cNvCxnSpPr/>
            <p:nvPr/>
          </p:nvCxnSpPr>
          <p:spPr>
            <a:xfrm flipH="1">
              <a:off x="825867" y="3477386"/>
              <a:ext cx="3173" cy="796164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组合 13"/>
          <p:cNvGrpSpPr/>
          <p:nvPr/>
        </p:nvGrpSpPr>
        <p:grpSpPr bwMode="auto">
          <a:xfrm>
            <a:off x="1012825" y="3340100"/>
            <a:ext cx="461963" cy="971550"/>
            <a:chOff x="1012731" y="3340404"/>
            <a:chExt cx="461665" cy="971246"/>
          </a:xfrm>
        </p:grpSpPr>
        <p:cxnSp>
          <p:nvCxnSpPr>
            <p:cNvPr id="15" name="直接连接符 14"/>
            <p:cNvCxnSpPr/>
            <p:nvPr/>
          </p:nvCxnSpPr>
          <p:spPr>
            <a:xfrm>
              <a:off x="1468050" y="3340404"/>
              <a:ext cx="4759" cy="971246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86" name="TextBox 141"/>
            <p:cNvSpPr txBox="1">
              <a:spLocks noChangeArrowheads="1"/>
            </p:cNvSpPr>
            <p:nvPr/>
          </p:nvSpPr>
          <p:spPr bwMode="auto">
            <a:xfrm>
              <a:off x="1012731" y="3492614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09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17" name="组合 16"/>
          <p:cNvGrpSpPr/>
          <p:nvPr/>
        </p:nvGrpSpPr>
        <p:grpSpPr bwMode="auto">
          <a:xfrm>
            <a:off x="1646238" y="3152775"/>
            <a:ext cx="461962" cy="1127125"/>
            <a:chOff x="1645985" y="3152516"/>
            <a:chExt cx="462215" cy="1127384"/>
          </a:xfrm>
        </p:grpSpPr>
        <p:cxnSp>
          <p:nvCxnSpPr>
            <p:cNvPr id="18" name="直接连接符 17"/>
            <p:cNvCxnSpPr/>
            <p:nvPr/>
          </p:nvCxnSpPr>
          <p:spPr>
            <a:xfrm>
              <a:off x="2108200" y="3152516"/>
              <a:ext cx="0" cy="1127384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84" name="TextBox 142"/>
            <p:cNvSpPr txBox="1">
              <a:spLocks noChangeArrowheads="1"/>
            </p:cNvSpPr>
            <p:nvPr/>
          </p:nvSpPr>
          <p:spPr bwMode="auto">
            <a:xfrm>
              <a:off x="1645985" y="3353902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10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20" name="组合 19"/>
          <p:cNvGrpSpPr/>
          <p:nvPr/>
        </p:nvGrpSpPr>
        <p:grpSpPr bwMode="auto">
          <a:xfrm>
            <a:off x="2295525" y="2900363"/>
            <a:ext cx="461963" cy="1309687"/>
            <a:chOff x="2295763" y="2899654"/>
            <a:chExt cx="461665" cy="1310396"/>
          </a:xfrm>
        </p:grpSpPr>
        <p:cxnSp>
          <p:nvCxnSpPr>
            <p:cNvPr id="21" name="直接连接符 20"/>
            <p:cNvCxnSpPr/>
            <p:nvPr/>
          </p:nvCxnSpPr>
          <p:spPr>
            <a:xfrm>
              <a:off x="2747909" y="2899654"/>
              <a:ext cx="1586" cy="1310396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82" name="TextBox 143"/>
            <p:cNvSpPr txBox="1">
              <a:spLocks noChangeArrowheads="1"/>
            </p:cNvSpPr>
            <p:nvPr/>
          </p:nvSpPr>
          <p:spPr bwMode="auto">
            <a:xfrm>
              <a:off x="2295763" y="3131546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11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组合 22"/>
          <p:cNvGrpSpPr/>
          <p:nvPr/>
        </p:nvGrpSpPr>
        <p:grpSpPr bwMode="auto">
          <a:xfrm>
            <a:off x="2932113" y="2525713"/>
            <a:ext cx="461962" cy="1570037"/>
            <a:chOff x="2932616" y="2525546"/>
            <a:chExt cx="461665" cy="1570204"/>
          </a:xfrm>
        </p:grpSpPr>
        <p:cxnSp>
          <p:nvCxnSpPr>
            <p:cNvPr id="24" name="直接连接符 23"/>
            <p:cNvCxnSpPr/>
            <p:nvPr/>
          </p:nvCxnSpPr>
          <p:spPr>
            <a:xfrm flipH="1">
              <a:off x="3384762" y="2525546"/>
              <a:ext cx="1587" cy="1570204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80" name="TextBox 144"/>
            <p:cNvSpPr txBox="1">
              <a:spLocks noChangeArrowheads="1"/>
            </p:cNvSpPr>
            <p:nvPr/>
          </p:nvSpPr>
          <p:spPr bwMode="auto">
            <a:xfrm>
              <a:off x="2932616" y="2843230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12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26" name="组合 25"/>
          <p:cNvGrpSpPr/>
          <p:nvPr/>
        </p:nvGrpSpPr>
        <p:grpSpPr bwMode="auto">
          <a:xfrm>
            <a:off x="3565525" y="2063750"/>
            <a:ext cx="460375" cy="1809750"/>
            <a:chOff x="3564818" y="2063654"/>
            <a:chExt cx="461665" cy="1809566"/>
          </a:xfrm>
        </p:grpSpPr>
        <p:cxnSp>
          <p:nvCxnSpPr>
            <p:cNvPr id="27" name="直接连接符 26"/>
            <p:cNvCxnSpPr/>
            <p:nvPr/>
          </p:nvCxnSpPr>
          <p:spPr>
            <a:xfrm>
              <a:off x="4026483" y="2063654"/>
              <a:ext cx="0" cy="1809566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78" name="TextBox 145"/>
            <p:cNvSpPr txBox="1">
              <a:spLocks noChangeArrowheads="1"/>
            </p:cNvSpPr>
            <p:nvPr/>
          </p:nvSpPr>
          <p:spPr bwMode="auto">
            <a:xfrm>
              <a:off x="3564818" y="2483474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13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29" name="矩形 1"/>
          <p:cNvSpPr>
            <a:spLocks noChangeArrowheads="1"/>
          </p:cNvSpPr>
          <p:nvPr/>
        </p:nvSpPr>
        <p:spPr bwMode="auto">
          <a:xfrm rot="3350905">
            <a:off x="2879725" y="1273176"/>
            <a:ext cx="13160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矩形 1"/>
          <p:cNvSpPr>
            <a:spLocks noChangeArrowheads="1"/>
          </p:cNvSpPr>
          <p:nvPr/>
        </p:nvSpPr>
        <p:spPr bwMode="auto">
          <a:xfrm rot="3364572">
            <a:off x="2309813" y="1692275"/>
            <a:ext cx="13160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1"/>
          <p:cNvSpPr>
            <a:spLocks noChangeArrowheads="1"/>
          </p:cNvSpPr>
          <p:nvPr/>
        </p:nvSpPr>
        <p:spPr bwMode="auto">
          <a:xfrm rot="3639587">
            <a:off x="1751013" y="2041525"/>
            <a:ext cx="13160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矩形 1"/>
          <p:cNvSpPr>
            <a:spLocks noChangeArrowheads="1"/>
          </p:cNvSpPr>
          <p:nvPr/>
        </p:nvSpPr>
        <p:spPr bwMode="auto">
          <a:xfrm rot="3877916">
            <a:off x="1147763" y="2262187"/>
            <a:ext cx="13160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1"/>
          <p:cNvSpPr>
            <a:spLocks noChangeArrowheads="1"/>
          </p:cNvSpPr>
          <p:nvPr/>
        </p:nvSpPr>
        <p:spPr bwMode="auto">
          <a:xfrm rot="3905755">
            <a:off x="501650" y="2463801"/>
            <a:ext cx="13160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1"/>
          <p:cNvSpPr>
            <a:spLocks noChangeArrowheads="1"/>
          </p:cNvSpPr>
          <p:nvPr/>
        </p:nvSpPr>
        <p:spPr bwMode="auto">
          <a:xfrm rot="4081750">
            <a:off x="-65087" y="2565400"/>
            <a:ext cx="13160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9" name="组合 38"/>
          <p:cNvGrpSpPr/>
          <p:nvPr/>
        </p:nvGrpSpPr>
        <p:grpSpPr bwMode="auto">
          <a:xfrm>
            <a:off x="5213350" y="771525"/>
            <a:ext cx="3513138" cy="3694113"/>
            <a:chOff x="5213920" y="771549"/>
            <a:chExt cx="3513336" cy="3694089"/>
          </a:xfrm>
        </p:grpSpPr>
        <p:sp>
          <p:nvSpPr>
            <p:cNvPr id="56" name="矩形 55"/>
            <p:cNvSpPr/>
            <p:nvPr/>
          </p:nvSpPr>
          <p:spPr>
            <a:xfrm>
              <a:off x="5213920" y="771549"/>
              <a:ext cx="3513336" cy="352422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5871" name="组合 34"/>
            <p:cNvGrpSpPr/>
            <p:nvPr/>
          </p:nvGrpSpPr>
          <p:grpSpPr bwMode="auto">
            <a:xfrm>
              <a:off x="5276850" y="2451100"/>
              <a:ext cx="3384550" cy="2014538"/>
              <a:chOff x="5276840" y="2451325"/>
              <a:chExt cx="3384376" cy="2014699"/>
            </a:xfrm>
          </p:grpSpPr>
          <p:sp>
            <p:nvSpPr>
              <p:cNvPr id="35873" name="矩形 1"/>
              <p:cNvSpPr>
                <a:spLocks noChangeArrowheads="1"/>
              </p:cNvSpPr>
              <p:nvPr/>
            </p:nvSpPr>
            <p:spPr bwMode="auto">
              <a:xfrm>
                <a:off x="5276840" y="2711696"/>
                <a:ext cx="3384376" cy="17543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坚持精益求精、拒绝平庸的做事精神，帮助您实现美观、精致、严谨、动感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展示效果，让您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创造卓越价值。</a:t>
                </a:r>
                <a:endPara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endPara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5874" name="组合 157"/>
              <p:cNvGrpSpPr/>
              <p:nvPr/>
            </p:nvGrpSpPr>
            <p:grpSpPr bwMode="auto">
              <a:xfrm>
                <a:off x="5390376" y="2451325"/>
                <a:ext cx="3213693" cy="307536"/>
                <a:chOff x="1619673" y="3253689"/>
                <a:chExt cx="3213693" cy="307536"/>
              </a:xfrm>
            </p:grpSpPr>
            <p:sp>
              <p:nvSpPr>
                <p:cNvPr id="38" name="矩形 158"/>
                <p:cNvSpPr>
                  <a:spLocks noChangeArrowheads="1"/>
                </p:cNvSpPr>
                <p:nvPr/>
              </p:nvSpPr>
              <p:spPr bwMode="auto">
                <a:xfrm>
                  <a:off x="1625775" y="3275929"/>
                  <a:ext cx="3208353" cy="252432"/>
                </a:xfrm>
                <a:prstGeom prst="rect">
                  <a:avLst/>
                </a:prstGeom>
                <a:solidFill>
                  <a:srgbClr val="973735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5876" name="TextBox 10"/>
                <p:cNvSpPr txBox="1">
                  <a:spLocks noChangeArrowheads="1"/>
                </p:cNvSpPr>
                <p:nvPr/>
              </p:nvSpPr>
              <p:spPr bwMode="auto">
                <a:xfrm>
                  <a:off x="1843828" y="3253689"/>
                  <a:ext cx="1261873" cy="3075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zh-CN" altLang="en-US" sz="140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点击添加标题</a:t>
                  </a:r>
                  <a:endPara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pic>
          <p:nvPicPr>
            <p:cNvPr id="35872" name="Picture 2" descr="E:\迅雷下载\shutterstock_69706801.jpg"/>
            <p:cNvPicPr>
              <a:picLocks noChangeAspect="1" noChangeArrowheads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364" b="23029"/>
            <a:stretch>
              <a:fillRect/>
            </a:stretch>
          </p:blipFill>
          <p:spPr bwMode="auto">
            <a:xfrm>
              <a:off x="5389563" y="831850"/>
              <a:ext cx="3214687" cy="154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5857" name="组合 4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5865" name="组合 49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53" name="矩形 52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4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55" name="矩形 54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5866" name="Freeform 77"/>
            <p:cNvSpPr>
              <a:spLocks noEditPoints="1"/>
            </p:cNvSpPr>
            <p:nvPr/>
          </p:nvSpPr>
          <p:spPr bwMode="auto">
            <a:xfrm>
              <a:off x="2082853" y="318761"/>
              <a:ext cx="273241" cy="220212"/>
            </a:xfrm>
            <a:custGeom>
              <a:avLst/>
              <a:gdLst>
                <a:gd name="T0" fmla="*/ 2147483646 w 60"/>
                <a:gd name="T1" fmla="*/ 2147483646 h 53"/>
                <a:gd name="T2" fmla="*/ 2147483646 w 60"/>
                <a:gd name="T3" fmla="*/ 2147483646 h 53"/>
                <a:gd name="T4" fmla="*/ 2147483646 w 60"/>
                <a:gd name="T5" fmla="*/ 2147483646 h 53"/>
                <a:gd name="T6" fmla="*/ 2147483646 w 60"/>
                <a:gd name="T7" fmla="*/ 2147483646 h 53"/>
                <a:gd name="T8" fmla="*/ 2147483646 w 60"/>
                <a:gd name="T9" fmla="*/ 2147483646 h 53"/>
                <a:gd name="T10" fmla="*/ 2147483646 w 60"/>
                <a:gd name="T11" fmla="*/ 2147483646 h 53"/>
                <a:gd name="T12" fmla="*/ 2147483646 w 60"/>
                <a:gd name="T13" fmla="*/ 2147483646 h 53"/>
                <a:gd name="T14" fmla="*/ 2147483646 w 60"/>
                <a:gd name="T15" fmla="*/ 2147483646 h 53"/>
                <a:gd name="T16" fmla="*/ 2147483646 w 60"/>
                <a:gd name="T17" fmla="*/ 2147483646 h 53"/>
                <a:gd name="T18" fmla="*/ 2147483646 w 60"/>
                <a:gd name="T19" fmla="*/ 2147483646 h 53"/>
                <a:gd name="T20" fmla="*/ 2147483646 w 60"/>
                <a:gd name="T21" fmla="*/ 2147483646 h 53"/>
                <a:gd name="T22" fmla="*/ 2147483646 w 60"/>
                <a:gd name="T23" fmla="*/ 2147483646 h 53"/>
                <a:gd name="T24" fmla="*/ 2147483646 w 60"/>
                <a:gd name="T25" fmla="*/ 2147483646 h 53"/>
                <a:gd name="T26" fmla="*/ 2147483646 w 60"/>
                <a:gd name="T27" fmla="*/ 2147483646 h 53"/>
                <a:gd name="T28" fmla="*/ 2147483646 w 60"/>
                <a:gd name="T29" fmla="*/ 2147483646 h 53"/>
                <a:gd name="T30" fmla="*/ 2147483646 w 60"/>
                <a:gd name="T31" fmla="*/ 2147483646 h 53"/>
                <a:gd name="T32" fmla="*/ 2147483646 w 60"/>
                <a:gd name="T33" fmla="*/ 0 h 53"/>
                <a:gd name="T34" fmla="*/ 2147483646 w 60"/>
                <a:gd name="T35" fmla="*/ 0 h 53"/>
                <a:gd name="T36" fmla="*/ 2147483646 w 60"/>
                <a:gd name="T37" fmla="*/ 0 h 53"/>
                <a:gd name="T38" fmla="*/ 2147483646 w 60"/>
                <a:gd name="T39" fmla="*/ 0 h 53"/>
                <a:gd name="T40" fmla="*/ 2147483646 w 60"/>
                <a:gd name="T41" fmla="*/ 2147483646 h 53"/>
                <a:gd name="T42" fmla="*/ 2147483646 w 60"/>
                <a:gd name="T43" fmla="*/ 2147483646 h 53"/>
                <a:gd name="T44" fmla="*/ 2147483646 w 60"/>
                <a:gd name="T45" fmla="*/ 2147483646 h 53"/>
                <a:gd name="T46" fmla="*/ 2147483646 w 60"/>
                <a:gd name="T47" fmla="*/ 2147483646 h 53"/>
                <a:gd name="T48" fmla="*/ 2147483646 w 60"/>
                <a:gd name="T49" fmla="*/ 0 h 53"/>
                <a:gd name="T50" fmla="*/ 2147483646 w 60"/>
                <a:gd name="T51" fmla="*/ 0 h 53"/>
                <a:gd name="T52" fmla="*/ 2147483646 w 60"/>
                <a:gd name="T53" fmla="*/ 2147483646 h 53"/>
                <a:gd name="T54" fmla="*/ 2147483646 w 60"/>
                <a:gd name="T55" fmla="*/ 2147483646 h 53"/>
                <a:gd name="T56" fmla="*/ 2147483646 w 60"/>
                <a:gd name="T57" fmla="*/ 2147483646 h 53"/>
                <a:gd name="T58" fmla="*/ 2147483646 w 60"/>
                <a:gd name="T59" fmla="*/ 2147483646 h 53"/>
                <a:gd name="T60" fmla="*/ 2147483646 w 60"/>
                <a:gd name="T61" fmla="*/ 2147483646 h 53"/>
                <a:gd name="T62" fmla="*/ 2147483646 w 60"/>
                <a:gd name="T63" fmla="*/ 2147483646 h 53"/>
                <a:gd name="T64" fmla="*/ 2147483646 w 60"/>
                <a:gd name="T65" fmla="*/ 2147483646 h 53"/>
                <a:gd name="T66" fmla="*/ 2147483646 w 60"/>
                <a:gd name="T67" fmla="*/ 2147483646 h 53"/>
                <a:gd name="T68" fmla="*/ 2147483646 w 60"/>
                <a:gd name="T69" fmla="*/ 2147483646 h 53"/>
                <a:gd name="T70" fmla="*/ 2147483646 w 60"/>
                <a:gd name="T71" fmla="*/ 2147483646 h 53"/>
                <a:gd name="T72" fmla="*/ 2147483646 w 60"/>
                <a:gd name="T73" fmla="*/ 2147483646 h 53"/>
                <a:gd name="T74" fmla="*/ 2147483646 w 60"/>
                <a:gd name="T75" fmla="*/ 2147483646 h 53"/>
                <a:gd name="T76" fmla="*/ 2147483646 w 60"/>
                <a:gd name="T77" fmla="*/ 2147483646 h 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60" h="53">
                  <a:moveTo>
                    <a:pt x="30" y="14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50"/>
                    <a:pt x="13" y="53"/>
                    <a:pt x="16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7" y="53"/>
                    <a:pt x="49" y="50"/>
                    <a:pt x="49" y="47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" y="26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3"/>
                    <a:pt x="0" y="22"/>
                    <a:pt x="2" y="2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1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1" y="1"/>
                    <a:pt x="32" y="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41" y="8"/>
                    <a:pt x="41" y="7"/>
                    <a:pt x="41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3" y="0"/>
                    <a:pt x="4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2"/>
                    <a:pt x="49" y="3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5"/>
                    <a:pt x="51" y="1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60" y="22"/>
                    <a:pt x="60" y="23"/>
                    <a:pt x="59" y="25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2" y="27"/>
                    <a:pt x="2" y="26"/>
                  </a:cubicBez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6" name="椭圆 5"/>
          <p:cNvSpPr/>
          <p:nvPr/>
        </p:nvSpPr>
        <p:spPr>
          <a:xfrm>
            <a:off x="3314700" y="2452688"/>
            <a:ext cx="144463" cy="146050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" name="椭圆 6"/>
          <p:cNvSpPr/>
          <p:nvPr/>
        </p:nvSpPr>
        <p:spPr>
          <a:xfrm>
            <a:off x="2674938" y="2827338"/>
            <a:ext cx="144462" cy="144462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椭圆 7"/>
          <p:cNvSpPr/>
          <p:nvPr/>
        </p:nvSpPr>
        <p:spPr>
          <a:xfrm>
            <a:off x="2035175" y="3079750"/>
            <a:ext cx="146050" cy="146050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1395413" y="3267075"/>
            <a:ext cx="146050" cy="146050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椭圆 9"/>
          <p:cNvSpPr/>
          <p:nvPr/>
        </p:nvSpPr>
        <p:spPr>
          <a:xfrm>
            <a:off x="755650" y="3405188"/>
            <a:ext cx="146050" cy="144462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" name="椭圆 4"/>
          <p:cNvSpPr/>
          <p:nvPr/>
        </p:nvSpPr>
        <p:spPr>
          <a:xfrm>
            <a:off x="3952875" y="1990725"/>
            <a:ext cx="146050" cy="146050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" name="Freeform 101"/>
          <p:cNvSpPr/>
          <p:nvPr/>
        </p:nvSpPr>
        <p:spPr bwMode="auto">
          <a:xfrm>
            <a:off x="104775" y="3344863"/>
            <a:ext cx="4881563" cy="981075"/>
          </a:xfrm>
          <a:custGeom>
            <a:avLst/>
            <a:gdLst>
              <a:gd name="T0" fmla="*/ 4082190 w 4881771"/>
              <a:gd name="T1" fmla="*/ 451023 h 980633"/>
              <a:gd name="T2" fmla="*/ 4221149 w 4881771"/>
              <a:gd name="T3" fmla="*/ 388381 h 980633"/>
              <a:gd name="T4" fmla="*/ 4355551 w 4881771"/>
              <a:gd name="T5" fmla="*/ 322322 h 980633"/>
              <a:gd name="T6" fmla="*/ 4488815 w 4881771"/>
              <a:gd name="T7" fmla="*/ 250568 h 980633"/>
              <a:gd name="T8" fmla="*/ 4619800 w 4881771"/>
              <a:gd name="T9" fmla="*/ 174259 h 980633"/>
              <a:gd name="T10" fmla="*/ 4881771 w 4881771"/>
              <a:gd name="T11" fmla="*/ 0 h 980633"/>
              <a:gd name="T12" fmla="*/ 4634607 w 4881771"/>
              <a:gd name="T13" fmla="*/ 231206 h 980633"/>
              <a:gd name="T14" fmla="*/ 4444393 w 4881771"/>
              <a:gd name="T15" fmla="*/ 339406 h 980633"/>
              <a:gd name="T16" fmla="*/ 4250763 w 4881771"/>
              <a:gd name="T17" fmla="*/ 436217 h 980633"/>
              <a:gd name="T18" fmla="*/ 4051437 w 4881771"/>
              <a:gd name="T19" fmla="*/ 525054 h 980633"/>
              <a:gd name="T20" fmla="*/ 3849833 w 4881771"/>
              <a:gd name="T21" fmla="*/ 602503 h 980633"/>
              <a:gd name="T22" fmla="*/ 3645952 w 4881771"/>
              <a:gd name="T23" fmla="*/ 673117 h 980633"/>
              <a:gd name="T24" fmla="*/ 3440931 w 4881771"/>
              <a:gd name="T25" fmla="*/ 733482 h 980633"/>
              <a:gd name="T26" fmla="*/ 3233632 w 4881771"/>
              <a:gd name="T27" fmla="*/ 787012 h 980633"/>
              <a:gd name="T28" fmla="*/ 3027473 w 4881771"/>
              <a:gd name="T29" fmla="*/ 832570 h 980633"/>
              <a:gd name="T30" fmla="*/ 2822452 w 4881771"/>
              <a:gd name="T31" fmla="*/ 870155 h 980633"/>
              <a:gd name="T32" fmla="*/ 2617431 w 4881771"/>
              <a:gd name="T33" fmla="*/ 903185 h 980633"/>
              <a:gd name="T34" fmla="*/ 2414688 w 4881771"/>
              <a:gd name="T35" fmla="*/ 928242 h 980633"/>
              <a:gd name="T36" fmla="*/ 2216502 w 4881771"/>
              <a:gd name="T37" fmla="*/ 948743 h 980633"/>
              <a:gd name="T38" fmla="*/ 2020593 w 4881771"/>
              <a:gd name="T39" fmla="*/ 963549 h 980633"/>
              <a:gd name="T40" fmla="*/ 1828101 w 4881771"/>
              <a:gd name="T41" fmla="*/ 973800 h 980633"/>
              <a:gd name="T42" fmla="*/ 1642444 w 4881771"/>
              <a:gd name="T43" fmla="*/ 979494 h 980633"/>
              <a:gd name="T44" fmla="*/ 1461342 w 4881771"/>
              <a:gd name="T45" fmla="*/ 980633 h 980633"/>
              <a:gd name="T46" fmla="*/ 1195954 w 4881771"/>
              <a:gd name="T47" fmla="*/ 976077 h 980633"/>
              <a:gd name="T48" fmla="*/ 948790 w 4881771"/>
              <a:gd name="T49" fmla="*/ 966966 h 980633"/>
              <a:gd name="T50" fmla="*/ 722129 w 4881771"/>
              <a:gd name="T51" fmla="*/ 952160 h 980633"/>
              <a:gd name="T52" fmla="*/ 518247 w 4881771"/>
              <a:gd name="T53" fmla="*/ 933936 h 980633"/>
              <a:gd name="T54" fmla="*/ 342840 w 4881771"/>
              <a:gd name="T55" fmla="*/ 914574 h 980633"/>
              <a:gd name="T56" fmla="*/ 80869 w 4881771"/>
              <a:gd name="T57" fmla="*/ 879267 h 980633"/>
              <a:gd name="T58" fmla="*/ 0 w 4881771"/>
              <a:gd name="T59" fmla="*/ 848515 h 980633"/>
              <a:gd name="T60" fmla="*/ 71757 w 4881771"/>
              <a:gd name="T61" fmla="*/ 820042 h 980633"/>
              <a:gd name="T62" fmla="*/ 289307 w 4881771"/>
              <a:gd name="T63" fmla="*/ 850793 h 980633"/>
              <a:gd name="T64" fmla="*/ 546722 w 4881771"/>
              <a:gd name="T65" fmla="*/ 880406 h 980633"/>
              <a:gd name="T66" fmla="*/ 692514 w 4881771"/>
              <a:gd name="T67" fmla="*/ 892934 h 980633"/>
              <a:gd name="T68" fmla="*/ 978404 w 4881771"/>
              <a:gd name="T69" fmla="*/ 911157 h 980633"/>
              <a:gd name="T70" fmla="*/ 1150394 w 4881771"/>
              <a:gd name="T71" fmla="*/ 919130 h 980633"/>
              <a:gd name="T72" fmla="*/ 1461342 w 4881771"/>
              <a:gd name="T73" fmla="*/ 924825 h 980633"/>
              <a:gd name="T74" fmla="*/ 1719896 w 4881771"/>
              <a:gd name="T75" fmla="*/ 920269 h 980633"/>
              <a:gd name="T76" fmla="*/ 1874800 w 4881771"/>
              <a:gd name="T77" fmla="*/ 914574 h 980633"/>
              <a:gd name="T78" fmla="*/ 2160691 w 4881771"/>
              <a:gd name="T79" fmla="*/ 896351 h 980633"/>
              <a:gd name="T80" fmla="*/ 2323568 w 4881771"/>
              <a:gd name="T81" fmla="*/ 881545 h 980633"/>
              <a:gd name="T82" fmla="*/ 2606041 w 4881771"/>
              <a:gd name="T83" fmla="*/ 848515 h 980633"/>
              <a:gd name="T84" fmla="*/ 2893070 w 4881771"/>
              <a:gd name="T85" fmla="*/ 801819 h 980633"/>
              <a:gd name="T86" fmla="*/ 3052531 w 4881771"/>
              <a:gd name="T87" fmla="*/ 771067 h 980633"/>
              <a:gd name="T88" fmla="*/ 3194906 w 4881771"/>
              <a:gd name="T89" fmla="*/ 738037 h 980633"/>
              <a:gd name="T90" fmla="*/ 3337282 w 4881771"/>
              <a:gd name="T91" fmla="*/ 702730 h 980633"/>
              <a:gd name="T92" fmla="*/ 3479657 w 4881771"/>
              <a:gd name="T93" fmla="*/ 665145 h 980633"/>
              <a:gd name="T94" fmla="*/ 3600391 w 4881771"/>
              <a:gd name="T95" fmla="*/ 628699 h 980633"/>
              <a:gd name="T96" fmla="*/ 3796300 w 4881771"/>
              <a:gd name="T97" fmla="*/ 563779 h 980633"/>
              <a:gd name="T98" fmla="*/ 3976263 w 4881771"/>
              <a:gd name="T99" fmla="*/ 494303 h 980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881771" h="980633">
                <a:moveTo>
                  <a:pt x="4065105" y="457857"/>
                </a:moveTo>
                <a:lnTo>
                  <a:pt x="4082190" y="451023"/>
                </a:lnTo>
                <a:lnTo>
                  <a:pt x="4151669" y="420271"/>
                </a:lnTo>
                <a:lnTo>
                  <a:pt x="4221149" y="388381"/>
                </a:lnTo>
                <a:lnTo>
                  <a:pt x="4288350" y="356490"/>
                </a:lnTo>
                <a:lnTo>
                  <a:pt x="4355551" y="322322"/>
                </a:lnTo>
                <a:lnTo>
                  <a:pt x="4422752" y="287014"/>
                </a:lnTo>
                <a:lnTo>
                  <a:pt x="4488815" y="250568"/>
                </a:lnTo>
                <a:lnTo>
                  <a:pt x="4554877" y="214122"/>
                </a:lnTo>
                <a:lnTo>
                  <a:pt x="4619800" y="174259"/>
                </a:lnTo>
                <a:lnTo>
                  <a:pt x="4525263" y="119589"/>
                </a:lnTo>
                <a:lnTo>
                  <a:pt x="4881771" y="0"/>
                </a:lnTo>
                <a:lnTo>
                  <a:pt x="4618661" y="411160"/>
                </a:lnTo>
                <a:lnTo>
                  <a:pt x="4634607" y="231206"/>
                </a:lnTo>
                <a:lnTo>
                  <a:pt x="4540070" y="285876"/>
                </a:lnTo>
                <a:lnTo>
                  <a:pt x="4444393" y="339406"/>
                </a:lnTo>
                <a:lnTo>
                  <a:pt x="4348717" y="388381"/>
                </a:lnTo>
                <a:lnTo>
                  <a:pt x="4250763" y="436217"/>
                </a:lnTo>
                <a:lnTo>
                  <a:pt x="4151669" y="481774"/>
                </a:lnTo>
                <a:lnTo>
                  <a:pt x="4051437" y="525054"/>
                </a:lnTo>
                <a:lnTo>
                  <a:pt x="3951205" y="564918"/>
                </a:lnTo>
                <a:lnTo>
                  <a:pt x="3849833" y="602503"/>
                </a:lnTo>
                <a:lnTo>
                  <a:pt x="3748462" y="640088"/>
                </a:lnTo>
                <a:lnTo>
                  <a:pt x="3645952" y="673117"/>
                </a:lnTo>
                <a:lnTo>
                  <a:pt x="3543441" y="703869"/>
                </a:lnTo>
                <a:lnTo>
                  <a:pt x="3440931" y="733482"/>
                </a:lnTo>
                <a:lnTo>
                  <a:pt x="3338421" y="761955"/>
                </a:lnTo>
                <a:lnTo>
                  <a:pt x="3233632" y="787012"/>
                </a:lnTo>
                <a:lnTo>
                  <a:pt x="3131122" y="809791"/>
                </a:lnTo>
                <a:lnTo>
                  <a:pt x="3027473" y="832570"/>
                </a:lnTo>
                <a:lnTo>
                  <a:pt x="2924962" y="851932"/>
                </a:lnTo>
                <a:lnTo>
                  <a:pt x="2822452" y="870155"/>
                </a:lnTo>
                <a:lnTo>
                  <a:pt x="2718802" y="887240"/>
                </a:lnTo>
                <a:lnTo>
                  <a:pt x="2617431" y="903185"/>
                </a:lnTo>
                <a:lnTo>
                  <a:pt x="2516060" y="915713"/>
                </a:lnTo>
                <a:lnTo>
                  <a:pt x="2414688" y="928242"/>
                </a:lnTo>
                <a:lnTo>
                  <a:pt x="2314456" y="939631"/>
                </a:lnTo>
                <a:lnTo>
                  <a:pt x="2216502" y="948743"/>
                </a:lnTo>
                <a:lnTo>
                  <a:pt x="2117408" y="956715"/>
                </a:lnTo>
                <a:lnTo>
                  <a:pt x="2020593" y="963549"/>
                </a:lnTo>
                <a:lnTo>
                  <a:pt x="1923778" y="969244"/>
                </a:lnTo>
                <a:lnTo>
                  <a:pt x="1828101" y="973800"/>
                </a:lnTo>
                <a:lnTo>
                  <a:pt x="1735842" y="976077"/>
                </a:lnTo>
                <a:lnTo>
                  <a:pt x="1642444" y="979494"/>
                </a:lnTo>
                <a:lnTo>
                  <a:pt x="1550184" y="980633"/>
                </a:lnTo>
                <a:lnTo>
                  <a:pt x="1461342" y="980633"/>
                </a:lnTo>
                <a:lnTo>
                  <a:pt x="1326940" y="979494"/>
                </a:lnTo>
                <a:lnTo>
                  <a:pt x="1195954" y="976077"/>
                </a:lnTo>
                <a:lnTo>
                  <a:pt x="1069525" y="972661"/>
                </a:lnTo>
                <a:lnTo>
                  <a:pt x="948790" y="966966"/>
                </a:lnTo>
                <a:lnTo>
                  <a:pt x="831473" y="958993"/>
                </a:lnTo>
                <a:lnTo>
                  <a:pt x="722129" y="952160"/>
                </a:lnTo>
                <a:lnTo>
                  <a:pt x="617340" y="943048"/>
                </a:lnTo>
                <a:lnTo>
                  <a:pt x="518247" y="933936"/>
                </a:lnTo>
                <a:lnTo>
                  <a:pt x="427127" y="924825"/>
                </a:lnTo>
                <a:lnTo>
                  <a:pt x="342840" y="914574"/>
                </a:lnTo>
                <a:lnTo>
                  <a:pt x="195909" y="896351"/>
                </a:lnTo>
                <a:lnTo>
                  <a:pt x="80869" y="879267"/>
                </a:lnTo>
                <a:lnTo>
                  <a:pt x="0" y="866739"/>
                </a:lnTo>
                <a:lnTo>
                  <a:pt x="0" y="848515"/>
                </a:lnTo>
                <a:lnTo>
                  <a:pt x="0" y="808652"/>
                </a:lnTo>
                <a:lnTo>
                  <a:pt x="71757" y="820042"/>
                </a:lnTo>
                <a:lnTo>
                  <a:pt x="206160" y="839404"/>
                </a:lnTo>
                <a:lnTo>
                  <a:pt x="289307" y="850793"/>
                </a:lnTo>
                <a:lnTo>
                  <a:pt x="384983" y="862183"/>
                </a:lnTo>
                <a:lnTo>
                  <a:pt x="546722" y="880406"/>
                </a:lnTo>
                <a:lnTo>
                  <a:pt x="563807" y="881545"/>
                </a:lnTo>
                <a:lnTo>
                  <a:pt x="692514" y="892934"/>
                </a:lnTo>
                <a:lnTo>
                  <a:pt x="830334" y="903185"/>
                </a:lnTo>
                <a:lnTo>
                  <a:pt x="978404" y="911157"/>
                </a:lnTo>
                <a:lnTo>
                  <a:pt x="1133309" y="919130"/>
                </a:lnTo>
                <a:lnTo>
                  <a:pt x="1150394" y="919130"/>
                </a:lnTo>
                <a:lnTo>
                  <a:pt x="1303021" y="922547"/>
                </a:lnTo>
                <a:lnTo>
                  <a:pt x="1461342" y="924825"/>
                </a:lnTo>
                <a:lnTo>
                  <a:pt x="1588911" y="922547"/>
                </a:lnTo>
                <a:lnTo>
                  <a:pt x="1719896" y="920269"/>
                </a:lnTo>
                <a:lnTo>
                  <a:pt x="1736981" y="920269"/>
                </a:lnTo>
                <a:lnTo>
                  <a:pt x="1874800" y="914574"/>
                </a:lnTo>
                <a:lnTo>
                  <a:pt x="2017176" y="907741"/>
                </a:lnTo>
                <a:lnTo>
                  <a:pt x="2160691" y="896351"/>
                </a:lnTo>
                <a:lnTo>
                  <a:pt x="2306483" y="883823"/>
                </a:lnTo>
                <a:lnTo>
                  <a:pt x="2323568" y="881545"/>
                </a:lnTo>
                <a:lnTo>
                  <a:pt x="2463666" y="866739"/>
                </a:lnTo>
                <a:lnTo>
                  <a:pt x="2606041" y="848515"/>
                </a:lnTo>
                <a:lnTo>
                  <a:pt x="2748417" y="825736"/>
                </a:lnTo>
                <a:lnTo>
                  <a:pt x="2893070" y="801819"/>
                </a:lnTo>
                <a:lnTo>
                  <a:pt x="2910155" y="797263"/>
                </a:lnTo>
                <a:lnTo>
                  <a:pt x="3052531" y="771067"/>
                </a:lnTo>
                <a:lnTo>
                  <a:pt x="3124288" y="755122"/>
                </a:lnTo>
                <a:lnTo>
                  <a:pt x="3194906" y="738037"/>
                </a:lnTo>
                <a:lnTo>
                  <a:pt x="3266663" y="720953"/>
                </a:lnTo>
                <a:lnTo>
                  <a:pt x="3337282" y="702730"/>
                </a:lnTo>
                <a:lnTo>
                  <a:pt x="3409039" y="684507"/>
                </a:lnTo>
                <a:lnTo>
                  <a:pt x="3479657" y="665145"/>
                </a:lnTo>
                <a:lnTo>
                  <a:pt x="3495603" y="659450"/>
                </a:lnTo>
                <a:lnTo>
                  <a:pt x="3600391" y="628699"/>
                </a:lnTo>
                <a:lnTo>
                  <a:pt x="3705180" y="594530"/>
                </a:lnTo>
                <a:lnTo>
                  <a:pt x="3796300" y="563779"/>
                </a:lnTo>
                <a:lnTo>
                  <a:pt x="3886281" y="529610"/>
                </a:lnTo>
                <a:lnTo>
                  <a:pt x="3976263" y="494303"/>
                </a:lnTo>
                <a:lnTo>
                  <a:pt x="4065105" y="457857"/>
                </a:lnTo>
                <a:close/>
              </a:path>
            </a:pathLst>
          </a:cu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6" presetClass="emph" presetSubtype="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4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4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6" presetClass="emph" presetSubtype="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4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4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3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6" presetClass="emph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22" presetClass="entr" presetSubtype="1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4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4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53" presetClass="entr" presetSubtype="16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6" presetClass="emph" presetSubtype="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3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22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4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4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6" presetClass="emph" presetSubtype="0" fill="hold" grpId="1" nodeType="withEffect">
                                  <p:stCondLst>
                                    <p:cond delay="1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7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4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4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6" presetClass="emph" presetSubtype="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1" dur="2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2" presetID="22" presetClass="entr" presetSubtype="1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4" dur="4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4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4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2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  <p:bldP spid="31" grpId="0"/>
      <p:bldP spid="32" grpId="0"/>
      <p:bldP spid="33" grpId="0"/>
      <p:bldP spid="34" grpId="0"/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5" grpId="0" animBg="1"/>
      <p:bldP spid="5" grpId="1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 bwMode="auto">
          <a:xfrm>
            <a:off x="4859338" y="927100"/>
            <a:ext cx="3106737" cy="2481263"/>
            <a:chOff x="4860032" y="926333"/>
            <a:chExt cx="3105464" cy="2482803"/>
          </a:xfrm>
        </p:grpSpPr>
        <p:grpSp>
          <p:nvGrpSpPr>
            <p:cNvPr id="36904" name="组合 47"/>
            <p:cNvGrpSpPr/>
            <p:nvPr/>
          </p:nvGrpSpPr>
          <p:grpSpPr bwMode="auto">
            <a:xfrm>
              <a:off x="4889126" y="926333"/>
              <a:ext cx="3076370" cy="307535"/>
              <a:chOff x="4889126" y="926333"/>
              <a:chExt cx="3076370" cy="307535"/>
            </a:xfrm>
          </p:grpSpPr>
          <p:sp>
            <p:nvSpPr>
              <p:cNvPr id="6" name="矩形 21"/>
              <p:cNvSpPr>
                <a:spLocks noChangeArrowheads="1"/>
              </p:cNvSpPr>
              <p:nvPr/>
            </p:nvSpPr>
            <p:spPr bwMode="auto">
              <a:xfrm>
                <a:off x="4888595" y="948572"/>
                <a:ext cx="3076901" cy="25257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908" name="TextBox 10"/>
              <p:cNvSpPr txBox="1">
                <a:spLocks noChangeArrowheads="1"/>
              </p:cNvSpPr>
              <p:nvPr/>
            </p:nvSpPr>
            <p:spPr bwMode="auto">
              <a:xfrm>
                <a:off x="5542261" y="926333"/>
                <a:ext cx="1261884" cy="3075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标题</a:t>
                </a:r>
                <a:endPara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4860032" y="1220203"/>
              <a:ext cx="3105464" cy="2188933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 noProof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6906" name="矩形 1"/>
            <p:cNvSpPr>
              <a:spLocks noChangeArrowheads="1"/>
            </p:cNvSpPr>
            <p:nvPr/>
          </p:nvSpPr>
          <p:spPr bwMode="auto">
            <a:xfrm>
              <a:off x="4984738" y="1391612"/>
              <a:ext cx="2646803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，帮助您实现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 bwMode="auto">
          <a:xfrm>
            <a:off x="1250950" y="927100"/>
            <a:ext cx="3105150" cy="2481263"/>
            <a:chOff x="1250511" y="926344"/>
            <a:chExt cx="3105465" cy="2482792"/>
          </a:xfrm>
        </p:grpSpPr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1250511" y="1220213"/>
              <a:ext cx="3105465" cy="2188923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fr-FR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grpSp>
          <p:nvGrpSpPr>
            <p:cNvPr id="36899" name="组合 2"/>
            <p:cNvGrpSpPr/>
            <p:nvPr/>
          </p:nvGrpSpPr>
          <p:grpSpPr bwMode="auto">
            <a:xfrm>
              <a:off x="1257438" y="926344"/>
              <a:ext cx="3076370" cy="1942596"/>
              <a:chOff x="1257438" y="926344"/>
              <a:chExt cx="3076370" cy="1942596"/>
            </a:xfrm>
          </p:grpSpPr>
          <p:grpSp>
            <p:nvGrpSpPr>
              <p:cNvPr id="36900" name="组合 31"/>
              <p:cNvGrpSpPr/>
              <p:nvPr/>
            </p:nvGrpSpPr>
            <p:grpSpPr bwMode="auto">
              <a:xfrm>
                <a:off x="1257438" y="926344"/>
                <a:ext cx="3076370" cy="307536"/>
                <a:chOff x="1619673" y="3253689"/>
                <a:chExt cx="3076370" cy="307536"/>
              </a:xfrm>
            </p:grpSpPr>
            <p:sp>
              <p:nvSpPr>
                <p:cNvPr id="22" name="矩形 32"/>
                <p:cNvSpPr>
                  <a:spLocks noChangeArrowheads="1"/>
                </p:cNvSpPr>
                <p:nvPr/>
              </p:nvSpPr>
              <p:spPr bwMode="auto">
                <a:xfrm>
                  <a:off x="1619097" y="3275928"/>
                  <a:ext cx="3076887" cy="252568"/>
                </a:xfrm>
                <a:prstGeom prst="rect">
                  <a:avLst/>
                </a:prstGeom>
                <a:solidFill>
                  <a:srgbClr val="C7636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6903" name="TextBox 10"/>
                <p:cNvSpPr txBox="1">
                  <a:spLocks noChangeArrowheads="1"/>
                </p:cNvSpPr>
                <p:nvPr/>
              </p:nvSpPr>
              <p:spPr bwMode="auto">
                <a:xfrm>
                  <a:off x="2231954" y="3253689"/>
                  <a:ext cx="1261873" cy="3075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zh-CN" altLang="en-US" sz="140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点击添加标题</a:t>
                  </a:r>
                  <a:endPara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36901" name="矩形 1"/>
              <p:cNvSpPr>
                <a:spLocks noChangeArrowheads="1"/>
              </p:cNvSpPr>
              <p:nvPr/>
            </p:nvSpPr>
            <p:spPr bwMode="auto">
              <a:xfrm>
                <a:off x="1363056" y="1391612"/>
                <a:ext cx="2646803" cy="14773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坚持精益求精、拒绝平庸的做事精神，帮助您实现美观、精致、严谨。</a:t>
                </a:r>
                <a:endPara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40" name="组合 39"/>
          <p:cNvGrpSpPr/>
          <p:nvPr/>
        </p:nvGrpSpPr>
        <p:grpSpPr bwMode="auto">
          <a:xfrm>
            <a:off x="4005263" y="925513"/>
            <a:ext cx="547687" cy="727075"/>
            <a:chOff x="4005092" y="925551"/>
            <a:chExt cx="547097" cy="726839"/>
          </a:xfrm>
        </p:grpSpPr>
        <p:sp>
          <p:nvSpPr>
            <p:cNvPr id="36896" name="AutoShape 41"/>
            <p:cNvSpPr>
              <a:spLocks noChangeArrowheads="1"/>
            </p:cNvSpPr>
            <p:nvPr/>
          </p:nvSpPr>
          <p:spPr bwMode="auto">
            <a:xfrm flipH="1">
              <a:off x="4005092" y="925551"/>
              <a:ext cx="547097" cy="726839"/>
            </a:xfrm>
            <a:prstGeom prst="rightArrow">
              <a:avLst>
                <a:gd name="adj1" fmla="val 50111"/>
                <a:gd name="adj2" fmla="val 63157"/>
              </a:avLst>
            </a:prstGeom>
            <a:gradFill rotWithShape="1">
              <a:gsLst>
                <a:gs pos="0">
                  <a:srgbClr val="E9E9E9"/>
                </a:gs>
                <a:gs pos="100000">
                  <a:srgbClr val="B2B2B2"/>
                </a:gs>
              </a:gsLst>
              <a:lin ang="0" scaled="1"/>
            </a:gradFill>
            <a:ln>
              <a:noFill/>
            </a:ln>
            <a:effectLst>
              <a:outerShdw dist="81320" dir="2319588" algn="ctr" rotWithShape="0">
                <a:srgbClr val="4D4D4D">
                  <a:alpha val="5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zh-CN" altLang="en-US" sz="1800" noProof="1">
                <a:solidFill>
                  <a:srgbClr val="000000"/>
                </a:solidFill>
              </a:endParaRPr>
            </a:p>
          </p:txBody>
        </p:sp>
        <p:sp>
          <p:nvSpPr>
            <p:cNvPr id="42" name="AutoShape 41"/>
            <p:cNvSpPr>
              <a:spLocks noChangeArrowheads="1"/>
            </p:cNvSpPr>
            <p:nvPr/>
          </p:nvSpPr>
          <p:spPr bwMode="auto">
            <a:xfrm flipH="1">
              <a:off x="4005092" y="925551"/>
              <a:ext cx="547097" cy="726839"/>
            </a:xfrm>
            <a:prstGeom prst="rightArrow">
              <a:avLst>
                <a:gd name="adj1" fmla="val 50111"/>
                <a:gd name="adj2" fmla="val 63157"/>
              </a:avLst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noProof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3" name="组合 42"/>
          <p:cNvGrpSpPr/>
          <p:nvPr/>
        </p:nvGrpSpPr>
        <p:grpSpPr bwMode="auto">
          <a:xfrm>
            <a:off x="4673600" y="925513"/>
            <a:ext cx="547688" cy="727075"/>
            <a:chOff x="4674204" y="925551"/>
            <a:chExt cx="547097" cy="726839"/>
          </a:xfrm>
        </p:grpSpPr>
        <p:sp>
          <p:nvSpPr>
            <p:cNvPr id="36894" name="AutoShape 18"/>
            <p:cNvSpPr>
              <a:spLocks noChangeArrowheads="1"/>
            </p:cNvSpPr>
            <p:nvPr/>
          </p:nvSpPr>
          <p:spPr bwMode="auto">
            <a:xfrm>
              <a:off x="4674204" y="925551"/>
              <a:ext cx="547097" cy="726839"/>
            </a:xfrm>
            <a:prstGeom prst="rightArrow">
              <a:avLst>
                <a:gd name="adj1" fmla="val 50111"/>
                <a:gd name="adj2" fmla="val 63157"/>
              </a:avLst>
            </a:prstGeom>
            <a:gradFill rotWithShape="1">
              <a:gsLst>
                <a:gs pos="0">
                  <a:srgbClr val="E9E9E9"/>
                </a:gs>
                <a:gs pos="100000">
                  <a:srgbClr val="B2B2B2"/>
                </a:gs>
              </a:gsLst>
              <a:lin ang="0" scaled="1"/>
            </a:gradFill>
            <a:ln>
              <a:noFill/>
            </a:ln>
            <a:effectLst>
              <a:outerShdw dist="81320" dir="2319588" algn="ctr" rotWithShape="0">
                <a:srgbClr val="4D4D4D">
                  <a:alpha val="5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zh-CN" altLang="en-US" sz="1800" noProof="1">
                <a:solidFill>
                  <a:srgbClr val="000000"/>
                </a:solidFill>
              </a:endParaRPr>
            </a:p>
          </p:txBody>
        </p:sp>
        <p:sp>
          <p:nvSpPr>
            <p:cNvPr id="45" name="AutoShape 18"/>
            <p:cNvSpPr>
              <a:spLocks noChangeArrowheads="1"/>
            </p:cNvSpPr>
            <p:nvPr/>
          </p:nvSpPr>
          <p:spPr bwMode="auto">
            <a:xfrm>
              <a:off x="4674204" y="925551"/>
              <a:ext cx="547097" cy="726839"/>
            </a:xfrm>
            <a:prstGeom prst="rightArrow">
              <a:avLst>
                <a:gd name="adj1" fmla="val 50111"/>
                <a:gd name="adj2" fmla="val 63157"/>
              </a:avLst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noProof="1">
                <a:solidFill>
                  <a:prstClr val="white"/>
                </a:solidFill>
              </a:endParaRPr>
            </a:p>
          </p:txBody>
        </p:sp>
      </p:grpSp>
      <p:grpSp>
        <p:nvGrpSpPr>
          <p:cNvPr id="46" name="组合 45"/>
          <p:cNvGrpSpPr/>
          <p:nvPr/>
        </p:nvGrpSpPr>
        <p:grpSpPr bwMode="auto">
          <a:xfrm>
            <a:off x="1111250" y="3508375"/>
            <a:ext cx="7048500" cy="865188"/>
            <a:chOff x="1110857" y="3507854"/>
            <a:chExt cx="7049287" cy="865909"/>
          </a:xfrm>
        </p:grpSpPr>
        <p:sp>
          <p:nvSpPr>
            <p:cNvPr id="36890" name="Rectangle 14"/>
            <p:cNvSpPr>
              <a:spLocks noChangeArrowheads="1"/>
            </p:cNvSpPr>
            <p:nvPr/>
          </p:nvSpPr>
          <p:spPr bwMode="auto">
            <a:xfrm rot="-5400000">
              <a:off x="920793" y="3759756"/>
              <a:ext cx="842293" cy="346364"/>
            </a:xfrm>
            <a:prstGeom prst="rect">
              <a:avLst/>
            </a:prstGeom>
            <a:solidFill>
              <a:srgbClr val="2B7EA3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 noProof="1">
                <a:solidFill>
                  <a:srgbClr val="000000"/>
                </a:solidFill>
              </a:endParaRPr>
            </a:p>
          </p:txBody>
        </p:sp>
        <p:sp>
          <p:nvSpPr>
            <p:cNvPr id="48" name="Rectangle 14"/>
            <p:cNvSpPr>
              <a:spLocks noChangeArrowheads="1"/>
            </p:cNvSpPr>
            <p:nvPr/>
          </p:nvSpPr>
          <p:spPr bwMode="auto">
            <a:xfrm>
              <a:off x="1526828" y="3507854"/>
              <a:ext cx="6633316" cy="865909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 noProof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auto">
            <a:xfrm rot="-5400000">
              <a:off x="862081" y="3759808"/>
              <a:ext cx="843665" cy="346114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noProof="1">
                <a:solidFill>
                  <a:prstClr val="white"/>
                </a:solidFill>
              </a:endParaRPr>
            </a:p>
          </p:txBody>
        </p:sp>
        <p:sp>
          <p:nvSpPr>
            <p:cNvPr id="36893" name="矩形 1"/>
            <p:cNvSpPr>
              <a:spLocks noChangeArrowheads="1"/>
            </p:cNvSpPr>
            <p:nvPr/>
          </p:nvSpPr>
          <p:spPr bwMode="auto">
            <a:xfrm>
              <a:off x="1763689" y="3607777"/>
              <a:ext cx="6264696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871" name="组合 50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6885" name="组合 51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55" name="矩形 54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6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57" name="矩形 56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6886" name="Freeform 77"/>
            <p:cNvSpPr>
              <a:spLocks noEditPoints="1"/>
            </p:cNvSpPr>
            <p:nvPr/>
          </p:nvSpPr>
          <p:spPr bwMode="auto">
            <a:xfrm>
              <a:off x="2082853" y="318761"/>
              <a:ext cx="273241" cy="220212"/>
            </a:xfrm>
            <a:custGeom>
              <a:avLst/>
              <a:gdLst>
                <a:gd name="T0" fmla="*/ 2147483646 w 60"/>
                <a:gd name="T1" fmla="*/ 2147483646 h 53"/>
                <a:gd name="T2" fmla="*/ 2147483646 w 60"/>
                <a:gd name="T3" fmla="*/ 2147483646 h 53"/>
                <a:gd name="T4" fmla="*/ 2147483646 w 60"/>
                <a:gd name="T5" fmla="*/ 2147483646 h 53"/>
                <a:gd name="T6" fmla="*/ 2147483646 w 60"/>
                <a:gd name="T7" fmla="*/ 2147483646 h 53"/>
                <a:gd name="T8" fmla="*/ 2147483646 w 60"/>
                <a:gd name="T9" fmla="*/ 2147483646 h 53"/>
                <a:gd name="T10" fmla="*/ 2147483646 w 60"/>
                <a:gd name="T11" fmla="*/ 2147483646 h 53"/>
                <a:gd name="T12" fmla="*/ 2147483646 w 60"/>
                <a:gd name="T13" fmla="*/ 2147483646 h 53"/>
                <a:gd name="T14" fmla="*/ 2147483646 w 60"/>
                <a:gd name="T15" fmla="*/ 2147483646 h 53"/>
                <a:gd name="T16" fmla="*/ 2147483646 w 60"/>
                <a:gd name="T17" fmla="*/ 2147483646 h 53"/>
                <a:gd name="T18" fmla="*/ 2147483646 w 60"/>
                <a:gd name="T19" fmla="*/ 2147483646 h 53"/>
                <a:gd name="T20" fmla="*/ 2147483646 w 60"/>
                <a:gd name="T21" fmla="*/ 2147483646 h 53"/>
                <a:gd name="T22" fmla="*/ 2147483646 w 60"/>
                <a:gd name="T23" fmla="*/ 2147483646 h 53"/>
                <a:gd name="T24" fmla="*/ 2147483646 w 60"/>
                <a:gd name="T25" fmla="*/ 2147483646 h 53"/>
                <a:gd name="T26" fmla="*/ 2147483646 w 60"/>
                <a:gd name="T27" fmla="*/ 2147483646 h 53"/>
                <a:gd name="T28" fmla="*/ 2147483646 w 60"/>
                <a:gd name="T29" fmla="*/ 2147483646 h 53"/>
                <a:gd name="T30" fmla="*/ 2147483646 w 60"/>
                <a:gd name="T31" fmla="*/ 2147483646 h 53"/>
                <a:gd name="T32" fmla="*/ 2147483646 w 60"/>
                <a:gd name="T33" fmla="*/ 0 h 53"/>
                <a:gd name="T34" fmla="*/ 2147483646 w 60"/>
                <a:gd name="T35" fmla="*/ 0 h 53"/>
                <a:gd name="T36" fmla="*/ 2147483646 w 60"/>
                <a:gd name="T37" fmla="*/ 0 h 53"/>
                <a:gd name="T38" fmla="*/ 2147483646 w 60"/>
                <a:gd name="T39" fmla="*/ 0 h 53"/>
                <a:gd name="T40" fmla="*/ 2147483646 w 60"/>
                <a:gd name="T41" fmla="*/ 2147483646 h 53"/>
                <a:gd name="T42" fmla="*/ 2147483646 w 60"/>
                <a:gd name="T43" fmla="*/ 2147483646 h 53"/>
                <a:gd name="T44" fmla="*/ 2147483646 w 60"/>
                <a:gd name="T45" fmla="*/ 2147483646 h 53"/>
                <a:gd name="T46" fmla="*/ 2147483646 w 60"/>
                <a:gd name="T47" fmla="*/ 2147483646 h 53"/>
                <a:gd name="T48" fmla="*/ 2147483646 w 60"/>
                <a:gd name="T49" fmla="*/ 0 h 53"/>
                <a:gd name="T50" fmla="*/ 2147483646 w 60"/>
                <a:gd name="T51" fmla="*/ 0 h 53"/>
                <a:gd name="T52" fmla="*/ 2147483646 w 60"/>
                <a:gd name="T53" fmla="*/ 2147483646 h 53"/>
                <a:gd name="T54" fmla="*/ 2147483646 w 60"/>
                <a:gd name="T55" fmla="*/ 2147483646 h 53"/>
                <a:gd name="T56" fmla="*/ 2147483646 w 60"/>
                <a:gd name="T57" fmla="*/ 2147483646 h 53"/>
                <a:gd name="T58" fmla="*/ 2147483646 w 60"/>
                <a:gd name="T59" fmla="*/ 2147483646 h 53"/>
                <a:gd name="T60" fmla="*/ 2147483646 w 60"/>
                <a:gd name="T61" fmla="*/ 2147483646 h 53"/>
                <a:gd name="T62" fmla="*/ 2147483646 w 60"/>
                <a:gd name="T63" fmla="*/ 2147483646 h 53"/>
                <a:gd name="T64" fmla="*/ 2147483646 w 60"/>
                <a:gd name="T65" fmla="*/ 2147483646 h 53"/>
                <a:gd name="T66" fmla="*/ 2147483646 w 60"/>
                <a:gd name="T67" fmla="*/ 2147483646 h 53"/>
                <a:gd name="T68" fmla="*/ 2147483646 w 60"/>
                <a:gd name="T69" fmla="*/ 2147483646 h 53"/>
                <a:gd name="T70" fmla="*/ 2147483646 w 60"/>
                <a:gd name="T71" fmla="*/ 2147483646 h 53"/>
                <a:gd name="T72" fmla="*/ 2147483646 w 60"/>
                <a:gd name="T73" fmla="*/ 2147483646 h 53"/>
                <a:gd name="T74" fmla="*/ 2147483646 w 60"/>
                <a:gd name="T75" fmla="*/ 2147483646 h 53"/>
                <a:gd name="T76" fmla="*/ 2147483646 w 60"/>
                <a:gd name="T77" fmla="*/ 2147483646 h 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60" h="53">
                  <a:moveTo>
                    <a:pt x="30" y="14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50"/>
                    <a:pt x="13" y="53"/>
                    <a:pt x="16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7" y="53"/>
                    <a:pt x="49" y="50"/>
                    <a:pt x="49" y="47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" y="26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3"/>
                    <a:pt x="0" y="22"/>
                    <a:pt x="2" y="2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1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1" y="1"/>
                    <a:pt x="32" y="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41" y="8"/>
                    <a:pt x="41" y="7"/>
                    <a:pt x="41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3" y="0"/>
                    <a:pt x="4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2"/>
                    <a:pt x="49" y="3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5"/>
                    <a:pt x="51" y="1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60" y="22"/>
                    <a:pt x="60" y="23"/>
                    <a:pt x="59" y="25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2" y="27"/>
                    <a:pt x="2" y="26"/>
                  </a:cubicBez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6872" name="WordArt 42"/>
          <p:cNvSpPr>
            <a:spLocks noChangeArrowheads="1" noChangeShapeType="1" noTextEdit="1"/>
          </p:cNvSpPr>
          <p:nvPr/>
        </p:nvSpPr>
        <p:spPr bwMode="auto">
          <a:xfrm>
            <a:off x="9901238" y="776288"/>
            <a:ext cx="388937" cy="3460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3600" kern="10">
              <a:solidFill>
                <a:srgbClr val="40BDB6"/>
              </a:solidFill>
              <a:latin typeface="+mn-ea"/>
              <a:ea typeface="+mn-ea"/>
              <a:cs typeface="+mn-ea"/>
            </a:endParaRPr>
          </a:p>
        </p:txBody>
      </p:sp>
      <p:grpSp>
        <p:nvGrpSpPr>
          <p:cNvPr id="58" name="组合 57"/>
          <p:cNvGrpSpPr/>
          <p:nvPr/>
        </p:nvGrpSpPr>
        <p:grpSpPr bwMode="auto">
          <a:xfrm>
            <a:off x="3584575" y="2681288"/>
            <a:ext cx="628650" cy="628650"/>
            <a:chOff x="-2916238" y="-728663"/>
            <a:chExt cx="2122488" cy="2122488"/>
          </a:xfrm>
        </p:grpSpPr>
        <p:sp>
          <p:nvSpPr>
            <p:cNvPr id="63" name="Freeform 6"/>
            <p:cNvSpPr/>
            <p:nvPr/>
          </p:nvSpPr>
          <p:spPr bwMode="auto">
            <a:xfrm>
              <a:off x="-2916238" y="-728663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373 w 566"/>
                <a:gd name="T3" fmla="*/ 551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59 w 566"/>
                <a:gd name="T11" fmla="*/ 22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8"/>
                    <a:pt x="485" y="514"/>
                    <a:pt x="373" y="551"/>
                  </a:cubicBezTo>
                  <a:cubicBezTo>
                    <a:pt x="345" y="561"/>
                    <a:pt x="314" y="566"/>
                    <a:pt x="283" y="566"/>
                  </a:cubicBezTo>
                  <a:cubicBezTo>
                    <a:pt x="126" y="566"/>
                    <a:pt x="0" y="439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19" y="0"/>
                    <a:pt x="532" y="96"/>
                    <a:pt x="559" y="224"/>
                  </a:cubicBezTo>
                  <a:cubicBezTo>
                    <a:pt x="564" y="243"/>
                    <a:pt x="566" y="263"/>
                    <a:pt x="566" y="283"/>
                  </a:cubicBezTo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881" name="组合 63"/>
            <p:cNvGrpSpPr/>
            <p:nvPr/>
          </p:nvGrpSpPr>
          <p:grpSpPr bwMode="auto">
            <a:xfrm>
              <a:off x="-2293938" y="-131763"/>
              <a:ext cx="1500188" cy="1470025"/>
              <a:chOff x="-2293938" y="-131763"/>
              <a:chExt cx="1500188" cy="1470025"/>
            </a:xfrm>
          </p:grpSpPr>
          <p:sp>
            <p:nvSpPr>
              <p:cNvPr id="36883" name="Freeform 7"/>
              <p:cNvSpPr/>
              <p:nvPr/>
            </p:nvSpPr>
            <p:spPr bwMode="auto">
              <a:xfrm>
                <a:off x="-2293938" y="171450"/>
                <a:ext cx="409575" cy="377825"/>
              </a:xfrm>
              <a:custGeom>
                <a:avLst/>
                <a:gdLst>
                  <a:gd name="T0" fmla="*/ 0 w 109"/>
                  <a:gd name="T1" fmla="*/ 0 h 101"/>
                  <a:gd name="T2" fmla="*/ 2147483646 w 109"/>
                  <a:gd name="T3" fmla="*/ 2147483646 h 101"/>
                  <a:gd name="T4" fmla="*/ 2147483646 w 109"/>
                  <a:gd name="T5" fmla="*/ 2147483646 h 101"/>
                  <a:gd name="T6" fmla="*/ 2147483646 w 109"/>
                  <a:gd name="T7" fmla="*/ 2147483646 h 101"/>
                  <a:gd name="T8" fmla="*/ 0 w 109"/>
                  <a:gd name="T9" fmla="*/ 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9" h="101">
                    <a:moveTo>
                      <a:pt x="0" y="0"/>
                    </a:moveTo>
                    <a:cubicBezTo>
                      <a:pt x="5" y="3"/>
                      <a:pt x="9" y="7"/>
                      <a:pt x="13" y="12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109" y="65"/>
                      <a:pt x="109" y="65"/>
                      <a:pt x="109" y="65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884" name="Freeform 8"/>
              <p:cNvSpPr/>
              <p:nvPr/>
            </p:nvSpPr>
            <p:spPr bwMode="auto">
              <a:xfrm>
                <a:off x="-2035174" y="-131763"/>
                <a:ext cx="1241424" cy="1470025"/>
              </a:xfrm>
              <a:custGeom>
                <a:avLst/>
                <a:gdLst>
                  <a:gd name="T0" fmla="*/ 2147483646 w 331"/>
                  <a:gd name="T1" fmla="*/ 0 h 392"/>
                  <a:gd name="T2" fmla="*/ 2147483646 w 331"/>
                  <a:gd name="T3" fmla="*/ 2147483646 h 392"/>
                  <a:gd name="T4" fmla="*/ 2147483646 w 331"/>
                  <a:gd name="T5" fmla="*/ 2147483646 h 392"/>
                  <a:gd name="T6" fmla="*/ 2147483646 w 331"/>
                  <a:gd name="T7" fmla="*/ 2147483646 h 392"/>
                  <a:gd name="T8" fmla="*/ 2147483646 w 331"/>
                  <a:gd name="T9" fmla="*/ 2147483646 h 392"/>
                  <a:gd name="T10" fmla="*/ 2147483646 w 331"/>
                  <a:gd name="T11" fmla="*/ 2147483646 h 392"/>
                  <a:gd name="T12" fmla="*/ 2147483646 w 331"/>
                  <a:gd name="T13" fmla="*/ 2147483646 h 392"/>
                  <a:gd name="T14" fmla="*/ 2147483646 w 331"/>
                  <a:gd name="T15" fmla="*/ 2147483646 h 392"/>
                  <a:gd name="T16" fmla="*/ 2147483646 w 331"/>
                  <a:gd name="T17" fmla="*/ 2147483646 h 392"/>
                  <a:gd name="T18" fmla="*/ 2147483646 w 331"/>
                  <a:gd name="T19" fmla="*/ 2147483646 h 392"/>
                  <a:gd name="T20" fmla="*/ 2147483646 w 331"/>
                  <a:gd name="T21" fmla="*/ 2147483646 h 392"/>
                  <a:gd name="T22" fmla="*/ 2147483646 w 331"/>
                  <a:gd name="T23" fmla="*/ 2147483646 h 392"/>
                  <a:gd name="T24" fmla="*/ 2147483646 w 331"/>
                  <a:gd name="T25" fmla="*/ 2147483646 h 392"/>
                  <a:gd name="T26" fmla="*/ 2147483646 w 331"/>
                  <a:gd name="T27" fmla="*/ 2147483646 h 392"/>
                  <a:gd name="T28" fmla="*/ 2147483646 w 331"/>
                  <a:gd name="T29" fmla="*/ 2147483646 h 392"/>
                  <a:gd name="T30" fmla="*/ 2147483646 w 331"/>
                  <a:gd name="T31" fmla="*/ 2147483646 h 392"/>
                  <a:gd name="T32" fmla="*/ 2147483646 w 331"/>
                  <a:gd name="T33" fmla="*/ 2147483646 h 392"/>
                  <a:gd name="T34" fmla="*/ 2147483646 w 331"/>
                  <a:gd name="T35" fmla="*/ 2147483646 h 392"/>
                  <a:gd name="T36" fmla="*/ 2147483646 w 331"/>
                  <a:gd name="T37" fmla="*/ 2147483646 h 392"/>
                  <a:gd name="T38" fmla="*/ 2147483646 w 331"/>
                  <a:gd name="T39" fmla="*/ 2147483646 h 392"/>
                  <a:gd name="T40" fmla="*/ 2147483646 w 331"/>
                  <a:gd name="T41" fmla="*/ 2147483646 h 392"/>
                  <a:gd name="T42" fmla="*/ 2147483646 w 331"/>
                  <a:gd name="T43" fmla="*/ 2147483646 h 392"/>
                  <a:gd name="T44" fmla="*/ 2147483646 w 331"/>
                  <a:gd name="T45" fmla="*/ 2147483646 h 392"/>
                  <a:gd name="T46" fmla="*/ 0 w 331"/>
                  <a:gd name="T47" fmla="*/ 2147483646 h 392"/>
                  <a:gd name="T48" fmla="*/ 0 w 331"/>
                  <a:gd name="T49" fmla="*/ 2147483646 h 392"/>
                  <a:gd name="T50" fmla="*/ 2147483646 w 331"/>
                  <a:gd name="T51" fmla="*/ 2147483646 h 392"/>
                  <a:gd name="T52" fmla="*/ 2147483646 w 331"/>
                  <a:gd name="T53" fmla="*/ 2147483646 h 392"/>
                  <a:gd name="T54" fmla="*/ 2147483646 w 331"/>
                  <a:gd name="T55" fmla="*/ 2147483646 h 392"/>
                  <a:gd name="T56" fmla="*/ 2147483646 w 331"/>
                  <a:gd name="T57" fmla="*/ 2147483646 h 392"/>
                  <a:gd name="T58" fmla="*/ 2147483646 w 331"/>
                  <a:gd name="T59" fmla="*/ 0 h 39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31" h="392">
                    <a:moveTo>
                      <a:pt x="204" y="0"/>
                    </a:moveTo>
                    <a:cubicBezTo>
                      <a:pt x="227" y="17"/>
                      <a:pt x="232" y="48"/>
                      <a:pt x="216" y="71"/>
                    </a:cubicBezTo>
                    <a:cubicBezTo>
                      <a:pt x="57" y="295"/>
                      <a:pt x="57" y="295"/>
                      <a:pt x="57" y="295"/>
                    </a:cubicBezTo>
                    <a:cubicBezTo>
                      <a:pt x="57" y="296"/>
                      <a:pt x="56" y="296"/>
                      <a:pt x="56" y="297"/>
                    </a:cubicBezTo>
                    <a:cubicBezTo>
                      <a:pt x="55" y="298"/>
                      <a:pt x="55" y="298"/>
                      <a:pt x="55" y="298"/>
                    </a:cubicBezTo>
                    <a:cubicBezTo>
                      <a:pt x="55" y="298"/>
                      <a:pt x="55" y="299"/>
                      <a:pt x="54" y="299"/>
                    </a:cubicBezTo>
                    <a:cubicBezTo>
                      <a:pt x="52" y="301"/>
                      <a:pt x="51" y="303"/>
                      <a:pt x="49" y="305"/>
                    </a:cubicBezTo>
                    <a:cubicBezTo>
                      <a:pt x="48" y="305"/>
                      <a:pt x="48" y="305"/>
                      <a:pt x="48" y="305"/>
                    </a:cubicBezTo>
                    <a:cubicBezTo>
                      <a:pt x="48" y="305"/>
                      <a:pt x="48" y="305"/>
                      <a:pt x="48" y="305"/>
                    </a:cubicBezTo>
                    <a:cubicBezTo>
                      <a:pt x="47" y="306"/>
                      <a:pt x="47" y="306"/>
                      <a:pt x="47" y="306"/>
                    </a:cubicBezTo>
                    <a:cubicBezTo>
                      <a:pt x="47" y="306"/>
                      <a:pt x="47" y="306"/>
                      <a:pt x="46" y="306"/>
                    </a:cubicBezTo>
                    <a:cubicBezTo>
                      <a:pt x="46" y="307"/>
                      <a:pt x="46" y="307"/>
                      <a:pt x="46" y="307"/>
                    </a:cubicBezTo>
                    <a:cubicBezTo>
                      <a:pt x="44" y="308"/>
                      <a:pt x="43" y="309"/>
                      <a:pt x="41" y="310"/>
                    </a:cubicBezTo>
                    <a:cubicBezTo>
                      <a:pt x="40" y="310"/>
                      <a:pt x="40" y="310"/>
                      <a:pt x="40" y="311"/>
                    </a:cubicBezTo>
                    <a:cubicBezTo>
                      <a:pt x="37" y="312"/>
                      <a:pt x="35" y="313"/>
                      <a:pt x="33" y="314"/>
                    </a:cubicBezTo>
                    <a:cubicBezTo>
                      <a:pt x="32" y="314"/>
                      <a:pt x="32" y="314"/>
                      <a:pt x="31" y="314"/>
                    </a:cubicBezTo>
                    <a:cubicBezTo>
                      <a:pt x="29" y="315"/>
                      <a:pt x="27" y="315"/>
                      <a:pt x="26" y="316"/>
                    </a:cubicBezTo>
                    <a:cubicBezTo>
                      <a:pt x="25" y="316"/>
                      <a:pt x="24" y="316"/>
                      <a:pt x="23" y="316"/>
                    </a:cubicBezTo>
                    <a:cubicBezTo>
                      <a:pt x="21" y="316"/>
                      <a:pt x="19" y="316"/>
                      <a:pt x="18" y="316"/>
                    </a:cubicBezTo>
                    <a:cubicBezTo>
                      <a:pt x="15" y="316"/>
                      <a:pt x="15" y="316"/>
                      <a:pt x="15" y="316"/>
                    </a:cubicBezTo>
                    <a:cubicBezTo>
                      <a:pt x="13" y="316"/>
                      <a:pt x="11" y="316"/>
                      <a:pt x="9" y="316"/>
                    </a:cubicBezTo>
                    <a:cubicBezTo>
                      <a:pt x="9" y="316"/>
                      <a:pt x="8" y="316"/>
                      <a:pt x="7" y="316"/>
                    </a:cubicBezTo>
                    <a:cubicBezTo>
                      <a:pt x="6" y="315"/>
                      <a:pt x="4" y="315"/>
                      <a:pt x="3" y="315"/>
                    </a:cubicBezTo>
                    <a:cubicBezTo>
                      <a:pt x="2" y="314"/>
                      <a:pt x="1" y="314"/>
                      <a:pt x="0" y="314"/>
                    </a:cubicBezTo>
                    <a:cubicBezTo>
                      <a:pt x="0" y="314"/>
                      <a:pt x="0" y="314"/>
                      <a:pt x="0" y="314"/>
                    </a:cubicBezTo>
                    <a:cubicBezTo>
                      <a:pt x="138" y="392"/>
                      <a:pt x="138" y="392"/>
                      <a:pt x="138" y="392"/>
                    </a:cubicBezTo>
                    <a:cubicBezTo>
                      <a:pt x="250" y="355"/>
                      <a:pt x="331" y="249"/>
                      <a:pt x="331" y="124"/>
                    </a:cubicBezTo>
                    <a:cubicBezTo>
                      <a:pt x="331" y="104"/>
                      <a:pt x="329" y="84"/>
                      <a:pt x="324" y="65"/>
                    </a:cubicBezTo>
                    <a:cubicBezTo>
                      <a:pt x="324" y="65"/>
                      <a:pt x="324" y="65"/>
                      <a:pt x="324" y="65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36882" name="Freeform 9"/>
            <p:cNvSpPr/>
            <p:nvPr/>
          </p:nvSpPr>
          <p:spPr bwMode="auto">
            <a:xfrm>
              <a:off x="-2605088" y="-166688"/>
              <a:ext cx="1439863" cy="1219200"/>
            </a:xfrm>
            <a:custGeom>
              <a:avLst/>
              <a:gdLst>
                <a:gd name="T0" fmla="*/ 2147483646 w 384"/>
                <a:gd name="T1" fmla="*/ 2147483646 h 325"/>
                <a:gd name="T2" fmla="*/ 2147483646 w 384"/>
                <a:gd name="T3" fmla="*/ 2147483646 h 325"/>
                <a:gd name="T4" fmla="*/ 2147483646 w 384"/>
                <a:gd name="T5" fmla="*/ 2147483646 h 325"/>
                <a:gd name="T6" fmla="*/ 2147483646 w 384"/>
                <a:gd name="T7" fmla="*/ 2147483646 h 325"/>
                <a:gd name="T8" fmla="*/ 2147483646 w 384"/>
                <a:gd name="T9" fmla="*/ 2147483646 h 325"/>
                <a:gd name="T10" fmla="*/ 2147483646 w 384"/>
                <a:gd name="T11" fmla="*/ 2147483646 h 325"/>
                <a:gd name="T12" fmla="*/ 2147483646 w 384"/>
                <a:gd name="T13" fmla="*/ 2147483646 h 325"/>
                <a:gd name="T14" fmla="*/ 2147483646 w 384"/>
                <a:gd name="T15" fmla="*/ 2147483646 h 325"/>
                <a:gd name="T16" fmla="*/ 2147483646 w 384"/>
                <a:gd name="T17" fmla="*/ 2147483646 h 325"/>
                <a:gd name="T18" fmla="*/ 2147483646 w 384"/>
                <a:gd name="T19" fmla="*/ 2147483646 h 325"/>
                <a:gd name="T20" fmla="*/ 2147483646 w 384"/>
                <a:gd name="T21" fmla="*/ 2147483646 h 325"/>
                <a:gd name="T22" fmla="*/ 2147483646 w 384"/>
                <a:gd name="T23" fmla="*/ 2147483646 h 325"/>
                <a:gd name="T24" fmla="*/ 2147483646 w 384"/>
                <a:gd name="T25" fmla="*/ 2147483646 h 325"/>
                <a:gd name="T26" fmla="*/ 2147483646 w 384"/>
                <a:gd name="T27" fmla="*/ 2147483646 h 325"/>
                <a:gd name="T28" fmla="*/ 2147483646 w 384"/>
                <a:gd name="T29" fmla="*/ 2147483646 h 325"/>
                <a:gd name="T30" fmla="*/ 2147483646 w 384"/>
                <a:gd name="T31" fmla="*/ 2147483646 h 325"/>
                <a:gd name="T32" fmla="*/ 2147483646 w 384"/>
                <a:gd name="T33" fmla="*/ 2147483646 h 325"/>
                <a:gd name="T34" fmla="*/ 2147483646 w 384"/>
                <a:gd name="T35" fmla="*/ 2147483646 h 325"/>
                <a:gd name="T36" fmla="*/ 2147483646 w 384"/>
                <a:gd name="T37" fmla="*/ 2147483646 h 325"/>
                <a:gd name="T38" fmla="*/ 2147483646 w 384"/>
                <a:gd name="T39" fmla="*/ 2147483646 h 325"/>
                <a:gd name="T40" fmla="*/ 2147483646 w 384"/>
                <a:gd name="T41" fmla="*/ 2147483646 h 325"/>
                <a:gd name="T42" fmla="*/ 2147483646 w 384"/>
                <a:gd name="T43" fmla="*/ 2147483646 h 325"/>
                <a:gd name="T44" fmla="*/ 2147483646 w 384"/>
                <a:gd name="T45" fmla="*/ 2147483646 h 325"/>
                <a:gd name="T46" fmla="*/ 2147483646 w 384"/>
                <a:gd name="T47" fmla="*/ 2147483646 h 325"/>
                <a:gd name="T48" fmla="*/ 2147483646 w 384"/>
                <a:gd name="T49" fmla="*/ 0 h 325"/>
                <a:gd name="T50" fmla="*/ 2147483646 w 384"/>
                <a:gd name="T51" fmla="*/ 2147483646 h 325"/>
                <a:gd name="T52" fmla="*/ 2147483646 w 384"/>
                <a:gd name="T53" fmla="*/ 2147483646 h 325"/>
                <a:gd name="T54" fmla="*/ 2147483646 w 384"/>
                <a:gd name="T55" fmla="*/ 2147483646 h 325"/>
                <a:gd name="T56" fmla="*/ 2147483646 w 384"/>
                <a:gd name="T57" fmla="*/ 2147483646 h 325"/>
                <a:gd name="T58" fmla="*/ 2147483646 w 384"/>
                <a:gd name="T59" fmla="*/ 2147483646 h 325"/>
                <a:gd name="T60" fmla="*/ 2147483646 w 384"/>
                <a:gd name="T61" fmla="*/ 2147483646 h 325"/>
                <a:gd name="T62" fmla="*/ 2147483646 w 384"/>
                <a:gd name="T63" fmla="*/ 2147483646 h 325"/>
                <a:gd name="T64" fmla="*/ 2147483646 w 384"/>
                <a:gd name="T65" fmla="*/ 2147483646 h 325"/>
                <a:gd name="T66" fmla="*/ 2147483646 w 384"/>
                <a:gd name="T67" fmla="*/ 2147483646 h 325"/>
                <a:gd name="T68" fmla="*/ 2147483646 w 384"/>
                <a:gd name="T69" fmla="*/ 2147483646 h 325"/>
                <a:gd name="T70" fmla="*/ 2147483646 w 384"/>
                <a:gd name="T71" fmla="*/ 2147483646 h 325"/>
                <a:gd name="T72" fmla="*/ 2147483646 w 384"/>
                <a:gd name="T73" fmla="*/ 2147483646 h 325"/>
                <a:gd name="T74" fmla="*/ 2147483646 w 384"/>
                <a:gd name="T75" fmla="*/ 2147483646 h 325"/>
                <a:gd name="T76" fmla="*/ 2147483646 w 384"/>
                <a:gd name="T77" fmla="*/ 2147483646 h 325"/>
                <a:gd name="T78" fmla="*/ 2147483646 w 384"/>
                <a:gd name="T79" fmla="*/ 2147483646 h 325"/>
                <a:gd name="T80" fmla="*/ 2147483646 w 384"/>
                <a:gd name="T81" fmla="*/ 2147483646 h 325"/>
                <a:gd name="T82" fmla="*/ 2147483646 w 384"/>
                <a:gd name="T83" fmla="*/ 2147483646 h 325"/>
                <a:gd name="T84" fmla="*/ 2147483646 w 384"/>
                <a:gd name="T85" fmla="*/ 2147483646 h 325"/>
                <a:gd name="T86" fmla="*/ 2147483646 w 384"/>
                <a:gd name="T87" fmla="*/ 2147483646 h 325"/>
                <a:gd name="T88" fmla="*/ 2147483646 w 384"/>
                <a:gd name="T89" fmla="*/ 2147483646 h 325"/>
                <a:gd name="T90" fmla="*/ 2147483646 w 384"/>
                <a:gd name="T91" fmla="*/ 2147483646 h 32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84" h="325">
                  <a:moveTo>
                    <a:pt x="167" y="325"/>
                  </a:moveTo>
                  <a:cubicBezTo>
                    <a:pt x="167" y="325"/>
                    <a:pt x="167" y="325"/>
                    <a:pt x="167" y="325"/>
                  </a:cubicBezTo>
                  <a:cubicBezTo>
                    <a:pt x="165" y="325"/>
                    <a:pt x="163" y="325"/>
                    <a:pt x="161" y="325"/>
                  </a:cubicBezTo>
                  <a:cubicBezTo>
                    <a:pt x="161" y="325"/>
                    <a:pt x="160" y="325"/>
                    <a:pt x="159" y="325"/>
                  </a:cubicBezTo>
                  <a:cubicBezTo>
                    <a:pt x="158" y="324"/>
                    <a:pt x="156" y="324"/>
                    <a:pt x="155" y="324"/>
                  </a:cubicBezTo>
                  <a:cubicBezTo>
                    <a:pt x="154" y="323"/>
                    <a:pt x="153" y="323"/>
                    <a:pt x="152" y="323"/>
                  </a:cubicBezTo>
                  <a:cubicBezTo>
                    <a:pt x="150" y="322"/>
                    <a:pt x="148" y="321"/>
                    <a:pt x="146" y="320"/>
                  </a:cubicBezTo>
                  <a:cubicBezTo>
                    <a:pt x="146" y="320"/>
                    <a:pt x="146" y="320"/>
                    <a:pt x="146" y="320"/>
                  </a:cubicBezTo>
                  <a:cubicBezTo>
                    <a:pt x="145" y="320"/>
                    <a:pt x="145" y="320"/>
                    <a:pt x="145" y="320"/>
                  </a:cubicBezTo>
                  <a:cubicBezTo>
                    <a:pt x="143" y="319"/>
                    <a:pt x="142" y="318"/>
                    <a:pt x="141" y="317"/>
                  </a:cubicBezTo>
                  <a:cubicBezTo>
                    <a:pt x="140" y="317"/>
                    <a:pt x="140" y="317"/>
                    <a:pt x="140" y="317"/>
                  </a:cubicBezTo>
                  <a:cubicBezTo>
                    <a:pt x="139" y="316"/>
                    <a:pt x="139" y="316"/>
                    <a:pt x="139" y="316"/>
                  </a:cubicBezTo>
                  <a:cubicBezTo>
                    <a:pt x="139" y="316"/>
                    <a:pt x="139" y="316"/>
                    <a:pt x="139" y="316"/>
                  </a:cubicBezTo>
                  <a:cubicBezTo>
                    <a:pt x="138" y="315"/>
                    <a:pt x="138" y="315"/>
                    <a:pt x="138" y="315"/>
                  </a:cubicBezTo>
                  <a:cubicBezTo>
                    <a:pt x="138" y="315"/>
                    <a:pt x="138" y="315"/>
                    <a:pt x="138" y="315"/>
                  </a:cubicBezTo>
                  <a:cubicBezTo>
                    <a:pt x="136" y="314"/>
                    <a:pt x="134" y="312"/>
                    <a:pt x="132" y="310"/>
                  </a:cubicBezTo>
                  <a:cubicBezTo>
                    <a:pt x="131" y="309"/>
                    <a:pt x="131" y="309"/>
                    <a:pt x="131" y="309"/>
                  </a:cubicBezTo>
                  <a:cubicBezTo>
                    <a:pt x="130" y="308"/>
                    <a:pt x="129" y="307"/>
                    <a:pt x="129" y="306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0" y="142"/>
                    <a:pt x="3" y="110"/>
                    <a:pt x="25" y="93"/>
                  </a:cubicBezTo>
                  <a:cubicBezTo>
                    <a:pt x="34" y="86"/>
                    <a:pt x="45" y="82"/>
                    <a:pt x="56" y="82"/>
                  </a:cubicBezTo>
                  <a:cubicBezTo>
                    <a:pt x="72" y="82"/>
                    <a:pt x="86" y="89"/>
                    <a:pt x="96" y="102"/>
                  </a:cubicBezTo>
                  <a:cubicBezTo>
                    <a:pt x="166" y="191"/>
                    <a:pt x="166" y="191"/>
                    <a:pt x="166" y="191"/>
                  </a:cubicBezTo>
                  <a:cubicBezTo>
                    <a:pt x="286" y="21"/>
                    <a:pt x="286" y="21"/>
                    <a:pt x="286" y="21"/>
                  </a:cubicBezTo>
                  <a:cubicBezTo>
                    <a:pt x="295" y="8"/>
                    <a:pt x="311" y="0"/>
                    <a:pt x="327" y="0"/>
                  </a:cubicBezTo>
                  <a:cubicBezTo>
                    <a:pt x="337" y="0"/>
                    <a:pt x="348" y="3"/>
                    <a:pt x="356" y="9"/>
                  </a:cubicBezTo>
                  <a:cubicBezTo>
                    <a:pt x="379" y="25"/>
                    <a:pt x="384" y="57"/>
                    <a:pt x="368" y="80"/>
                  </a:cubicBezTo>
                  <a:cubicBezTo>
                    <a:pt x="209" y="304"/>
                    <a:pt x="209" y="304"/>
                    <a:pt x="209" y="304"/>
                  </a:cubicBezTo>
                  <a:cubicBezTo>
                    <a:pt x="209" y="305"/>
                    <a:pt x="208" y="306"/>
                    <a:pt x="208" y="306"/>
                  </a:cubicBezTo>
                  <a:cubicBezTo>
                    <a:pt x="207" y="307"/>
                    <a:pt x="207" y="307"/>
                    <a:pt x="207" y="307"/>
                  </a:cubicBezTo>
                  <a:cubicBezTo>
                    <a:pt x="207" y="307"/>
                    <a:pt x="207" y="308"/>
                    <a:pt x="206" y="308"/>
                  </a:cubicBezTo>
                  <a:cubicBezTo>
                    <a:pt x="204" y="310"/>
                    <a:pt x="203" y="312"/>
                    <a:pt x="201" y="314"/>
                  </a:cubicBezTo>
                  <a:cubicBezTo>
                    <a:pt x="200" y="314"/>
                    <a:pt x="200" y="314"/>
                    <a:pt x="200" y="314"/>
                  </a:cubicBezTo>
                  <a:cubicBezTo>
                    <a:pt x="200" y="314"/>
                    <a:pt x="200" y="314"/>
                    <a:pt x="200" y="314"/>
                  </a:cubicBezTo>
                  <a:cubicBezTo>
                    <a:pt x="199" y="315"/>
                    <a:pt x="199" y="315"/>
                    <a:pt x="199" y="315"/>
                  </a:cubicBezTo>
                  <a:cubicBezTo>
                    <a:pt x="199" y="315"/>
                    <a:pt x="199" y="315"/>
                    <a:pt x="198" y="315"/>
                  </a:cubicBezTo>
                  <a:cubicBezTo>
                    <a:pt x="198" y="316"/>
                    <a:pt x="198" y="316"/>
                    <a:pt x="198" y="316"/>
                  </a:cubicBezTo>
                  <a:cubicBezTo>
                    <a:pt x="196" y="317"/>
                    <a:pt x="195" y="318"/>
                    <a:pt x="193" y="319"/>
                  </a:cubicBezTo>
                  <a:cubicBezTo>
                    <a:pt x="192" y="319"/>
                    <a:pt x="192" y="319"/>
                    <a:pt x="192" y="320"/>
                  </a:cubicBezTo>
                  <a:cubicBezTo>
                    <a:pt x="189" y="321"/>
                    <a:pt x="187" y="322"/>
                    <a:pt x="185" y="323"/>
                  </a:cubicBezTo>
                  <a:cubicBezTo>
                    <a:pt x="184" y="323"/>
                    <a:pt x="184" y="323"/>
                    <a:pt x="183" y="323"/>
                  </a:cubicBezTo>
                  <a:cubicBezTo>
                    <a:pt x="181" y="324"/>
                    <a:pt x="179" y="324"/>
                    <a:pt x="178" y="325"/>
                  </a:cubicBezTo>
                  <a:cubicBezTo>
                    <a:pt x="177" y="325"/>
                    <a:pt x="176" y="325"/>
                    <a:pt x="175" y="325"/>
                  </a:cubicBezTo>
                  <a:cubicBezTo>
                    <a:pt x="173" y="325"/>
                    <a:pt x="171" y="325"/>
                    <a:pt x="170" y="325"/>
                  </a:cubicBezTo>
                  <a:cubicBezTo>
                    <a:pt x="168" y="325"/>
                    <a:pt x="168" y="325"/>
                    <a:pt x="168" y="325"/>
                  </a:cubicBezTo>
                  <a:lnTo>
                    <a:pt x="167" y="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0" name="组合 9"/>
          <p:cNvGrpSpPr/>
          <p:nvPr/>
        </p:nvGrpSpPr>
        <p:grpSpPr bwMode="auto">
          <a:xfrm>
            <a:off x="7196138" y="2681288"/>
            <a:ext cx="628650" cy="628650"/>
            <a:chOff x="9405804" y="2634889"/>
            <a:chExt cx="691288" cy="691284"/>
          </a:xfrm>
        </p:grpSpPr>
        <p:sp>
          <p:nvSpPr>
            <p:cNvPr id="69" name="Freeform 6"/>
            <p:cNvSpPr/>
            <p:nvPr/>
          </p:nvSpPr>
          <p:spPr bwMode="auto">
            <a:xfrm>
              <a:off x="9405804" y="2634889"/>
              <a:ext cx="691288" cy="691284"/>
            </a:xfrm>
            <a:custGeom>
              <a:avLst/>
              <a:gdLst>
                <a:gd name="T0" fmla="*/ 566 w 566"/>
                <a:gd name="T1" fmla="*/ 283 h 566"/>
                <a:gd name="T2" fmla="*/ 373 w 566"/>
                <a:gd name="T3" fmla="*/ 551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59 w 566"/>
                <a:gd name="T11" fmla="*/ 22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8"/>
                    <a:pt x="485" y="514"/>
                    <a:pt x="373" y="551"/>
                  </a:cubicBezTo>
                  <a:cubicBezTo>
                    <a:pt x="345" y="561"/>
                    <a:pt x="314" y="566"/>
                    <a:pt x="283" y="566"/>
                  </a:cubicBezTo>
                  <a:cubicBezTo>
                    <a:pt x="126" y="566"/>
                    <a:pt x="0" y="439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19" y="0"/>
                    <a:pt x="532" y="96"/>
                    <a:pt x="559" y="224"/>
                  </a:cubicBezTo>
                  <a:cubicBezTo>
                    <a:pt x="564" y="243"/>
                    <a:pt x="566" y="263"/>
                    <a:pt x="566" y="283"/>
                  </a:cubicBezTo>
                </a:path>
              </a:pathLst>
            </a:cu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6876" name="Freeform 7"/>
            <p:cNvSpPr/>
            <p:nvPr/>
          </p:nvSpPr>
          <p:spPr bwMode="auto">
            <a:xfrm rot="-1235197">
              <a:off x="9600676" y="2814115"/>
              <a:ext cx="133397" cy="123056"/>
            </a:xfrm>
            <a:custGeom>
              <a:avLst/>
              <a:gdLst>
                <a:gd name="T0" fmla="*/ 0 w 109"/>
                <a:gd name="T1" fmla="*/ 0 h 101"/>
                <a:gd name="T2" fmla="*/ 2147483646 w 109"/>
                <a:gd name="T3" fmla="*/ 2147483646 h 101"/>
                <a:gd name="T4" fmla="*/ 2147483646 w 109"/>
                <a:gd name="T5" fmla="*/ 2147483646 h 101"/>
                <a:gd name="T6" fmla="*/ 2147483646 w 109"/>
                <a:gd name="T7" fmla="*/ 2147483646 h 101"/>
                <a:gd name="T8" fmla="*/ 0 w 109"/>
                <a:gd name="T9" fmla="*/ 0 h 1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" h="101">
                  <a:moveTo>
                    <a:pt x="0" y="0"/>
                  </a:moveTo>
                  <a:cubicBezTo>
                    <a:pt x="5" y="3"/>
                    <a:pt x="9" y="7"/>
                    <a:pt x="13" y="12"/>
                  </a:cubicBezTo>
                  <a:cubicBezTo>
                    <a:pt x="83" y="101"/>
                    <a:pt x="83" y="101"/>
                    <a:pt x="83" y="101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73735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6877" name="Freeform 8"/>
            <p:cNvSpPr/>
            <p:nvPr/>
          </p:nvSpPr>
          <p:spPr bwMode="auto">
            <a:xfrm>
              <a:off x="9670340" y="2784050"/>
              <a:ext cx="426752" cy="524040"/>
            </a:xfrm>
            <a:custGeom>
              <a:avLst/>
              <a:gdLst>
                <a:gd name="T0" fmla="*/ 0 w 10000"/>
                <a:gd name="T1" fmla="*/ 2147483646 h 10000"/>
                <a:gd name="T2" fmla="*/ 2147483646 w 10000"/>
                <a:gd name="T3" fmla="*/ 2147483646 h 10000"/>
                <a:gd name="T4" fmla="*/ 2147483646 w 10000"/>
                <a:gd name="T5" fmla="*/ 2147483646 h 10000"/>
                <a:gd name="T6" fmla="*/ 2147483646 w 10000"/>
                <a:gd name="T7" fmla="*/ 2147483646 h 10000"/>
                <a:gd name="T8" fmla="*/ 2147483646 w 10000"/>
                <a:gd name="T9" fmla="*/ 2147483646 h 10000"/>
                <a:gd name="T10" fmla="*/ 2147483646 w 10000"/>
                <a:gd name="T11" fmla="*/ 0 h 1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00" h="10000">
                  <a:moveTo>
                    <a:pt x="0" y="7864"/>
                  </a:moveTo>
                  <a:cubicBezTo>
                    <a:pt x="781" y="8234"/>
                    <a:pt x="4146" y="10032"/>
                    <a:pt x="4475" y="10000"/>
                  </a:cubicBezTo>
                  <a:cubicBezTo>
                    <a:pt x="7033" y="9747"/>
                    <a:pt x="10000" y="6621"/>
                    <a:pt x="10000" y="3753"/>
                  </a:cubicBezTo>
                  <a:cubicBezTo>
                    <a:pt x="10000" y="3287"/>
                    <a:pt x="9942" y="2821"/>
                    <a:pt x="9800" y="2378"/>
                  </a:cubicBezTo>
                  <a:cubicBezTo>
                    <a:pt x="6365" y="863"/>
                    <a:pt x="4802" y="0"/>
                    <a:pt x="4802" y="0"/>
                  </a:cubicBezTo>
                </a:path>
              </a:pathLst>
            </a:custGeom>
            <a:solidFill>
              <a:srgbClr val="973735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" name="任意多边形 7"/>
            <p:cNvSpPr/>
            <p:nvPr/>
          </p:nvSpPr>
          <p:spPr>
            <a:xfrm rot="20955177">
              <a:off x="9582117" y="2758831"/>
              <a:ext cx="338661" cy="427689"/>
            </a:xfrm>
            <a:custGeom>
              <a:avLst/>
              <a:gdLst>
                <a:gd name="connsiteX0" fmla="*/ 207168 w 309562"/>
                <a:gd name="connsiteY0" fmla="*/ 0 h 378618"/>
                <a:gd name="connsiteX1" fmla="*/ 309562 w 309562"/>
                <a:gd name="connsiteY1" fmla="*/ 69056 h 378618"/>
                <a:gd name="connsiteX2" fmla="*/ 90487 w 309562"/>
                <a:gd name="connsiteY2" fmla="*/ 378618 h 378618"/>
                <a:gd name="connsiteX3" fmla="*/ 0 w 309562"/>
                <a:gd name="connsiteY3" fmla="*/ 323850 h 378618"/>
                <a:gd name="connsiteX4" fmla="*/ 207168 w 309562"/>
                <a:gd name="connsiteY4" fmla="*/ 0 h 378618"/>
                <a:gd name="connsiteX0-1" fmla="*/ 221456 w 323850"/>
                <a:gd name="connsiteY0-2" fmla="*/ 0 h 378618"/>
                <a:gd name="connsiteX1-3" fmla="*/ 323850 w 323850"/>
                <a:gd name="connsiteY1-4" fmla="*/ 69056 h 378618"/>
                <a:gd name="connsiteX2-5" fmla="*/ 104775 w 323850"/>
                <a:gd name="connsiteY2-6" fmla="*/ 378618 h 378618"/>
                <a:gd name="connsiteX3-7" fmla="*/ 0 w 323850"/>
                <a:gd name="connsiteY3-8" fmla="*/ 319088 h 378618"/>
                <a:gd name="connsiteX4-9" fmla="*/ 221456 w 323850"/>
                <a:gd name="connsiteY4-10" fmla="*/ 0 h 378618"/>
                <a:gd name="connsiteX0-11" fmla="*/ 221456 w 323850"/>
                <a:gd name="connsiteY0-12" fmla="*/ 14537 h 393155"/>
                <a:gd name="connsiteX1-13" fmla="*/ 323850 w 323850"/>
                <a:gd name="connsiteY1-14" fmla="*/ 83593 h 393155"/>
                <a:gd name="connsiteX2-15" fmla="*/ 104775 w 323850"/>
                <a:gd name="connsiteY2-16" fmla="*/ 393155 h 393155"/>
                <a:gd name="connsiteX3-17" fmla="*/ 0 w 323850"/>
                <a:gd name="connsiteY3-18" fmla="*/ 333625 h 393155"/>
                <a:gd name="connsiteX4-19" fmla="*/ 221456 w 323850"/>
                <a:gd name="connsiteY4-20" fmla="*/ 14537 h 393155"/>
                <a:gd name="connsiteX0-21" fmla="*/ 221456 w 328806"/>
                <a:gd name="connsiteY0-22" fmla="*/ 16072 h 394690"/>
                <a:gd name="connsiteX1-23" fmla="*/ 323850 w 328806"/>
                <a:gd name="connsiteY1-24" fmla="*/ 85128 h 394690"/>
                <a:gd name="connsiteX2-25" fmla="*/ 104775 w 328806"/>
                <a:gd name="connsiteY2-26" fmla="*/ 394690 h 394690"/>
                <a:gd name="connsiteX3-27" fmla="*/ 0 w 328806"/>
                <a:gd name="connsiteY3-28" fmla="*/ 335160 h 394690"/>
                <a:gd name="connsiteX4-29" fmla="*/ 221456 w 328806"/>
                <a:gd name="connsiteY4-30" fmla="*/ 16072 h 394690"/>
                <a:gd name="connsiteX0-31" fmla="*/ 221456 w 327717"/>
                <a:gd name="connsiteY0-32" fmla="*/ 19969 h 398587"/>
                <a:gd name="connsiteX1-33" fmla="*/ 323850 w 327717"/>
                <a:gd name="connsiteY1-34" fmla="*/ 89025 h 398587"/>
                <a:gd name="connsiteX2-35" fmla="*/ 104775 w 327717"/>
                <a:gd name="connsiteY2-36" fmla="*/ 398587 h 398587"/>
                <a:gd name="connsiteX3-37" fmla="*/ 0 w 327717"/>
                <a:gd name="connsiteY3-38" fmla="*/ 339057 h 398587"/>
                <a:gd name="connsiteX4-39" fmla="*/ 221456 w 327717"/>
                <a:gd name="connsiteY4-40" fmla="*/ 19969 h 398587"/>
                <a:gd name="connsiteX0-41" fmla="*/ 221456 w 330942"/>
                <a:gd name="connsiteY0-42" fmla="*/ 19969 h 398587"/>
                <a:gd name="connsiteX1-43" fmla="*/ 323850 w 330942"/>
                <a:gd name="connsiteY1-44" fmla="*/ 89025 h 398587"/>
                <a:gd name="connsiteX2-45" fmla="*/ 104775 w 330942"/>
                <a:gd name="connsiteY2-46" fmla="*/ 398587 h 398587"/>
                <a:gd name="connsiteX3-47" fmla="*/ 0 w 330942"/>
                <a:gd name="connsiteY3-48" fmla="*/ 339057 h 398587"/>
                <a:gd name="connsiteX4-49" fmla="*/ 221456 w 330942"/>
                <a:gd name="connsiteY4-50" fmla="*/ 19969 h 398587"/>
                <a:gd name="connsiteX0-51" fmla="*/ 221456 w 329987"/>
                <a:gd name="connsiteY0-52" fmla="*/ 20954 h 399572"/>
                <a:gd name="connsiteX1-53" fmla="*/ 323850 w 329987"/>
                <a:gd name="connsiteY1-54" fmla="*/ 90010 h 399572"/>
                <a:gd name="connsiteX2-55" fmla="*/ 104775 w 329987"/>
                <a:gd name="connsiteY2-56" fmla="*/ 399572 h 399572"/>
                <a:gd name="connsiteX3-57" fmla="*/ 0 w 329987"/>
                <a:gd name="connsiteY3-58" fmla="*/ 340042 h 399572"/>
                <a:gd name="connsiteX4-59" fmla="*/ 221456 w 329987"/>
                <a:gd name="connsiteY4-60" fmla="*/ 20954 h 399572"/>
                <a:gd name="connsiteX0-61" fmla="*/ 232114 w 340645"/>
                <a:gd name="connsiteY0-62" fmla="*/ 20954 h 401996"/>
                <a:gd name="connsiteX1-63" fmla="*/ 334508 w 340645"/>
                <a:gd name="connsiteY1-64" fmla="*/ 90010 h 401996"/>
                <a:gd name="connsiteX2-65" fmla="*/ 115433 w 340645"/>
                <a:gd name="connsiteY2-66" fmla="*/ 399572 h 401996"/>
                <a:gd name="connsiteX3-67" fmla="*/ 10658 w 340645"/>
                <a:gd name="connsiteY3-68" fmla="*/ 340042 h 401996"/>
                <a:gd name="connsiteX4-69" fmla="*/ 232114 w 340645"/>
                <a:gd name="connsiteY4-70" fmla="*/ 20954 h 401996"/>
                <a:gd name="connsiteX0-71" fmla="*/ 231960 w 340491"/>
                <a:gd name="connsiteY0-72" fmla="*/ 20954 h 434427"/>
                <a:gd name="connsiteX1-73" fmla="*/ 334354 w 340491"/>
                <a:gd name="connsiteY1-74" fmla="*/ 90010 h 434427"/>
                <a:gd name="connsiteX2-75" fmla="*/ 115279 w 340491"/>
                <a:gd name="connsiteY2-76" fmla="*/ 399572 h 434427"/>
                <a:gd name="connsiteX3-77" fmla="*/ 10504 w 340491"/>
                <a:gd name="connsiteY3-78" fmla="*/ 340042 h 434427"/>
                <a:gd name="connsiteX4-79" fmla="*/ 231960 w 340491"/>
                <a:gd name="connsiteY4-80" fmla="*/ 20954 h 434427"/>
                <a:gd name="connsiteX0-81" fmla="*/ 236128 w 344659"/>
                <a:gd name="connsiteY0-82" fmla="*/ 20954 h 431274"/>
                <a:gd name="connsiteX1-83" fmla="*/ 338522 w 344659"/>
                <a:gd name="connsiteY1-84" fmla="*/ 90010 h 431274"/>
                <a:gd name="connsiteX2-85" fmla="*/ 119447 w 344659"/>
                <a:gd name="connsiteY2-86" fmla="*/ 399572 h 431274"/>
                <a:gd name="connsiteX3-87" fmla="*/ 14672 w 344659"/>
                <a:gd name="connsiteY3-88" fmla="*/ 340042 h 431274"/>
                <a:gd name="connsiteX4-89" fmla="*/ 236128 w 344659"/>
                <a:gd name="connsiteY4-90" fmla="*/ 20954 h 431274"/>
                <a:gd name="connsiteX0-91" fmla="*/ 237542 w 346073"/>
                <a:gd name="connsiteY0-92" fmla="*/ 20954 h 432326"/>
                <a:gd name="connsiteX1-93" fmla="*/ 339936 w 346073"/>
                <a:gd name="connsiteY1-94" fmla="*/ 90010 h 432326"/>
                <a:gd name="connsiteX2-95" fmla="*/ 120861 w 346073"/>
                <a:gd name="connsiteY2-96" fmla="*/ 399572 h 432326"/>
                <a:gd name="connsiteX3-97" fmla="*/ 16086 w 346073"/>
                <a:gd name="connsiteY3-98" fmla="*/ 340042 h 432326"/>
                <a:gd name="connsiteX4-99" fmla="*/ 237542 w 346073"/>
                <a:gd name="connsiteY4-100" fmla="*/ 20954 h 432326"/>
                <a:gd name="connsiteX0-101" fmla="*/ 229809 w 338340"/>
                <a:gd name="connsiteY0-102" fmla="*/ 20954 h 427405"/>
                <a:gd name="connsiteX1-103" fmla="*/ 332203 w 338340"/>
                <a:gd name="connsiteY1-104" fmla="*/ 90010 h 427405"/>
                <a:gd name="connsiteX2-105" fmla="*/ 113128 w 338340"/>
                <a:gd name="connsiteY2-106" fmla="*/ 399572 h 427405"/>
                <a:gd name="connsiteX3-107" fmla="*/ 8353 w 338340"/>
                <a:gd name="connsiteY3-108" fmla="*/ 340042 h 427405"/>
                <a:gd name="connsiteX4-109" fmla="*/ 229809 w 338340"/>
                <a:gd name="connsiteY4-110" fmla="*/ 20954 h 4274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38340" h="427405">
                  <a:moveTo>
                    <a:pt x="229809" y="20954"/>
                  </a:moveTo>
                  <a:cubicBezTo>
                    <a:pt x="287753" y="-41752"/>
                    <a:pt x="359985" y="52703"/>
                    <a:pt x="332203" y="90010"/>
                  </a:cubicBezTo>
                  <a:lnTo>
                    <a:pt x="113128" y="399572"/>
                  </a:lnTo>
                  <a:cubicBezTo>
                    <a:pt x="63915" y="460691"/>
                    <a:pt x="-28158" y="412272"/>
                    <a:pt x="8353" y="340042"/>
                  </a:cubicBezTo>
                  <a:lnTo>
                    <a:pt x="229809" y="20954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4" name="任意多边形 73"/>
            <p:cNvSpPr/>
            <p:nvPr/>
          </p:nvSpPr>
          <p:spPr>
            <a:xfrm rot="15555177">
              <a:off x="9572517" y="2766685"/>
              <a:ext cx="338659" cy="427690"/>
            </a:xfrm>
            <a:custGeom>
              <a:avLst/>
              <a:gdLst>
                <a:gd name="connsiteX0" fmla="*/ 207168 w 309562"/>
                <a:gd name="connsiteY0" fmla="*/ 0 h 378618"/>
                <a:gd name="connsiteX1" fmla="*/ 309562 w 309562"/>
                <a:gd name="connsiteY1" fmla="*/ 69056 h 378618"/>
                <a:gd name="connsiteX2" fmla="*/ 90487 w 309562"/>
                <a:gd name="connsiteY2" fmla="*/ 378618 h 378618"/>
                <a:gd name="connsiteX3" fmla="*/ 0 w 309562"/>
                <a:gd name="connsiteY3" fmla="*/ 323850 h 378618"/>
                <a:gd name="connsiteX4" fmla="*/ 207168 w 309562"/>
                <a:gd name="connsiteY4" fmla="*/ 0 h 378618"/>
                <a:gd name="connsiteX0-1" fmla="*/ 221456 w 323850"/>
                <a:gd name="connsiteY0-2" fmla="*/ 0 h 378618"/>
                <a:gd name="connsiteX1-3" fmla="*/ 323850 w 323850"/>
                <a:gd name="connsiteY1-4" fmla="*/ 69056 h 378618"/>
                <a:gd name="connsiteX2-5" fmla="*/ 104775 w 323850"/>
                <a:gd name="connsiteY2-6" fmla="*/ 378618 h 378618"/>
                <a:gd name="connsiteX3-7" fmla="*/ 0 w 323850"/>
                <a:gd name="connsiteY3-8" fmla="*/ 319088 h 378618"/>
                <a:gd name="connsiteX4-9" fmla="*/ 221456 w 323850"/>
                <a:gd name="connsiteY4-10" fmla="*/ 0 h 378618"/>
                <a:gd name="connsiteX0-11" fmla="*/ 221456 w 323850"/>
                <a:gd name="connsiteY0-12" fmla="*/ 14537 h 393155"/>
                <a:gd name="connsiteX1-13" fmla="*/ 323850 w 323850"/>
                <a:gd name="connsiteY1-14" fmla="*/ 83593 h 393155"/>
                <a:gd name="connsiteX2-15" fmla="*/ 104775 w 323850"/>
                <a:gd name="connsiteY2-16" fmla="*/ 393155 h 393155"/>
                <a:gd name="connsiteX3-17" fmla="*/ 0 w 323850"/>
                <a:gd name="connsiteY3-18" fmla="*/ 333625 h 393155"/>
                <a:gd name="connsiteX4-19" fmla="*/ 221456 w 323850"/>
                <a:gd name="connsiteY4-20" fmla="*/ 14537 h 393155"/>
                <a:gd name="connsiteX0-21" fmla="*/ 221456 w 328806"/>
                <a:gd name="connsiteY0-22" fmla="*/ 16072 h 394690"/>
                <a:gd name="connsiteX1-23" fmla="*/ 323850 w 328806"/>
                <a:gd name="connsiteY1-24" fmla="*/ 85128 h 394690"/>
                <a:gd name="connsiteX2-25" fmla="*/ 104775 w 328806"/>
                <a:gd name="connsiteY2-26" fmla="*/ 394690 h 394690"/>
                <a:gd name="connsiteX3-27" fmla="*/ 0 w 328806"/>
                <a:gd name="connsiteY3-28" fmla="*/ 335160 h 394690"/>
                <a:gd name="connsiteX4-29" fmla="*/ 221456 w 328806"/>
                <a:gd name="connsiteY4-30" fmla="*/ 16072 h 394690"/>
                <a:gd name="connsiteX0-31" fmla="*/ 221456 w 327717"/>
                <a:gd name="connsiteY0-32" fmla="*/ 19969 h 398587"/>
                <a:gd name="connsiteX1-33" fmla="*/ 323850 w 327717"/>
                <a:gd name="connsiteY1-34" fmla="*/ 89025 h 398587"/>
                <a:gd name="connsiteX2-35" fmla="*/ 104775 w 327717"/>
                <a:gd name="connsiteY2-36" fmla="*/ 398587 h 398587"/>
                <a:gd name="connsiteX3-37" fmla="*/ 0 w 327717"/>
                <a:gd name="connsiteY3-38" fmla="*/ 339057 h 398587"/>
                <a:gd name="connsiteX4-39" fmla="*/ 221456 w 327717"/>
                <a:gd name="connsiteY4-40" fmla="*/ 19969 h 398587"/>
                <a:gd name="connsiteX0-41" fmla="*/ 221456 w 330942"/>
                <a:gd name="connsiteY0-42" fmla="*/ 19969 h 398587"/>
                <a:gd name="connsiteX1-43" fmla="*/ 323850 w 330942"/>
                <a:gd name="connsiteY1-44" fmla="*/ 89025 h 398587"/>
                <a:gd name="connsiteX2-45" fmla="*/ 104775 w 330942"/>
                <a:gd name="connsiteY2-46" fmla="*/ 398587 h 398587"/>
                <a:gd name="connsiteX3-47" fmla="*/ 0 w 330942"/>
                <a:gd name="connsiteY3-48" fmla="*/ 339057 h 398587"/>
                <a:gd name="connsiteX4-49" fmla="*/ 221456 w 330942"/>
                <a:gd name="connsiteY4-50" fmla="*/ 19969 h 398587"/>
                <a:gd name="connsiteX0-51" fmla="*/ 221456 w 329987"/>
                <a:gd name="connsiteY0-52" fmla="*/ 20954 h 399572"/>
                <a:gd name="connsiteX1-53" fmla="*/ 323850 w 329987"/>
                <a:gd name="connsiteY1-54" fmla="*/ 90010 h 399572"/>
                <a:gd name="connsiteX2-55" fmla="*/ 104775 w 329987"/>
                <a:gd name="connsiteY2-56" fmla="*/ 399572 h 399572"/>
                <a:gd name="connsiteX3-57" fmla="*/ 0 w 329987"/>
                <a:gd name="connsiteY3-58" fmla="*/ 340042 h 399572"/>
                <a:gd name="connsiteX4-59" fmla="*/ 221456 w 329987"/>
                <a:gd name="connsiteY4-60" fmla="*/ 20954 h 399572"/>
                <a:gd name="connsiteX0-61" fmla="*/ 232114 w 340645"/>
                <a:gd name="connsiteY0-62" fmla="*/ 20954 h 401996"/>
                <a:gd name="connsiteX1-63" fmla="*/ 334508 w 340645"/>
                <a:gd name="connsiteY1-64" fmla="*/ 90010 h 401996"/>
                <a:gd name="connsiteX2-65" fmla="*/ 115433 w 340645"/>
                <a:gd name="connsiteY2-66" fmla="*/ 399572 h 401996"/>
                <a:gd name="connsiteX3-67" fmla="*/ 10658 w 340645"/>
                <a:gd name="connsiteY3-68" fmla="*/ 340042 h 401996"/>
                <a:gd name="connsiteX4-69" fmla="*/ 232114 w 340645"/>
                <a:gd name="connsiteY4-70" fmla="*/ 20954 h 401996"/>
                <a:gd name="connsiteX0-71" fmla="*/ 231960 w 340491"/>
                <a:gd name="connsiteY0-72" fmla="*/ 20954 h 434427"/>
                <a:gd name="connsiteX1-73" fmla="*/ 334354 w 340491"/>
                <a:gd name="connsiteY1-74" fmla="*/ 90010 h 434427"/>
                <a:gd name="connsiteX2-75" fmla="*/ 115279 w 340491"/>
                <a:gd name="connsiteY2-76" fmla="*/ 399572 h 434427"/>
                <a:gd name="connsiteX3-77" fmla="*/ 10504 w 340491"/>
                <a:gd name="connsiteY3-78" fmla="*/ 340042 h 434427"/>
                <a:gd name="connsiteX4-79" fmla="*/ 231960 w 340491"/>
                <a:gd name="connsiteY4-80" fmla="*/ 20954 h 434427"/>
                <a:gd name="connsiteX0-81" fmla="*/ 236128 w 344659"/>
                <a:gd name="connsiteY0-82" fmla="*/ 20954 h 431274"/>
                <a:gd name="connsiteX1-83" fmla="*/ 338522 w 344659"/>
                <a:gd name="connsiteY1-84" fmla="*/ 90010 h 431274"/>
                <a:gd name="connsiteX2-85" fmla="*/ 119447 w 344659"/>
                <a:gd name="connsiteY2-86" fmla="*/ 399572 h 431274"/>
                <a:gd name="connsiteX3-87" fmla="*/ 14672 w 344659"/>
                <a:gd name="connsiteY3-88" fmla="*/ 340042 h 431274"/>
                <a:gd name="connsiteX4-89" fmla="*/ 236128 w 344659"/>
                <a:gd name="connsiteY4-90" fmla="*/ 20954 h 431274"/>
                <a:gd name="connsiteX0-91" fmla="*/ 237542 w 346073"/>
                <a:gd name="connsiteY0-92" fmla="*/ 20954 h 432326"/>
                <a:gd name="connsiteX1-93" fmla="*/ 339936 w 346073"/>
                <a:gd name="connsiteY1-94" fmla="*/ 90010 h 432326"/>
                <a:gd name="connsiteX2-95" fmla="*/ 120861 w 346073"/>
                <a:gd name="connsiteY2-96" fmla="*/ 399572 h 432326"/>
                <a:gd name="connsiteX3-97" fmla="*/ 16086 w 346073"/>
                <a:gd name="connsiteY3-98" fmla="*/ 340042 h 432326"/>
                <a:gd name="connsiteX4-99" fmla="*/ 237542 w 346073"/>
                <a:gd name="connsiteY4-100" fmla="*/ 20954 h 432326"/>
                <a:gd name="connsiteX0-101" fmla="*/ 229809 w 338340"/>
                <a:gd name="connsiteY0-102" fmla="*/ 20954 h 427405"/>
                <a:gd name="connsiteX1-103" fmla="*/ 332203 w 338340"/>
                <a:gd name="connsiteY1-104" fmla="*/ 90010 h 427405"/>
                <a:gd name="connsiteX2-105" fmla="*/ 113128 w 338340"/>
                <a:gd name="connsiteY2-106" fmla="*/ 399572 h 427405"/>
                <a:gd name="connsiteX3-107" fmla="*/ 8353 w 338340"/>
                <a:gd name="connsiteY3-108" fmla="*/ 340042 h 427405"/>
                <a:gd name="connsiteX4-109" fmla="*/ 229809 w 338340"/>
                <a:gd name="connsiteY4-110" fmla="*/ 20954 h 4274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38340" h="427405">
                  <a:moveTo>
                    <a:pt x="229809" y="20954"/>
                  </a:moveTo>
                  <a:cubicBezTo>
                    <a:pt x="287753" y="-41752"/>
                    <a:pt x="359985" y="52703"/>
                    <a:pt x="332203" y="90010"/>
                  </a:cubicBezTo>
                  <a:lnTo>
                    <a:pt x="113128" y="399572"/>
                  </a:lnTo>
                  <a:cubicBezTo>
                    <a:pt x="63915" y="460691"/>
                    <a:pt x="-28158" y="412272"/>
                    <a:pt x="8353" y="340042"/>
                  </a:cubicBezTo>
                  <a:lnTo>
                    <a:pt x="229809" y="20954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8" dur="3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3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2" dur="3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3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3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mph" presetSubtype="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37" dur="100" fill="hold"/>
                                        <p:tgtEl>
                                          <p:spTgt spid="58"/>
                                        </p:tgtEl>
                                      </p:cBhvr>
                                      <p:by x="700000" y="700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6" presetClass="emph" presetSubtype="0" autoRev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39" dur="100" fill="hold"/>
                                        <p:tgtEl>
                                          <p:spTgt spid="10"/>
                                        </p:tgtEl>
                                      </p:cBhvr>
                                      <p:by x="700000" y="7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组合 17"/>
          <p:cNvGrpSpPr/>
          <p:nvPr/>
        </p:nvGrpSpPr>
        <p:grpSpPr bwMode="auto">
          <a:xfrm>
            <a:off x="4718050" y="2940050"/>
            <a:ext cx="2886075" cy="1620838"/>
            <a:chOff x="4717817" y="2939536"/>
            <a:chExt cx="2886139" cy="1620752"/>
          </a:xfrm>
        </p:grpSpPr>
        <p:sp>
          <p:nvSpPr>
            <p:cNvPr id="10" name="Rectangle 26"/>
            <p:cNvSpPr/>
            <p:nvPr/>
          </p:nvSpPr>
          <p:spPr bwMode="auto">
            <a:xfrm>
              <a:off x="4717817" y="2939536"/>
              <a:ext cx="2886139" cy="1620752"/>
            </a:xfrm>
            <a:prstGeom prst="rect">
              <a:avLst/>
            </a:prstGeom>
            <a:solidFill>
              <a:srgbClr val="8CC63F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832887" y="3580635"/>
              <a:ext cx="2655997" cy="3385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635000" eaLnBrk="1" hangingPunct="1">
                <a:defRPr/>
              </a:pPr>
              <a:r>
                <a:rPr lang="zh-CN" alt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添加产品</a:t>
              </a:r>
              <a:endParaRPr lang="zh-CN" alt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grpSp>
          <p:nvGrpSpPr>
            <p:cNvPr id="10316" name="组合 1054"/>
            <p:cNvGrpSpPr/>
            <p:nvPr/>
          </p:nvGrpSpPr>
          <p:grpSpPr bwMode="auto">
            <a:xfrm>
              <a:off x="5020792" y="3566051"/>
              <a:ext cx="409339" cy="419835"/>
              <a:chOff x="7884368" y="3363913"/>
              <a:chExt cx="495300" cy="508000"/>
            </a:xfrm>
          </p:grpSpPr>
          <p:sp>
            <p:nvSpPr>
              <p:cNvPr id="10317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318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2147483646 w 41"/>
                  <a:gd name="T1" fmla="*/ 2147483646 h 42"/>
                  <a:gd name="T2" fmla="*/ 0 w 41"/>
                  <a:gd name="T3" fmla="*/ 2147483646 h 42"/>
                  <a:gd name="T4" fmla="*/ 0 w 41"/>
                  <a:gd name="T5" fmla="*/ 2147483646 h 42"/>
                  <a:gd name="T6" fmla="*/ 0 w 41"/>
                  <a:gd name="T7" fmla="*/ 2147483646 h 42"/>
                  <a:gd name="T8" fmla="*/ 2147483646 w 41"/>
                  <a:gd name="T9" fmla="*/ 0 h 42"/>
                  <a:gd name="T10" fmla="*/ 2147483646 w 41"/>
                  <a:gd name="T11" fmla="*/ 0 h 42"/>
                  <a:gd name="T12" fmla="*/ 2147483646 w 41"/>
                  <a:gd name="T13" fmla="*/ 0 h 42"/>
                  <a:gd name="T14" fmla="*/ 2147483646 w 41"/>
                  <a:gd name="T15" fmla="*/ 2147483646 h 42"/>
                  <a:gd name="T16" fmla="*/ 2147483646 w 41"/>
                  <a:gd name="T17" fmla="*/ 2147483646 h 42"/>
                  <a:gd name="T18" fmla="*/ 2147483646 w 41"/>
                  <a:gd name="T19" fmla="*/ 2147483646 h 42"/>
                  <a:gd name="T20" fmla="*/ 2147483646 w 41"/>
                  <a:gd name="T21" fmla="*/ 2147483646 h 42"/>
                  <a:gd name="T22" fmla="*/ 2147483646 w 41"/>
                  <a:gd name="T23" fmla="*/ 2147483646 h 42"/>
                  <a:gd name="T24" fmla="*/ 2147483646 w 41"/>
                  <a:gd name="T25" fmla="*/ 2147483646 h 42"/>
                  <a:gd name="T26" fmla="*/ 2147483646 w 41"/>
                  <a:gd name="T27" fmla="*/ 2147483646 h 42"/>
                  <a:gd name="T28" fmla="*/ 2147483646 w 41"/>
                  <a:gd name="T29" fmla="*/ 2147483646 h 42"/>
                  <a:gd name="T30" fmla="*/ 2147483646 w 41"/>
                  <a:gd name="T31" fmla="*/ 2147483646 h 42"/>
                  <a:gd name="T32" fmla="*/ 2147483646 w 41"/>
                  <a:gd name="T33" fmla="*/ 2147483646 h 42"/>
                  <a:gd name="T34" fmla="*/ 2147483646 w 41"/>
                  <a:gd name="T35" fmla="*/ 2147483646 h 42"/>
                  <a:gd name="T36" fmla="*/ 2147483646 w 41"/>
                  <a:gd name="T37" fmla="*/ 2147483646 h 42"/>
                  <a:gd name="T38" fmla="*/ 2147483646 w 41"/>
                  <a:gd name="T39" fmla="*/ 2147483646 h 42"/>
                  <a:gd name="T40" fmla="*/ 2147483646 w 41"/>
                  <a:gd name="T41" fmla="*/ 2147483646 h 42"/>
                  <a:gd name="T42" fmla="*/ 2147483646 w 41"/>
                  <a:gd name="T43" fmla="*/ 2147483646 h 42"/>
                  <a:gd name="T44" fmla="*/ 2147483646 w 41"/>
                  <a:gd name="T45" fmla="*/ 2147483646 h 42"/>
                  <a:gd name="T46" fmla="*/ 2147483646 w 41"/>
                  <a:gd name="T47" fmla="*/ 2147483646 h 42"/>
                  <a:gd name="T48" fmla="*/ 2147483646 w 41"/>
                  <a:gd name="T49" fmla="*/ 2147483646 h 42"/>
                  <a:gd name="T50" fmla="*/ 2147483646 w 41"/>
                  <a:gd name="T51" fmla="*/ 2147483646 h 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1" name="组合 10"/>
          <p:cNvGrpSpPr/>
          <p:nvPr/>
        </p:nvGrpSpPr>
        <p:grpSpPr bwMode="auto">
          <a:xfrm>
            <a:off x="1368425" y="1179513"/>
            <a:ext cx="1204913" cy="1620837"/>
            <a:chOff x="1367747" y="1179215"/>
            <a:chExt cx="1205175" cy="1620752"/>
          </a:xfrm>
        </p:grpSpPr>
        <p:grpSp>
          <p:nvGrpSpPr>
            <p:cNvPr id="10310" name="组合 60"/>
            <p:cNvGrpSpPr/>
            <p:nvPr/>
          </p:nvGrpSpPr>
          <p:grpSpPr bwMode="auto">
            <a:xfrm>
              <a:off x="1367747" y="1179215"/>
              <a:ext cx="1205175" cy="1620752"/>
              <a:chOff x="1375367" y="1179215"/>
              <a:chExt cx="1205175" cy="1620752"/>
            </a:xfrm>
          </p:grpSpPr>
          <p:sp>
            <p:nvSpPr>
              <p:cNvPr id="13" name="Rectangle 20"/>
              <p:cNvSpPr/>
              <p:nvPr/>
            </p:nvSpPr>
            <p:spPr bwMode="auto">
              <a:xfrm>
                <a:off x="1375367" y="1179215"/>
                <a:ext cx="1205175" cy="1620752"/>
              </a:xfrm>
              <a:prstGeom prst="rect">
                <a:avLst/>
              </a:prstGeom>
              <a:solidFill>
                <a:srgbClr val="8CC63F">
                  <a:alpha val="77000"/>
                </a:srgb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1623071" y="1593530"/>
                <a:ext cx="798687" cy="6460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32" name="组合 131"/>
            <p:cNvGrpSpPr/>
            <p:nvPr/>
          </p:nvGrpSpPr>
          <p:grpSpPr>
            <a:xfrm>
              <a:off x="1779478" y="2400755"/>
              <a:ext cx="279584" cy="286753"/>
              <a:chOff x="7884368" y="3363913"/>
              <a:chExt cx="495300" cy="508000"/>
            </a:xfrm>
            <a:solidFill>
              <a:schemeClr val="bg1">
                <a:alpha val="48000"/>
              </a:schemeClr>
            </a:solidFill>
          </p:grpSpPr>
          <p:sp>
            <p:nvSpPr>
              <p:cNvPr id="133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4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2" name="组合 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3" name="矩形 2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0307" name="组合 68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0308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6" name="矩形 155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4" name="组合 3"/>
          <p:cNvGrpSpPr/>
          <p:nvPr/>
        </p:nvGrpSpPr>
        <p:grpSpPr bwMode="auto">
          <a:xfrm>
            <a:off x="2632075" y="1179513"/>
            <a:ext cx="1620838" cy="1620837"/>
            <a:chOff x="2631721" y="1179215"/>
            <a:chExt cx="1620752" cy="1620752"/>
          </a:xfrm>
        </p:grpSpPr>
        <p:sp>
          <p:nvSpPr>
            <p:cNvPr id="12" name="Rectangle 2"/>
            <p:cNvSpPr/>
            <p:nvPr/>
          </p:nvSpPr>
          <p:spPr bwMode="auto">
            <a:xfrm>
              <a:off x="2631721" y="1179215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750778" y="2272945"/>
              <a:ext cx="1127065" cy="3381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5" name="组合 134"/>
            <p:cNvGrpSpPr/>
            <p:nvPr/>
          </p:nvGrpSpPr>
          <p:grpSpPr>
            <a:xfrm>
              <a:off x="3845921" y="2381654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36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7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96" name="组合 87"/>
            <p:cNvGrpSpPr/>
            <p:nvPr/>
          </p:nvGrpSpPr>
          <p:grpSpPr bwMode="auto">
            <a:xfrm>
              <a:off x="3062536" y="1333767"/>
              <a:ext cx="759122" cy="756786"/>
              <a:chOff x="7737475" y="2960688"/>
              <a:chExt cx="2579688" cy="2571750"/>
            </a:xfrm>
          </p:grpSpPr>
          <p:sp>
            <p:nvSpPr>
              <p:cNvPr id="10297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7740650" y="2963863"/>
                <a:ext cx="2576513" cy="2565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0" name="Freeform 6"/>
              <p:cNvSpPr/>
              <p:nvPr/>
            </p:nvSpPr>
            <p:spPr bwMode="auto">
              <a:xfrm>
                <a:off x="7735351" y="2958741"/>
                <a:ext cx="2578543" cy="2573150"/>
              </a:xfrm>
              <a:custGeom>
                <a:avLst/>
                <a:gdLst>
                  <a:gd name="T0" fmla="*/ 687 w 687"/>
                  <a:gd name="T1" fmla="*/ 624 h 686"/>
                  <a:gd name="T2" fmla="*/ 625 w 687"/>
                  <a:gd name="T3" fmla="*/ 686 h 686"/>
                  <a:gd name="T4" fmla="*/ 62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2 w 687"/>
                  <a:gd name="T11" fmla="*/ 0 h 686"/>
                  <a:gd name="T12" fmla="*/ 625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5" y="686"/>
                    </a:cubicBezTo>
                    <a:cubicBezTo>
                      <a:pt x="62" y="686"/>
                      <a:pt x="62" y="686"/>
                      <a:pt x="62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99" name="Freeform 7"/>
              <p:cNvSpPr/>
              <p:nvPr/>
            </p:nvSpPr>
            <p:spPr bwMode="auto">
              <a:xfrm>
                <a:off x="8104188" y="3027363"/>
                <a:ext cx="2209800" cy="2505075"/>
              </a:xfrm>
              <a:custGeom>
                <a:avLst/>
                <a:gdLst>
                  <a:gd name="T0" fmla="*/ 2147483646 w 589"/>
                  <a:gd name="T1" fmla="*/ 2147483646 h 668"/>
                  <a:gd name="T2" fmla="*/ 2147483646 w 589"/>
                  <a:gd name="T3" fmla="*/ 2147483646 h 668"/>
                  <a:gd name="T4" fmla="*/ 2147483646 w 589"/>
                  <a:gd name="T5" fmla="*/ 2147483646 h 668"/>
                  <a:gd name="T6" fmla="*/ 2147483646 w 589"/>
                  <a:gd name="T7" fmla="*/ 2147483646 h 668"/>
                  <a:gd name="T8" fmla="*/ 2147483646 w 589"/>
                  <a:gd name="T9" fmla="*/ 2147483646 h 668"/>
                  <a:gd name="T10" fmla="*/ 2147483646 w 589"/>
                  <a:gd name="T11" fmla="*/ 2147483646 h 668"/>
                  <a:gd name="T12" fmla="*/ 2147483646 w 589"/>
                  <a:gd name="T13" fmla="*/ 2147483646 h 668"/>
                  <a:gd name="T14" fmla="*/ 2147483646 w 589"/>
                  <a:gd name="T15" fmla="*/ 2147483646 h 668"/>
                  <a:gd name="T16" fmla="*/ 0 w 589"/>
                  <a:gd name="T17" fmla="*/ 2147483646 h 668"/>
                  <a:gd name="T18" fmla="*/ 2147483646 w 589"/>
                  <a:gd name="T19" fmla="*/ 2147483646 h 668"/>
                  <a:gd name="T20" fmla="*/ 2147483646 w 589"/>
                  <a:gd name="T21" fmla="*/ 2147483646 h 668"/>
                  <a:gd name="T22" fmla="*/ 2147483646 w 589"/>
                  <a:gd name="T23" fmla="*/ 2147483646 h 668"/>
                  <a:gd name="T24" fmla="*/ 2147483646 w 589"/>
                  <a:gd name="T25" fmla="*/ 2147483646 h 66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89" h="668">
                    <a:moveTo>
                      <a:pt x="589" y="137"/>
                    </a:moveTo>
                    <a:cubicBezTo>
                      <a:pt x="503" y="50"/>
                      <a:pt x="503" y="50"/>
                      <a:pt x="503" y="50"/>
                    </a:cubicBezTo>
                    <a:cubicBezTo>
                      <a:pt x="503" y="50"/>
                      <a:pt x="444" y="0"/>
                      <a:pt x="386" y="54"/>
                    </a:cubicBezTo>
                    <a:cubicBezTo>
                      <a:pt x="328" y="108"/>
                      <a:pt x="379" y="174"/>
                      <a:pt x="379" y="174"/>
                    </a:cubicBezTo>
                    <a:cubicBezTo>
                      <a:pt x="416" y="211"/>
                      <a:pt x="416" y="211"/>
                      <a:pt x="416" y="211"/>
                    </a:cubicBezTo>
                    <a:cubicBezTo>
                      <a:pt x="381" y="246"/>
                      <a:pt x="381" y="246"/>
                      <a:pt x="381" y="246"/>
                    </a:cubicBezTo>
                    <a:cubicBezTo>
                      <a:pt x="359" y="224"/>
                      <a:pt x="359" y="224"/>
                      <a:pt x="359" y="224"/>
                    </a:cubicBezTo>
                    <a:cubicBezTo>
                      <a:pt x="8" y="240"/>
                      <a:pt x="8" y="240"/>
                      <a:pt x="8" y="240"/>
                    </a:cubicBezTo>
                    <a:cubicBezTo>
                      <a:pt x="0" y="565"/>
                      <a:pt x="0" y="565"/>
                      <a:pt x="0" y="565"/>
                    </a:cubicBezTo>
                    <a:cubicBezTo>
                      <a:pt x="104" y="668"/>
                      <a:pt x="104" y="668"/>
                      <a:pt x="104" y="668"/>
                    </a:cubicBezTo>
                    <a:cubicBezTo>
                      <a:pt x="527" y="668"/>
                      <a:pt x="527" y="668"/>
                      <a:pt x="527" y="668"/>
                    </a:cubicBezTo>
                    <a:cubicBezTo>
                      <a:pt x="561" y="668"/>
                      <a:pt x="589" y="641"/>
                      <a:pt x="589" y="606"/>
                    </a:cubicBezTo>
                    <a:lnTo>
                      <a:pt x="589" y="137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0300" name="组合 91"/>
              <p:cNvGrpSpPr/>
              <p:nvPr/>
            </p:nvGrpSpPr>
            <p:grpSpPr bwMode="auto">
              <a:xfrm>
                <a:off x="8051800" y="3114676"/>
                <a:ext cx="2058988" cy="2081213"/>
                <a:chOff x="8051800" y="3114676"/>
                <a:chExt cx="2058988" cy="2081213"/>
              </a:xfrm>
            </p:grpSpPr>
            <p:sp>
              <p:nvSpPr>
                <p:cNvPr id="10301" name="Freeform 8"/>
                <p:cNvSpPr>
                  <a:spLocks noEditPoints="1"/>
                </p:cNvSpPr>
                <p:nvPr/>
              </p:nvSpPr>
              <p:spPr bwMode="auto">
                <a:xfrm>
                  <a:off x="8051800" y="3867151"/>
                  <a:ext cx="1566863" cy="1328738"/>
                </a:xfrm>
                <a:custGeom>
                  <a:avLst/>
                  <a:gdLst>
                    <a:gd name="T0" fmla="*/ 2147483646 w 418"/>
                    <a:gd name="T1" fmla="*/ 2147483646 h 354"/>
                    <a:gd name="T2" fmla="*/ 2147483646 w 418"/>
                    <a:gd name="T3" fmla="*/ 2147483646 h 354"/>
                    <a:gd name="T4" fmla="*/ 2147483646 w 418"/>
                    <a:gd name="T5" fmla="*/ 2147483646 h 354"/>
                    <a:gd name="T6" fmla="*/ 2147483646 w 418"/>
                    <a:gd name="T7" fmla="*/ 2147483646 h 354"/>
                    <a:gd name="T8" fmla="*/ 2147483646 w 418"/>
                    <a:gd name="T9" fmla="*/ 2147483646 h 354"/>
                    <a:gd name="T10" fmla="*/ 2147483646 w 418"/>
                    <a:gd name="T11" fmla="*/ 0 h 354"/>
                    <a:gd name="T12" fmla="*/ 2147483646 w 418"/>
                    <a:gd name="T13" fmla="*/ 0 h 354"/>
                    <a:gd name="T14" fmla="*/ 0 w 418"/>
                    <a:gd name="T15" fmla="*/ 2147483646 h 354"/>
                    <a:gd name="T16" fmla="*/ 0 w 418"/>
                    <a:gd name="T17" fmla="*/ 2147483646 h 354"/>
                    <a:gd name="T18" fmla="*/ 2147483646 w 418"/>
                    <a:gd name="T19" fmla="*/ 2147483646 h 354"/>
                    <a:gd name="T20" fmla="*/ 2147483646 w 418"/>
                    <a:gd name="T21" fmla="*/ 2147483646 h 354"/>
                    <a:gd name="T22" fmla="*/ 2147483646 w 418"/>
                    <a:gd name="T23" fmla="*/ 2147483646 h 354"/>
                    <a:gd name="T24" fmla="*/ 2147483646 w 418"/>
                    <a:gd name="T25" fmla="*/ 2147483646 h 354"/>
                    <a:gd name="T26" fmla="*/ 2147483646 w 418"/>
                    <a:gd name="T27" fmla="*/ 2147483646 h 354"/>
                    <a:gd name="T28" fmla="*/ 2147483646 w 418"/>
                    <a:gd name="T29" fmla="*/ 2147483646 h 354"/>
                    <a:gd name="T30" fmla="*/ 2147483646 w 418"/>
                    <a:gd name="T31" fmla="*/ 2147483646 h 354"/>
                    <a:gd name="T32" fmla="*/ 2147483646 w 418"/>
                    <a:gd name="T33" fmla="*/ 2147483646 h 354"/>
                    <a:gd name="T34" fmla="*/ 2147483646 w 418"/>
                    <a:gd name="T35" fmla="*/ 2147483646 h 354"/>
                    <a:gd name="T36" fmla="*/ 2147483646 w 418"/>
                    <a:gd name="T37" fmla="*/ 2147483646 h 354"/>
                    <a:gd name="T38" fmla="*/ 2147483646 w 418"/>
                    <a:gd name="T39" fmla="*/ 2147483646 h 354"/>
                    <a:gd name="T40" fmla="*/ 2147483646 w 418"/>
                    <a:gd name="T41" fmla="*/ 2147483646 h 354"/>
                    <a:gd name="T42" fmla="*/ 2147483646 w 418"/>
                    <a:gd name="T43" fmla="*/ 2147483646 h 354"/>
                    <a:gd name="T44" fmla="*/ 2147483646 w 418"/>
                    <a:gd name="T45" fmla="*/ 2147483646 h 354"/>
                    <a:gd name="T46" fmla="*/ 2147483646 w 418"/>
                    <a:gd name="T47" fmla="*/ 2147483646 h 354"/>
                    <a:gd name="T48" fmla="*/ 2147483646 w 418"/>
                    <a:gd name="T49" fmla="*/ 2147483646 h 354"/>
                    <a:gd name="T50" fmla="*/ 2147483646 w 418"/>
                    <a:gd name="T51" fmla="*/ 2147483646 h 354"/>
                    <a:gd name="T52" fmla="*/ 2147483646 w 418"/>
                    <a:gd name="T53" fmla="*/ 2147483646 h 354"/>
                    <a:gd name="T54" fmla="*/ 2147483646 w 418"/>
                    <a:gd name="T55" fmla="*/ 2147483646 h 354"/>
                    <a:gd name="T56" fmla="*/ 2147483646 w 418"/>
                    <a:gd name="T57" fmla="*/ 2147483646 h 354"/>
                    <a:gd name="T58" fmla="*/ 2147483646 w 418"/>
                    <a:gd name="T59" fmla="*/ 2147483646 h 354"/>
                    <a:gd name="T60" fmla="*/ 2147483646 w 418"/>
                    <a:gd name="T61" fmla="*/ 2147483646 h 354"/>
                    <a:gd name="T62" fmla="*/ 2147483646 w 418"/>
                    <a:gd name="T63" fmla="*/ 2147483646 h 35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418" h="354">
                      <a:moveTo>
                        <a:pt x="358" y="89"/>
                      </a:moveTo>
                      <a:cubicBezTo>
                        <a:pt x="366" y="49"/>
                        <a:pt x="366" y="49"/>
                        <a:pt x="366" y="49"/>
                      </a:cubicBezTo>
                      <a:cubicBezTo>
                        <a:pt x="209" y="206"/>
                        <a:pt x="209" y="206"/>
                        <a:pt x="209" y="206"/>
                      </a:cubicBezTo>
                      <a:cubicBezTo>
                        <a:pt x="36" y="33"/>
                        <a:pt x="36" y="33"/>
                        <a:pt x="36" y="33"/>
                      </a:cubicBezTo>
                      <a:cubicBezTo>
                        <a:pt x="369" y="33"/>
                        <a:pt x="369" y="33"/>
                        <a:pt x="369" y="33"/>
                      </a:cubicBezTo>
                      <a:cubicBezTo>
                        <a:pt x="375" y="0"/>
                        <a:pt x="375" y="0"/>
                        <a:pt x="375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14" y="0"/>
                        <a:pt x="0" y="14"/>
                        <a:pt x="0" y="32"/>
                      </a:cubicBezTo>
                      <a:cubicBezTo>
                        <a:pt x="0" y="323"/>
                        <a:pt x="0" y="323"/>
                        <a:pt x="0" y="323"/>
                      </a:cubicBezTo>
                      <a:cubicBezTo>
                        <a:pt x="0" y="340"/>
                        <a:pt x="14" y="354"/>
                        <a:pt x="32" y="354"/>
                      </a:cubicBezTo>
                      <a:cubicBezTo>
                        <a:pt x="386" y="354"/>
                        <a:pt x="386" y="354"/>
                        <a:pt x="386" y="354"/>
                      </a:cubicBezTo>
                      <a:cubicBezTo>
                        <a:pt x="404" y="354"/>
                        <a:pt x="418" y="340"/>
                        <a:pt x="418" y="323"/>
                      </a:cubicBezTo>
                      <a:cubicBezTo>
                        <a:pt x="418" y="47"/>
                        <a:pt x="418" y="47"/>
                        <a:pt x="418" y="47"/>
                      </a:cubicBezTo>
                      <a:lnTo>
                        <a:pt x="358" y="89"/>
                      </a:lnTo>
                      <a:close/>
                      <a:moveTo>
                        <a:pt x="33" y="76"/>
                      </a:moveTo>
                      <a:cubicBezTo>
                        <a:pt x="104" y="147"/>
                        <a:pt x="104" y="147"/>
                        <a:pt x="104" y="147"/>
                      </a:cubicBezTo>
                      <a:cubicBezTo>
                        <a:pt x="33" y="219"/>
                        <a:pt x="33" y="219"/>
                        <a:pt x="33" y="219"/>
                      </a:cubicBezTo>
                      <a:lnTo>
                        <a:pt x="33" y="76"/>
                      </a:lnTo>
                      <a:close/>
                      <a:moveTo>
                        <a:pt x="385" y="322"/>
                      </a:moveTo>
                      <a:cubicBezTo>
                        <a:pt x="33" y="322"/>
                        <a:pt x="33" y="322"/>
                        <a:pt x="33" y="322"/>
                      </a:cubicBezTo>
                      <a:cubicBezTo>
                        <a:pt x="33" y="265"/>
                        <a:pt x="33" y="265"/>
                        <a:pt x="33" y="265"/>
                      </a:cubicBezTo>
                      <a:cubicBezTo>
                        <a:pt x="127" y="170"/>
                        <a:pt x="127" y="170"/>
                        <a:pt x="127" y="170"/>
                      </a:cubicBezTo>
                      <a:cubicBezTo>
                        <a:pt x="187" y="230"/>
                        <a:pt x="187" y="230"/>
                        <a:pt x="187" y="230"/>
                      </a:cubicBezTo>
                      <a:cubicBezTo>
                        <a:pt x="193" y="236"/>
                        <a:pt x="201" y="239"/>
                        <a:pt x="209" y="239"/>
                      </a:cubicBezTo>
                      <a:cubicBezTo>
                        <a:pt x="217" y="239"/>
                        <a:pt x="225" y="236"/>
                        <a:pt x="231" y="230"/>
                      </a:cubicBezTo>
                      <a:cubicBezTo>
                        <a:pt x="291" y="170"/>
                        <a:pt x="291" y="170"/>
                        <a:pt x="291" y="170"/>
                      </a:cubicBezTo>
                      <a:cubicBezTo>
                        <a:pt x="385" y="265"/>
                        <a:pt x="385" y="265"/>
                        <a:pt x="385" y="265"/>
                      </a:cubicBezTo>
                      <a:lnTo>
                        <a:pt x="385" y="322"/>
                      </a:lnTo>
                      <a:close/>
                      <a:moveTo>
                        <a:pt x="385" y="219"/>
                      </a:moveTo>
                      <a:cubicBezTo>
                        <a:pt x="314" y="147"/>
                        <a:pt x="314" y="147"/>
                        <a:pt x="314" y="147"/>
                      </a:cubicBezTo>
                      <a:cubicBezTo>
                        <a:pt x="385" y="76"/>
                        <a:pt x="385" y="76"/>
                        <a:pt x="385" y="76"/>
                      </a:cubicBezTo>
                      <a:lnTo>
                        <a:pt x="385" y="2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0302" name="Freeform 9"/>
                <p:cNvSpPr>
                  <a:spLocks noEditPoints="1"/>
                </p:cNvSpPr>
                <p:nvPr/>
              </p:nvSpPr>
              <p:spPr bwMode="auto">
                <a:xfrm>
                  <a:off x="9394825" y="3114676"/>
                  <a:ext cx="715963" cy="719138"/>
                </a:xfrm>
                <a:custGeom>
                  <a:avLst/>
                  <a:gdLst>
                    <a:gd name="T0" fmla="*/ 2147483646 w 191"/>
                    <a:gd name="T1" fmla="*/ 0 h 192"/>
                    <a:gd name="T2" fmla="*/ 0 w 191"/>
                    <a:gd name="T3" fmla="*/ 2147483646 h 192"/>
                    <a:gd name="T4" fmla="*/ 2147483646 w 191"/>
                    <a:gd name="T5" fmla="*/ 2147483646 h 192"/>
                    <a:gd name="T6" fmla="*/ 2147483646 w 191"/>
                    <a:gd name="T7" fmla="*/ 2147483646 h 192"/>
                    <a:gd name="T8" fmla="*/ 2147483646 w 191"/>
                    <a:gd name="T9" fmla="*/ 0 h 192"/>
                    <a:gd name="T10" fmla="*/ 2147483646 w 191"/>
                    <a:gd name="T11" fmla="*/ 2147483646 h 192"/>
                    <a:gd name="T12" fmla="*/ 2147483646 w 191"/>
                    <a:gd name="T13" fmla="*/ 2147483646 h 192"/>
                    <a:gd name="T14" fmla="*/ 2147483646 w 191"/>
                    <a:gd name="T15" fmla="*/ 2147483646 h 192"/>
                    <a:gd name="T16" fmla="*/ 2147483646 w 191"/>
                    <a:gd name="T17" fmla="*/ 2147483646 h 192"/>
                    <a:gd name="T18" fmla="*/ 2147483646 w 191"/>
                    <a:gd name="T19" fmla="*/ 2147483646 h 19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91" h="192">
                      <a:moveTo>
                        <a:pt x="96" y="0"/>
                      </a:moveTo>
                      <a:cubicBezTo>
                        <a:pt x="43" y="0"/>
                        <a:pt x="0" y="43"/>
                        <a:pt x="0" y="96"/>
                      </a:cubicBezTo>
                      <a:cubicBezTo>
                        <a:pt x="0" y="149"/>
                        <a:pt x="43" y="192"/>
                        <a:pt x="96" y="192"/>
                      </a:cubicBezTo>
                      <a:cubicBezTo>
                        <a:pt x="148" y="192"/>
                        <a:pt x="191" y="149"/>
                        <a:pt x="191" y="96"/>
                      </a:cubicBezTo>
                      <a:cubicBezTo>
                        <a:pt x="191" y="43"/>
                        <a:pt x="148" y="0"/>
                        <a:pt x="96" y="0"/>
                      </a:cubicBezTo>
                      <a:close/>
                      <a:moveTo>
                        <a:pt x="94" y="169"/>
                      </a:moveTo>
                      <a:cubicBezTo>
                        <a:pt x="53" y="169"/>
                        <a:pt x="20" y="136"/>
                        <a:pt x="20" y="95"/>
                      </a:cubicBezTo>
                      <a:cubicBezTo>
                        <a:pt x="20" y="54"/>
                        <a:pt x="53" y="20"/>
                        <a:pt x="94" y="20"/>
                      </a:cubicBezTo>
                      <a:cubicBezTo>
                        <a:pt x="135" y="20"/>
                        <a:pt x="169" y="54"/>
                        <a:pt x="169" y="95"/>
                      </a:cubicBezTo>
                      <a:cubicBezTo>
                        <a:pt x="169" y="136"/>
                        <a:pt x="135" y="169"/>
                        <a:pt x="94" y="1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0303" name="Freeform 10"/>
                <p:cNvSpPr/>
                <p:nvPr/>
              </p:nvSpPr>
              <p:spPr bwMode="auto">
                <a:xfrm>
                  <a:off x="9488488" y="3732213"/>
                  <a:ext cx="261938" cy="341313"/>
                </a:xfrm>
                <a:custGeom>
                  <a:avLst/>
                  <a:gdLst>
                    <a:gd name="T0" fmla="*/ 2147483646 w 165"/>
                    <a:gd name="T1" fmla="*/ 0 h 215"/>
                    <a:gd name="T2" fmla="*/ 0 w 165"/>
                    <a:gd name="T3" fmla="*/ 2147483646 h 215"/>
                    <a:gd name="T4" fmla="*/ 2147483646 w 165"/>
                    <a:gd name="T5" fmla="*/ 2147483646 h 215"/>
                    <a:gd name="T6" fmla="*/ 2147483646 w 165"/>
                    <a:gd name="T7" fmla="*/ 0 h 21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65" h="215">
                      <a:moveTo>
                        <a:pt x="38" y="0"/>
                      </a:moveTo>
                      <a:lnTo>
                        <a:pt x="0" y="215"/>
                      </a:lnTo>
                      <a:lnTo>
                        <a:pt x="165" y="55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0304" name="Freeform 11"/>
                <p:cNvSpPr/>
                <p:nvPr/>
              </p:nvSpPr>
              <p:spPr bwMode="auto">
                <a:xfrm>
                  <a:off x="9678988" y="3305176"/>
                  <a:ext cx="117475" cy="341313"/>
                </a:xfrm>
                <a:custGeom>
                  <a:avLst/>
                  <a:gdLst>
                    <a:gd name="T0" fmla="*/ 2147483646 w 74"/>
                    <a:gd name="T1" fmla="*/ 2147483646 h 215"/>
                    <a:gd name="T2" fmla="*/ 2147483646 w 74"/>
                    <a:gd name="T3" fmla="*/ 2147483646 h 215"/>
                    <a:gd name="T4" fmla="*/ 2147483646 w 74"/>
                    <a:gd name="T5" fmla="*/ 2147483646 h 215"/>
                    <a:gd name="T6" fmla="*/ 0 w 74"/>
                    <a:gd name="T7" fmla="*/ 2147483646 h 215"/>
                    <a:gd name="T8" fmla="*/ 2147483646 w 74"/>
                    <a:gd name="T9" fmla="*/ 0 h 215"/>
                    <a:gd name="T10" fmla="*/ 2147483646 w 74"/>
                    <a:gd name="T11" fmla="*/ 0 h 215"/>
                    <a:gd name="T12" fmla="*/ 2147483646 w 74"/>
                    <a:gd name="T13" fmla="*/ 2147483646 h 215"/>
                    <a:gd name="T14" fmla="*/ 2147483646 w 74"/>
                    <a:gd name="T15" fmla="*/ 2147483646 h 215"/>
                    <a:gd name="T16" fmla="*/ 2147483646 w 74"/>
                    <a:gd name="T17" fmla="*/ 2147483646 h 21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74" h="215">
                      <a:moveTo>
                        <a:pt x="45" y="28"/>
                      </a:moveTo>
                      <a:lnTo>
                        <a:pt x="45" y="28"/>
                      </a:lnTo>
                      <a:lnTo>
                        <a:pt x="7" y="47"/>
                      </a:lnTo>
                      <a:lnTo>
                        <a:pt x="0" y="26"/>
                      </a:lnTo>
                      <a:lnTo>
                        <a:pt x="48" y="0"/>
                      </a:lnTo>
                      <a:lnTo>
                        <a:pt x="74" y="0"/>
                      </a:lnTo>
                      <a:lnTo>
                        <a:pt x="74" y="215"/>
                      </a:lnTo>
                      <a:lnTo>
                        <a:pt x="45" y="215"/>
                      </a:lnTo>
                      <a:lnTo>
                        <a:pt x="45" y="2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5" name="组合 4"/>
          <p:cNvGrpSpPr/>
          <p:nvPr/>
        </p:nvGrpSpPr>
        <p:grpSpPr bwMode="auto">
          <a:xfrm>
            <a:off x="4303713" y="1179513"/>
            <a:ext cx="1620837" cy="1620837"/>
            <a:chOff x="4303652" y="1179215"/>
            <a:chExt cx="1620752" cy="1620752"/>
          </a:xfrm>
        </p:grpSpPr>
        <p:sp>
          <p:nvSpPr>
            <p:cNvPr id="15" name="Rectangle 23"/>
            <p:cNvSpPr/>
            <p:nvPr/>
          </p:nvSpPr>
          <p:spPr bwMode="auto">
            <a:xfrm>
              <a:off x="4303652" y="1179215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4430645" y="2272945"/>
              <a:ext cx="1128653" cy="3381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8" name="组合 137"/>
            <p:cNvGrpSpPr/>
            <p:nvPr/>
          </p:nvGrpSpPr>
          <p:grpSpPr>
            <a:xfrm>
              <a:off x="5510435" y="2381654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39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0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86" name="组合 96"/>
            <p:cNvGrpSpPr/>
            <p:nvPr/>
          </p:nvGrpSpPr>
          <p:grpSpPr bwMode="auto">
            <a:xfrm>
              <a:off x="4730789" y="1333767"/>
              <a:ext cx="766478" cy="766478"/>
              <a:chOff x="7956550" y="-479425"/>
              <a:chExt cx="2573338" cy="2573338"/>
            </a:xfrm>
          </p:grpSpPr>
          <p:sp>
            <p:nvSpPr>
              <p:cNvPr id="98" name="Freeform 16"/>
              <p:cNvSpPr/>
              <p:nvPr/>
            </p:nvSpPr>
            <p:spPr bwMode="auto">
              <a:xfrm>
                <a:off x="7956140" y="-481349"/>
                <a:ext cx="2574161" cy="2574161"/>
              </a:xfrm>
              <a:custGeom>
                <a:avLst/>
                <a:gdLst>
                  <a:gd name="T0" fmla="*/ 686 w 686"/>
                  <a:gd name="T1" fmla="*/ 624 h 686"/>
                  <a:gd name="T2" fmla="*/ 624 w 686"/>
                  <a:gd name="T3" fmla="*/ 686 h 686"/>
                  <a:gd name="T4" fmla="*/ 62 w 686"/>
                  <a:gd name="T5" fmla="*/ 686 h 686"/>
                  <a:gd name="T6" fmla="*/ 0 w 686"/>
                  <a:gd name="T7" fmla="*/ 624 h 686"/>
                  <a:gd name="T8" fmla="*/ 0 w 686"/>
                  <a:gd name="T9" fmla="*/ 62 h 686"/>
                  <a:gd name="T10" fmla="*/ 62 w 686"/>
                  <a:gd name="T11" fmla="*/ 0 h 686"/>
                  <a:gd name="T12" fmla="*/ 624 w 686"/>
                  <a:gd name="T13" fmla="*/ 0 h 686"/>
                  <a:gd name="T14" fmla="*/ 686 w 686"/>
                  <a:gd name="T15" fmla="*/ 62 h 686"/>
                  <a:gd name="T16" fmla="*/ 686 w 686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6">
                    <a:moveTo>
                      <a:pt x="686" y="624"/>
                    </a:moveTo>
                    <a:cubicBezTo>
                      <a:pt x="686" y="659"/>
                      <a:pt x="659" y="686"/>
                      <a:pt x="624" y="686"/>
                    </a:cubicBezTo>
                    <a:cubicBezTo>
                      <a:pt x="62" y="686"/>
                      <a:pt x="62" y="686"/>
                      <a:pt x="62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2"/>
                    </a:cubicBezTo>
                    <a:lnTo>
                      <a:pt x="686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88" name="Freeform 17"/>
              <p:cNvSpPr/>
              <p:nvPr/>
            </p:nvSpPr>
            <p:spPr bwMode="auto">
              <a:xfrm>
                <a:off x="8620125" y="-396875"/>
                <a:ext cx="1909763" cy="2490788"/>
              </a:xfrm>
              <a:custGeom>
                <a:avLst/>
                <a:gdLst>
                  <a:gd name="T0" fmla="*/ 2147483646 w 509"/>
                  <a:gd name="T1" fmla="*/ 2147483646 h 664"/>
                  <a:gd name="T2" fmla="*/ 2147483646 w 509"/>
                  <a:gd name="T3" fmla="*/ 2147483646 h 664"/>
                  <a:gd name="T4" fmla="*/ 2147483646 w 509"/>
                  <a:gd name="T5" fmla="*/ 2147483646 h 664"/>
                  <a:gd name="T6" fmla="*/ 2147483646 w 509"/>
                  <a:gd name="T7" fmla="*/ 2147483646 h 664"/>
                  <a:gd name="T8" fmla="*/ 2147483646 w 509"/>
                  <a:gd name="T9" fmla="*/ 2147483646 h 664"/>
                  <a:gd name="T10" fmla="*/ 2147483646 w 509"/>
                  <a:gd name="T11" fmla="*/ 2147483646 h 664"/>
                  <a:gd name="T12" fmla="*/ 2147483646 w 509"/>
                  <a:gd name="T13" fmla="*/ 2147483646 h 664"/>
                  <a:gd name="T14" fmla="*/ 2147483646 w 509"/>
                  <a:gd name="T15" fmla="*/ 2147483646 h 664"/>
                  <a:gd name="T16" fmla="*/ 0 w 509"/>
                  <a:gd name="T17" fmla="*/ 2147483646 h 664"/>
                  <a:gd name="T18" fmla="*/ 2147483646 w 509"/>
                  <a:gd name="T19" fmla="*/ 2147483646 h 664"/>
                  <a:gd name="T20" fmla="*/ 2147483646 w 509"/>
                  <a:gd name="T21" fmla="*/ 2147483646 h 664"/>
                  <a:gd name="T22" fmla="*/ 2147483646 w 509"/>
                  <a:gd name="T23" fmla="*/ 2147483646 h 66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09" h="664">
                    <a:moveTo>
                      <a:pt x="509" y="602"/>
                    </a:moveTo>
                    <a:cubicBezTo>
                      <a:pt x="509" y="167"/>
                      <a:pt x="509" y="167"/>
                      <a:pt x="509" y="167"/>
                    </a:cubicBezTo>
                    <a:cubicBezTo>
                      <a:pt x="408" y="65"/>
                      <a:pt x="408" y="65"/>
                      <a:pt x="408" y="65"/>
                    </a:cubicBezTo>
                    <a:cubicBezTo>
                      <a:pt x="408" y="65"/>
                      <a:pt x="260" y="0"/>
                      <a:pt x="250" y="115"/>
                    </a:cubicBezTo>
                    <a:cubicBezTo>
                      <a:pt x="241" y="229"/>
                      <a:pt x="326" y="227"/>
                      <a:pt x="326" y="227"/>
                    </a:cubicBezTo>
                    <a:cubicBezTo>
                      <a:pt x="292" y="261"/>
                      <a:pt x="292" y="261"/>
                      <a:pt x="292" y="261"/>
                    </a:cubicBezTo>
                    <a:cubicBezTo>
                      <a:pt x="200" y="169"/>
                      <a:pt x="200" y="169"/>
                      <a:pt x="200" y="169"/>
                    </a:cubicBezTo>
                    <a:cubicBezTo>
                      <a:pt x="90" y="279"/>
                      <a:pt x="90" y="279"/>
                      <a:pt x="90" y="279"/>
                    </a:cubicBezTo>
                    <a:cubicBezTo>
                      <a:pt x="0" y="573"/>
                      <a:pt x="0" y="573"/>
                      <a:pt x="0" y="573"/>
                    </a:cubicBezTo>
                    <a:cubicBezTo>
                      <a:pt x="92" y="664"/>
                      <a:pt x="92" y="664"/>
                      <a:pt x="92" y="664"/>
                    </a:cubicBezTo>
                    <a:cubicBezTo>
                      <a:pt x="447" y="664"/>
                      <a:pt x="447" y="664"/>
                      <a:pt x="447" y="664"/>
                    </a:cubicBezTo>
                    <a:cubicBezTo>
                      <a:pt x="482" y="664"/>
                      <a:pt x="509" y="637"/>
                      <a:pt x="509" y="602"/>
                    </a:cubicBez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89" name="Freeform 18"/>
              <p:cNvSpPr>
                <a:spLocks noEditPoints="1"/>
              </p:cNvSpPr>
              <p:nvPr/>
            </p:nvSpPr>
            <p:spPr bwMode="auto">
              <a:xfrm>
                <a:off x="8597900" y="161925"/>
                <a:ext cx="1103313" cy="1631950"/>
              </a:xfrm>
              <a:custGeom>
                <a:avLst/>
                <a:gdLst>
                  <a:gd name="T0" fmla="*/ 2147483646 w 294"/>
                  <a:gd name="T1" fmla="*/ 2147483646 h 435"/>
                  <a:gd name="T2" fmla="*/ 2147483646 w 294"/>
                  <a:gd name="T3" fmla="*/ 2147483646 h 435"/>
                  <a:gd name="T4" fmla="*/ 2147483646 w 294"/>
                  <a:gd name="T5" fmla="*/ 0 h 435"/>
                  <a:gd name="T6" fmla="*/ 2147483646 w 294"/>
                  <a:gd name="T7" fmla="*/ 2147483646 h 435"/>
                  <a:gd name="T8" fmla="*/ 2147483646 w 294"/>
                  <a:gd name="T9" fmla="*/ 2147483646 h 435"/>
                  <a:gd name="T10" fmla="*/ 0 w 294"/>
                  <a:gd name="T11" fmla="*/ 2147483646 h 435"/>
                  <a:gd name="T12" fmla="*/ 2147483646 w 294"/>
                  <a:gd name="T13" fmla="*/ 2147483646 h 435"/>
                  <a:gd name="T14" fmla="*/ 2147483646 w 294"/>
                  <a:gd name="T15" fmla="*/ 2147483646 h 435"/>
                  <a:gd name="T16" fmla="*/ 2147483646 w 294"/>
                  <a:gd name="T17" fmla="*/ 2147483646 h 435"/>
                  <a:gd name="T18" fmla="*/ 2147483646 w 294"/>
                  <a:gd name="T19" fmla="*/ 2147483646 h 435"/>
                  <a:gd name="T20" fmla="*/ 2147483646 w 294"/>
                  <a:gd name="T21" fmla="*/ 2147483646 h 435"/>
                  <a:gd name="T22" fmla="*/ 2147483646 w 294"/>
                  <a:gd name="T23" fmla="*/ 2147483646 h 435"/>
                  <a:gd name="T24" fmla="*/ 2147483646 w 294"/>
                  <a:gd name="T25" fmla="*/ 2147483646 h 435"/>
                  <a:gd name="T26" fmla="*/ 2147483646 w 294"/>
                  <a:gd name="T27" fmla="*/ 2147483646 h 435"/>
                  <a:gd name="T28" fmla="*/ 2147483646 w 294"/>
                  <a:gd name="T29" fmla="*/ 2147483646 h 435"/>
                  <a:gd name="T30" fmla="*/ 2147483646 w 294"/>
                  <a:gd name="T31" fmla="*/ 2147483646 h 435"/>
                  <a:gd name="T32" fmla="*/ 2147483646 w 294"/>
                  <a:gd name="T33" fmla="*/ 2147483646 h 435"/>
                  <a:gd name="T34" fmla="*/ 2147483646 w 294"/>
                  <a:gd name="T35" fmla="*/ 2147483646 h 435"/>
                  <a:gd name="T36" fmla="*/ 2147483646 w 294"/>
                  <a:gd name="T37" fmla="*/ 2147483646 h 435"/>
                  <a:gd name="T38" fmla="*/ 2147483646 w 294"/>
                  <a:gd name="T39" fmla="*/ 2147483646 h 435"/>
                  <a:gd name="T40" fmla="*/ 2147483646 w 294"/>
                  <a:gd name="T41" fmla="*/ 2147483646 h 435"/>
                  <a:gd name="T42" fmla="*/ 2147483646 w 294"/>
                  <a:gd name="T43" fmla="*/ 2147483646 h 435"/>
                  <a:gd name="T44" fmla="*/ 2147483646 w 294"/>
                  <a:gd name="T45" fmla="*/ 2147483646 h 435"/>
                  <a:gd name="T46" fmla="*/ 2147483646 w 294"/>
                  <a:gd name="T47" fmla="*/ 2147483646 h 43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94" h="435">
                    <a:moveTo>
                      <a:pt x="208" y="148"/>
                    </a:moveTo>
                    <a:cubicBezTo>
                      <a:pt x="227" y="133"/>
                      <a:pt x="240" y="110"/>
                      <a:pt x="240" y="84"/>
                    </a:cubicBezTo>
                    <a:cubicBezTo>
                      <a:pt x="240" y="38"/>
                      <a:pt x="198" y="0"/>
                      <a:pt x="147" y="0"/>
                    </a:cubicBezTo>
                    <a:cubicBezTo>
                      <a:pt x="95" y="0"/>
                      <a:pt x="54" y="38"/>
                      <a:pt x="54" y="84"/>
                    </a:cubicBezTo>
                    <a:cubicBezTo>
                      <a:pt x="54" y="110"/>
                      <a:pt x="66" y="133"/>
                      <a:pt x="86" y="148"/>
                    </a:cubicBezTo>
                    <a:cubicBezTo>
                      <a:pt x="35" y="169"/>
                      <a:pt x="0" y="216"/>
                      <a:pt x="0" y="270"/>
                    </a:cubicBezTo>
                    <a:cubicBezTo>
                      <a:pt x="0" y="276"/>
                      <a:pt x="1" y="419"/>
                      <a:pt x="1" y="419"/>
                    </a:cubicBezTo>
                    <a:cubicBezTo>
                      <a:pt x="1" y="428"/>
                      <a:pt x="12" y="435"/>
                      <a:pt x="26" y="435"/>
                    </a:cubicBezTo>
                    <a:cubicBezTo>
                      <a:pt x="268" y="435"/>
                      <a:pt x="268" y="435"/>
                      <a:pt x="268" y="435"/>
                    </a:cubicBezTo>
                    <a:cubicBezTo>
                      <a:pt x="282" y="435"/>
                      <a:pt x="292" y="428"/>
                      <a:pt x="292" y="419"/>
                    </a:cubicBezTo>
                    <a:cubicBezTo>
                      <a:pt x="292" y="419"/>
                      <a:pt x="294" y="276"/>
                      <a:pt x="294" y="270"/>
                    </a:cubicBezTo>
                    <a:cubicBezTo>
                      <a:pt x="294" y="216"/>
                      <a:pt x="259" y="169"/>
                      <a:pt x="208" y="148"/>
                    </a:cubicBezTo>
                    <a:close/>
                    <a:moveTo>
                      <a:pt x="173" y="218"/>
                    </a:moveTo>
                    <a:cubicBezTo>
                      <a:pt x="167" y="255"/>
                      <a:pt x="167" y="255"/>
                      <a:pt x="167" y="255"/>
                    </a:cubicBezTo>
                    <a:cubicBezTo>
                      <a:pt x="161" y="293"/>
                      <a:pt x="161" y="293"/>
                      <a:pt x="161" y="293"/>
                    </a:cubicBezTo>
                    <a:cubicBezTo>
                      <a:pt x="159" y="303"/>
                      <a:pt x="153" y="310"/>
                      <a:pt x="147" y="310"/>
                    </a:cubicBezTo>
                    <a:cubicBezTo>
                      <a:pt x="141" y="310"/>
                      <a:pt x="135" y="303"/>
                      <a:pt x="133" y="293"/>
                    </a:cubicBezTo>
                    <a:cubicBezTo>
                      <a:pt x="127" y="255"/>
                      <a:pt x="127" y="255"/>
                      <a:pt x="127" y="255"/>
                    </a:cubicBezTo>
                    <a:cubicBezTo>
                      <a:pt x="121" y="218"/>
                      <a:pt x="121" y="218"/>
                      <a:pt x="121" y="218"/>
                    </a:cubicBezTo>
                    <a:cubicBezTo>
                      <a:pt x="120" y="211"/>
                      <a:pt x="121" y="203"/>
                      <a:pt x="123" y="197"/>
                    </a:cubicBezTo>
                    <a:cubicBezTo>
                      <a:pt x="126" y="191"/>
                      <a:pt x="130" y="188"/>
                      <a:pt x="135" y="188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64" y="188"/>
                      <a:pt x="168" y="191"/>
                      <a:pt x="171" y="197"/>
                    </a:cubicBezTo>
                    <a:cubicBezTo>
                      <a:pt x="173" y="203"/>
                      <a:pt x="174" y="211"/>
                      <a:pt x="173" y="2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90" name="Freeform 19"/>
              <p:cNvSpPr>
                <a:spLocks noEditPoints="1"/>
              </p:cNvSpPr>
              <p:nvPr/>
            </p:nvSpPr>
            <p:spPr bwMode="auto">
              <a:xfrm>
                <a:off x="9505950" y="-292100"/>
                <a:ext cx="754063" cy="754063"/>
              </a:xfrm>
              <a:custGeom>
                <a:avLst/>
                <a:gdLst>
                  <a:gd name="T0" fmla="*/ 2147483646 w 201"/>
                  <a:gd name="T1" fmla="*/ 0 h 201"/>
                  <a:gd name="T2" fmla="*/ 0 w 201"/>
                  <a:gd name="T3" fmla="*/ 2147483646 h 201"/>
                  <a:gd name="T4" fmla="*/ 2147483646 w 201"/>
                  <a:gd name="T5" fmla="*/ 2147483646 h 201"/>
                  <a:gd name="T6" fmla="*/ 2147483646 w 201"/>
                  <a:gd name="T7" fmla="*/ 2147483646 h 201"/>
                  <a:gd name="T8" fmla="*/ 2147483646 w 201"/>
                  <a:gd name="T9" fmla="*/ 0 h 201"/>
                  <a:gd name="T10" fmla="*/ 2147483646 w 201"/>
                  <a:gd name="T11" fmla="*/ 2147483646 h 201"/>
                  <a:gd name="T12" fmla="*/ 2147483646 w 201"/>
                  <a:gd name="T13" fmla="*/ 2147483646 h 201"/>
                  <a:gd name="T14" fmla="*/ 2147483646 w 201"/>
                  <a:gd name="T15" fmla="*/ 2147483646 h 201"/>
                  <a:gd name="T16" fmla="*/ 2147483646 w 201"/>
                  <a:gd name="T17" fmla="*/ 2147483646 h 201"/>
                  <a:gd name="T18" fmla="*/ 2147483646 w 201"/>
                  <a:gd name="T19" fmla="*/ 2147483646 h 20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1" h="201">
                    <a:moveTo>
                      <a:pt x="100" y="0"/>
                    </a:moveTo>
                    <a:cubicBezTo>
                      <a:pt x="45" y="0"/>
                      <a:pt x="0" y="45"/>
                      <a:pt x="0" y="101"/>
                    </a:cubicBezTo>
                    <a:cubicBezTo>
                      <a:pt x="0" y="156"/>
                      <a:pt x="45" y="201"/>
                      <a:pt x="100" y="201"/>
                    </a:cubicBezTo>
                    <a:cubicBezTo>
                      <a:pt x="156" y="201"/>
                      <a:pt x="201" y="156"/>
                      <a:pt x="201" y="101"/>
                    </a:cubicBezTo>
                    <a:cubicBezTo>
                      <a:pt x="201" y="45"/>
                      <a:pt x="156" y="0"/>
                      <a:pt x="100" y="0"/>
                    </a:cubicBezTo>
                    <a:close/>
                    <a:moveTo>
                      <a:pt x="99" y="177"/>
                    </a:moveTo>
                    <a:cubicBezTo>
                      <a:pt x="56" y="177"/>
                      <a:pt x="21" y="142"/>
                      <a:pt x="21" y="99"/>
                    </a:cubicBezTo>
                    <a:cubicBezTo>
                      <a:pt x="21" y="56"/>
                      <a:pt x="56" y="21"/>
                      <a:pt x="99" y="21"/>
                    </a:cubicBezTo>
                    <a:cubicBezTo>
                      <a:pt x="142" y="21"/>
                      <a:pt x="177" y="56"/>
                      <a:pt x="177" y="99"/>
                    </a:cubicBezTo>
                    <a:cubicBezTo>
                      <a:pt x="177" y="142"/>
                      <a:pt x="142" y="177"/>
                      <a:pt x="99" y="17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91" name="Freeform 20"/>
              <p:cNvSpPr/>
              <p:nvPr/>
            </p:nvSpPr>
            <p:spPr bwMode="auto">
              <a:xfrm>
                <a:off x="9602788" y="357188"/>
                <a:ext cx="277813" cy="355600"/>
              </a:xfrm>
              <a:custGeom>
                <a:avLst/>
                <a:gdLst>
                  <a:gd name="T0" fmla="*/ 2147483646 w 175"/>
                  <a:gd name="T1" fmla="*/ 0 h 224"/>
                  <a:gd name="T2" fmla="*/ 0 w 175"/>
                  <a:gd name="T3" fmla="*/ 2147483646 h 224"/>
                  <a:gd name="T4" fmla="*/ 2147483646 w 175"/>
                  <a:gd name="T5" fmla="*/ 2147483646 h 224"/>
                  <a:gd name="T6" fmla="*/ 2147483646 w 175"/>
                  <a:gd name="T7" fmla="*/ 0 h 2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75" h="224">
                    <a:moveTo>
                      <a:pt x="43" y="0"/>
                    </a:moveTo>
                    <a:lnTo>
                      <a:pt x="0" y="224"/>
                    </a:lnTo>
                    <a:lnTo>
                      <a:pt x="175" y="57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92" name="Freeform 21"/>
              <p:cNvSpPr/>
              <p:nvPr/>
            </p:nvSpPr>
            <p:spPr bwMode="auto">
              <a:xfrm>
                <a:off x="9786938" y="-85725"/>
                <a:ext cx="217488" cy="360363"/>
              </a:xfrm>
              <a:custGeom>
                <a:avLst/>
                <a:gdLst>
                  <a:gd name="T0" fmla="*/ 2147483646 w 58"/>
                  <a:gd name="T1" fmla="*/ 2147483646 h 96"/>
                  <a:gd name="T2" fmla="*/ 2147483646 w 58"/>
                  <a:gd name="T3" fmla="*/ 2147483646 h 96"/>
                  <a:gd name="T4" fmla="*/ 2147483646 w 58"/>
                  <a:gd name="T5" fmla="*/ 2147483646 h 96"/>
                  <a:gd name="T6" fmla="*/ 2147483646 w 58"/>
                  <a:gd name="T7" fmla="*/ 2147483646 h 96"/>
                  <a:gd name="T8" fmla="*/ 2147483646 w 58"/>
                  <a:gd name="T9" fmla="*/ 2147483646 h 96"/>
                  <a:gd name="T10" fmla="*/ 2147483646 w 58"/>
                  <a:gd name="T11" fmla="*/ 2147483646 h 96"/>
                  <a:gd name="T12" fmla="*/ 2147483646 w 58"/>
                  <a:gd name="T13" fmla="*/ 2147483646 h 96"/>
                  <a:gd name="T14" fmla="*/ 2147483646 w 58"/>
                  <a:gd name="T15" fmla="*/ 2147483646 h 96"/>
                  <a:gd name="T16" fmla="*/ 2147483646 w 58"/>
                  <a:gd name="T17" fmla="*/ 2147483646 h 96"/>
                  <a:gd name="T18" fmla="*/ 2147483646 w 58"/>
                  <a:gd name="T19" fmla="*/ 2147483646 h 96"/>
                  <a:gd name="T20" fmla="*/ 2147483646 w 58"/>
                  <a:gd name="T21" fmla="*/ 2147483646 h 96"/>
                  <a:gd name="T22" fmla="*/ 2147483646 w 58"/>
                  <a:gd name="T23" fmla="*/ 0 h 96"/>
                  <a:gd name="T24" fmla="*/ 2147483646 w 58"/>
                  <a:gd name="T25" fmla="*/ 2147483646 h 96"/>
                  <a:gd name="T26" fmla="*/ 2147483646 w 58"/>
                  <a:gd name="T27" fmla="*/ 2147483646 h 96"/>
                  <a:gd name="T28" fmla="*/ 2147483646 w 58"/>
                  <a:gd name="T29" fmla="*/ 2147483646 h 96"/>
                  <a:gd name="T30" fmla="*/ 2147483646 w 58"/>
                  <a:gd name="T31" fmla="*/ 2147483646 h 96"/>
                  <a:gd name="T32" fmla="*/ 2147483646 w 58"/>
                  <a:gd name="T33" fmla="*/ 2147483646 h 96"/>
                  <a:gd name="T34" fmla="*/ 0 w 58"/>
                  <a:gd name="T35" fmla="*/ 2147483646 h 96"/>
                  <a:gd name="T36" fmla="*/ 2147483646 w 58"/>
                  <a:gd name="T37" fmla="*/ 2147483646 h 9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58" h="96">
                    <a:moveTo>
                      <a:pt x="4" y="80"/>
                    </a:moveTo>
                    <a:cubicBezTo>
                      <a:pt x="7" y="82"/>
                      <a:pt x="16" y="86"/>
                      <a:pt x="24" y="86"/>
                    </a:cubicBezTo>
                    <a:cubicBezTo>
                      <a:pt x="40" y="86"/>
                      <a:pt x="45" y="76"/>
                      <a:pt x="45" y="68"/>
                    </a:cubicBezTo>
                    <a:cubicBezTo>
                      <a:pt x="45" y="55"/>
                      <a:pt x="33" y="49"/>
                      <a:pt x="21" y="49"/>
                    </a:cubicBezTo>
                    <a:cubicBezTo>
                      <a:pt x="14" y="49"/>
                      <a:pt x="14" y="49"/>
                      <a:pt x="14" y="49"/>
                    </a:cubicBezTo>
                    <a:cubicBezTo>
                      <a:pt x="14" y="40"/>
                      <a:pt x="14" y="40"/>
                      <a:pt x="14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30" y="40"/>
                      <a:pt x="42" y="35"/>
                      <a:pt x="42" y="24"/>
                    </a:cubicBezTo>
                    <a:cubicBezTo>
                      <a:pt x="42" y="17"/>
                      <a:pt x="37" y="10"/>
                      <a:pt x="26" y="10"/>
                    </a:cubicBezTo>
                    <a:cubicBezTo>
                      <a:pt x="18" y="10"/>
                      <a:pt x="11" y="13"/>
                      <a:pt x="7" y="1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9" y="3"/>
                      <a:pt x="18" y="0"/>
                      <a:pt x="28" y="0"/>
                    </a:cubicBezTo>
                    <a:cubicBezTo>
                      <a:pt x="46" y="0"/>
                      <a:pt x="55" y="11"/>
                      <a:pt x="55" y="22"/>
                    </a:cubicBezTo>
                    <a:cubicBezTo>
                      <a:pt x="55" y="32"/>
                      <a:pt x="49" y="40"/>
                      <a:pt x="38" y="44"/>
                    </a:cubicBezTo>
                    <a:cubicBezTo>
                      <a:pt x="38" y="44"/>
                      <a:pt x="38" y="44"/>
                      <a:pt x="38" y="44"/>
                    </a:cubicBezTo>
                    <a:cubicBezTo>
                      <a:pt x="49" y="46"/>
                      <a:pt x="58" y="55"/>
                      <a:pt x="58" y="68"/>
                    </a:cubicBezTo>
                    <a:cubicBezTo>
                      <a:pt x="58" y="83"/>
                      <a:pt x="47" y="96"/>
                      <a:pt x="24" y="96"/>
                    </a:cubicBezTo>
                    <a:cubicBezTo>
                      <a:pt x="14" y="96"/>
                      <a:pt x="5" y="93"/>
                      <a:pt x="0" y="90"/>
                    </a:cubicBezTo>
                    <a:lnTo>
                      <a:pt x="4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7" name="组合 6"/>
          <p:cNvGrpSpPr/>
          <p:nvPr/>
        </p:nvGrpSpPr>
        <p:grpSpPr bwMode="auto">
          <a:xfrm>
            <a:off x="5975350" y="1179513"/>
            <a:ext cx="1620838" cy="1620837"/>
            <a:chOff x="5975584" y="1179215"/>
            <a:chExt cx="1620752" cy="1620752"/>
          </a:xfrm>
        </p:grpSpPr>
        <p:sp>
          <p:nvSpPr>
            <p:cNvPr id="14" name="Rectangle 21"/>
            <p:cNvSpPr/>
            <p:nvPr/>
          </p:nvSpPr>
          <p:spPr bwMode="auto">
            <a:xfrm>
              <a:off x="5975584" y="1179215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6091466" y="2272945"/>
              <a:ext cx="1128652" cy="3381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1" name="组合 140"/>
            <p:cNvGrpSpPr/>
            <p:nvPr/>
          </p:nvGrpSpPr>
          <p:grpSpPr>
            <a:xfrm>
              <a:off x="7171134" y="2381654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42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3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71" name="组合 103"/>
            <p:cNvGrpSpPr/>
            <p:nvPr/>
          </p:nvGrpSpPr>
          <p:grpSpPr bwMode="auto">
            <a:xfrm>
              <a:off x="6388953" y="1333767"/>
              <a:ext cx="794014" cy="794014"/>
              <a:chOff x="8532813" y="50800"/>
              <a:chExt cx="2576512" cy="2576513"/>
            </a:xfrm>
          </p:grpSpPr>
          <p:sp>
            <p:nvSpPr>
              <p:cNvPr id="10272" name="AutoShape 24"/>
              <p:cNvSpPr>
                <a:spLocks noChangeAspect="1" noChangeArrowheads="1" noTextEdit="1"/>
              </p:cNvSpPr>
              <p:nvPr/>
            </p:nvSpPr>
            <p:spPr bwMode="auto">
              <a:xfrm>
                <a:off x="8532813" y="50800"/>
                <a:ext cx="2576512" cy="2576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6" name="Freeform 26"/>
              <p:cNvSpPr/>
              <p:nvPr/>
            </p:nvSpPr>
            <p:spPr bwMode="auto">
              <a:xfrm>
                <a:off x="8530733" y="48941"/>
                <a:ext cx="2575519" cy="2580673"/>
              </a:xfrm>
              <a:custGeom>
                <a:avLst/>
                <a:gdLst>
                  <a:gd name="T0" fmla="*/ 686 w 686"/>
                  <a:gd name="T1" fmla="*/ 625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5 h 687"/>
                  <a:gd name="T8" fmla="*/ 0 w 686"/>
                  <a:gd name="T9" fmla="*/ 63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3 h 687"/>
                  <a:gd name="T16" fmla="*/ 686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5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3"/>
                    </a:cubicBezTo>
                    <a:lnTo>
                      <a:pt x="686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74" name="Freeform 27"/>
              <p:cNvSpPr/>
              <p:nvPr/>
            </p:nvSpPr>
            <p:spPr bwMode="auto">
              <a:xfrm>
                <a:off x="8975725" y="249238"/>
                <a:ext cx="2130425" cy="2378075"/>
              </a:xfrm>
              <a:custGeom>
                <a:avLst/>
                <a:gdLst>
                  <a:gd name="T0" fmla="*/ 2147483646 w 568"/>
                  <a:gd name="T1" fmla="*/ 2147483646 h 634"/>
                  <a:gd name="T2" fmla="*/ 2147483646 w 568"/>
                  <a:gd name="T3" fmla="*/ 2147483646 h 634"/>
                  <a:gd name="T4" fmla="*/ 2147483646 w 568"/>
                  <a:gd name="T5" fmla="*/ 2147483646 h 634"/>
                  <a:gd name="T6" fmla="*/ 2147483646 w 568"/>
                  <a:gd name="T7" fmla="*/ 2147483646 h 634"/>
                  <a:gd name="T8" fmla="*/ 2147483646 w 568"/>
                  <a:gd name="T9" fmla="*/ 2147483646 h 634"/>
                  <a:gd name="T10" fmla="*/ 0 w 568"/>
                  <a:gd name="T11" fmla="*/ 2147483646 h 634"/>
                  <a:gd name="T12" fmla="*/ 2147483646 w 568"/>
                  <a:gd name="T13" fmla="*/ 2147483646 h 634"/>
                  <a:gd name="T14" fmla="*/ 2147483646 w 568"/>
                  <a:gd name="T15" fmla="*/ 2147483646 h 634"/>
                  <a:gd name="T16" fmla="*/ 2147483646 w 568"/>
                  <a:gd name="T17" fmla="*/ 2147483646 h 634"/>
                  <a:gd name="T18" fmla="*/ 2147483646 w 568"/>
                  <a:gd name="T19" fmla="*/ 2147483646 h 634"/>
                  <a:gd name="T20" fmla="*/ 2147483646 w 568"/>
                  <a:gd name="T21" fmla="*/ 2147483646 h 634"/>
                  <a:gd name="T22" fmla="*/ 2147483646 w 568"/>
                  <a:gd name="T23" fmla="*/ 2147483646 h 63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68" h="634">
                    <a:moveTo>
                      <a:pt x="396" y="116"/>
                    </a:moveTo>
                    <a:cubicBezTo>
                      <a:pt x="320" y="60"/>
                      <a:pt x="320" y="60"/>
                      <a:pt x="320" y="60"/>
                    </a:cubicBezTo>
                    <a:cubicBezTo>
                      <a:pt x="320" y="60"/>
                      <a:pt x="211" y="0"/>
                      <a:pt x="120" y="68"/>
                    </a:cubicBezTo>
                    <a:cubicBezTo>
                      <a:pt x="30" y="136"/>
                      <a:pt x="12" y="256"/>
                      <a:pt x="12" y="256"/>
                    </a:cubicBezTo>
                    <a:cubicBezTo>
                      <a:pt x="69" y="313"/>
                      <a:pt x="69" y="313"/>
                      <a:pt x="69" y="313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12" y="534"/>
                      <a:pt x="12" y="534"/>
                      <a:pt x="12" y="534"/>
                    </a:cubicBezTo>
                    <a:cubicBezTo>
                      <a:pt x="112" y="634"/>
                      <a:pt x="112" y="634"/>
                      <a:pt x="112" y="634"/>
                    </a:cubicBezTo>
                    <a:cubicBezTo>
                      <a:pt x="506" y="634"/>
                      <a:pt x="506" y="634"/>
                      <a:pt x="506" y="634"/>
                    </a:cubicBezTo>
                    <a:cubicBezTo>
                      <a:pt x="541" y="634"/>
                      <a:pt x="568" y="606"/>
                      <a:pt x="568" y="572"/>
                    </a:cubicBezTo>
                    <a:cubicBezTo>
                      <a:pt x="568" y="288"/>
                      <a:pt x="568" y="288"/>
                      <a:pt x="568" y="288"/>
                    </a:cubicBezTo>
                    <a:lnTo>
                      <a:pt x="396" y="116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5" name="Freeform 28"/>
              <p:cNvSpPr>
                <a:spLocks noEditPoints="1"/>
              </p:cNvSpPr>
              <p:nvPr/>
            </p:nvSpPr>
            <p:spPr bwMode="auto">
              <a:xfrm>
                <a:off x="9012238" y="358775"/>
                <a:ext cx="1635125" cy="1638300"/>
              </a:xfrm>
              <a:custGeom>
                <a:avLst/>
                <a:gdLst>
                  <a:gd name="T0" fmla="*/ 2147483646 w 436"/>
                  <a:gd name="T1" fmla="*/ 2147483646 h 437"/>
                  <a:gd name="T2" fmla="*/ 2147483646 w 436"/>
                  <a:gd name="T3" fmla="*/ 2147483646 h 437"/>
                  <a:gd name="T4" fmla="*/ 2147483646 w 436"/>
                  <a:gd name="T5" fmla="*/ 2147483646 h 437"/>
                  <a:gd name="T6" fmla="*/ 2147483646 w 436"/>
                  <a:gd name="T7" fmla="*/ 2147483646 h 437"/>
                  <a:gd name="T8" fmla="*/ 2147483646 w 436"/>
                  <a:gd name="T9" fmla="*/ 2147483646 h 437"/>
                  <a:gd name="T10" fmla="*/ 2147483646 w 436"/>
                  <a:gd name="T11" fmla="*/ 2147483646 h 437"/>
                  <a:gd name="T12" fmla="*/ 2147483646 w 436"/>
                  <a:gd name="T13" fmla="*/ 2147483646 h 437"/>
                  <a:gd name="T14" fmla="*/ 2147483646 w 436"/>
                  <a:gd name="T15" fmla="*/ 2147483646 h 437"/>
                  <a:gd name="T16" fmla="*/ 2147483646 w 436"/>
                  <a:gd name="T17" fmla="*/ 2147483646 h 437"/>
                  <a:gd name="T18" fmla="*/ 2147483646 w 436"/>
                  <a:gd name="T19" fmla="*/ 2147483646 h 437"/>
                  <a:gd name="T20" fmla="*/ 2147483646 w 436"/>
                  <a:gd name="T21" fmla="*/ 2147483646 h 437"/>
                  <a:gd name="T22" fmla="*/ 2147483646 w 436"/>
                  <a:gd name="T23" fmla="*/ 2147483646 h 437"/>
                  <a:gd name="T24" fmla="*/ 2147483646 w 436"/>
                  <a:gd name="T25" fmla="*/ 2147483646 h 437"/>
                  <a:gd name="T26" fmla="*/ 2147483646 w 436"/>
                  <a:gd name="T27" fmla="*/ 2147483646 h 437"/>
                  <a:gd name="T28" fmla="*/ 2147483646 w 436"/>
                  <a:gd name="T29" fmla="*/ 2147483646 h 437"/>
                  <a:gd name="T30" fmla="*/ 2147483646 w 436"/>
                  <a:gd name="T31" fmla="*/ 2147483646 h 437"/>
                  <a:gd name="T32" fmla="*/ 2147483646 w 436"/>
                  <a:gd name="T33" fmla="*/ 2147483646 h 437"/>
                  <a:gd name="T34" fmla="*/ 2147483646 w 436"/>
                  <a:gd name="T35" fmla="*/ 2147483646 h 437"/>
                  <a:gd name="T36" fmla="*/ 2147483646 w 436"/>
                  <a:gd name="T37" fmla="*/ 2147483646 h 437"/>
                  <a:gd name="T38" fmla="*/ 2147483646 w 436"/>
                  <a:gd name="T39" fmla="*/ 2147483646 h 437"/>
                  <a:gd name="T40" fmla="*/ 2147483646 w 436"/>
                  <a:gd name="T41" fmla="*/ 2147483646 h 437"/>
                  <a:gd name="T42" fmla="*/ 2147483646 w 436"/>
                  <a:gd name="T43" fmla="*/ 2147483646 h 437"/>
                  <a:gd name="T44" fmla="*/ 2147483646 w 436"/>
                  <a:gd name="T45" fmla="*/ 2147483646 h 437"/>
                  <a:gd name="T46" fmla="*/ 2147483646 w 436"/>
                  <a:gd name="T47" fmla="*/ 2147483646 h 437"/>
                  <a:gd name="T48" fmla="*/ 2147483646 w 436"/>
                  <a:gd name="T49" fmla="*/ 2147483646 h 437"/>
                  <a:gd name="T50" fmla="*/ 2147483646 w 436"/>
                  <a:gd name="T51" fmla="*/ 2147483646 h 437"/>
                  <a:gd name="T52" fmla="*/ 2147483646 w 436"/>
                  <a:gd name="T53" fmla="*/ 2147483646 h 437"/>
                  <a:gd name="T54" fmla="*/ 2147483646 w 436"/>
                  <a:gd name="T55" fmla="*/ 2147483646 h 437"/>
                  <a:gd name="T56" fmla="*/ 2147483646 w 436"/>
                  <a:gd name="T57" fmla="*/ 2147483646 h 437"/>
                  <a:gd name="T58" fmla="*/ 2147483646 w 436"/>
                  <a:gd name="T59" fmla="*/ 2147483646 h 437"/>
                  <a:gd name="T60" fmla="*/ 2147483646 w 436"/>
                  <a:gd name="T61" fmla="*/ 2147483646 h 437"/>
                  <a:gd name="T62" fmla="*/ 2147483646 w 436"/>
                  <a:gd name="T63" fmla="*/ 2147483646 h 437"/>
                  <a:gd name="T64" fmla="*/ 2147483646 w 436"/>
                  <a:gd name="T65" fmla="*/ 2147483646 h 437"/>
                  <a:gd name="T66" fmla="*/ 2147483646 w 436"/>
                  <a:gd name="T67" fmla="*/ 2147483646 h 437"/>
                  <a:gd name="T68" fmla="*/ 2147483646 w 436"/>
                  <a:gd name="T69" fmla="*/ 2147483646 h 437"/>
                  <a:gd name="T70" fmla="*/ 2147483646 w 436"/>
                  <a:gd name="T71" fmla="*/ 2147483646 h 437"/>
                  <a:gd name="T72" fmla="*/ 2147483646 w 436"/>
                  <a:gd name="T73" fmla="*/ 2147483646 h 437"/>
                  <a:gd name="T74" fmla="*/ 2147483646 w 436"/>
                  <a:gd name="T75" fmla="*/ 2147483646 h 437"/>
                  <a:gd name="T76" fmla="*/ 2147483646 w 436"/>
                  <a:gd name="T77" fmla="*/ 2147483646 h 437"/>
                  <a:gd name="T78" fmla="*/ 2147483646 w 436"/>
                  <a:gd name="T79" fmla="*/ 2147483646 h 437"/>
                  <a:gd name="T80" fmla="*/ 2147483646 w 436"/>
                  <a:gd name="T81" fmla="*/ 2147483646 h 437"/>
                  <a:gd name="T82" fmla="*/ 2147483646 w 436"/>
                  <a:gd name="T83" fmla="*/ 2147483646 h 437"/>
                  <a:gd name="T84" fmla="*/ 2147483646 w 436"/>
                  <a:gd name="T85" fmla="*/ 2147483646 h 437"/>
                  <a:gd name="T86" fmla="*/ 2147483646 w 436"/>
                  <a:gd name="T87" fmla="*/ 2147483646 h 437"/>
                  <a:gd name="T88" fmla="*/ 2147483646 w 436"/>
                  <a:gd name="T89" fmla="*/ 2147483646 h 437"/>
                  <a:gd name="T90" fmla="*/ 2147483646 w 436"/>
                  <a:gd name="T91" fmla="*/ 2147483646 h 437"/>
                  <a:gd name="T92" fmla="*/ 2147483646 w 436"/>
                  <a:gd name="T93" fmla="*/ 2147483646 h 437"/>
                  <a:gd name="T94" fmla="*/ 2147483646 w 436"/>
                  <a:gd name="T95" fmla="*/ 2147483646 h 437"/>
                  <a:gd name="T96" fmla="*/ 2147483646 w 436"/>
                  <a:gd name="T97" fmla="*/ 2147483646 h 437"/>
                  <a:gd name="T98" fmla="*/ 2147483646 w 436"/>
                  <a:gd name="T99" fmla="*/ 2147483646 h 437"/>
                  <a:gd name="T100" fmla="*/ 2147483646 w 436"/>
                  <a:gd name="T101" fmla="*/ 2147483646 h 437"/>
                  <a:gd name="T102" fmla="*/ 2147483646 w 436"/>
                  <a:gd name="T103" fmla="*/ 2147483646 h 437"/>
                  <a:gd name="T104" fmla="*/ 2147483646 w 436"/>
                  <a:gd name="T105" fmla="*/ 2147483646 h 437"/>
                  <a:gd name="T106" fmla="*/ 2147483646 w 436"/>
                  <a:gd name="T107" fmla="*/ 2147483646 h 437"/>
                  <a:gd name="T108" fmla="*/ 2147483646 w 436"/>
                  <a:gd name="T109" fmla="*/ 2147483646 h 437"/>
                  <a:gd name="T110" fmla="*/ 2147483646 w 436"/>
                  <a:gd name="T111" fmla="*/ 2147483646 h 437"/>
                  <a:gd name="T112" fmla="*/ 2147483646 w 436"/>
                  <a:gd name="T113" fmla="*/ 2147483646 h 437"/>
                  <a:gd name="T114" fmla="*/ 2147483646 w 436"/>
                  <a:gd name="T115" fmla="*/ 2147483646 h 437"/>
                  <a:gd name="T116" fmla="*/ 2147483646 w 436"/>
                  <a:gd name="T117" fmla="*/ 2147483646 h 437"/>
                  <a:gd name="T118" fmla="*/ 2147483646 w 436"/>
                  <a:gd name="T119" fmla="*/ 2147483646 h 437"/>
                  <a:gd name="T120" fmla="*/ 2147483646 w 436"/>
                  <a:gd name="T121" fmla="*/ 2147483646 h 43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436" h="437">
                    <a:moveTo>
                      <a:pt x="418" y="133"/>
                    </a:moveTo>
                    <a:cubicBezTo>
                      <a:pt x="413" y="123"/>
                      <a:pt x="413" y="123"/>
                      <a:pt x="413" y="123"/>
                    </a:cubicBezTo>
                    <a:cubicBezTo>
                      <a:pt x="404" y="103"/>
                      <a:pt x="391" y="85"/>
                      <a:pt x="376" y="69"/>
                    </a:cubicBezTo>
                    <a:cubicBezTo>
                      <a:pt x="366" y="60"/>
                      <a:pt x="366" y="60"/>
                      <a:pt x="366" y="60"/>
                    </a:cubicBezTo>
                    <a:cubicBezTo>
                      <a:pt x="328" y="24"/>
                      <a:pt x="278" y="2"/>
                      <a:pt x="222" y="1"/>
                    </a:cubicBezTo>
                    <a:cubicBezTo>
                      <a:pt x="166" y="0"/>
                      <a:pt x="114" y="20"/>
                      <a:pt x="75" y="54"/>
                    </a:cubicBezTo>
                    <a:cubicBezTo>
                      <a:pt x="65" y="63"/>
                      <a:pt x="65" y="63"/>
                      <a:pt x="65" y="63"/>
                    </a:cubicBezTo>
                    <a:cubicBezTo>
                      <a:pt x="49" y="79"/>
                      <a:pt x="36" y="96"/>
                      <a:pt x="25" y="116"/>
                    </a:cubicBezTo>
                    <a:cubicBezTo>
                      <a:pt x="21" y="125"/>
                      <a:pt x="21" y="125"/>
                      <a:pt x="21" y="125"/>
                    </a:cubicBezTo>
                    <a:cubicBezTo>
                      <a:pt x="8" y="152"/>
                      <a:pt x="0" y="182"/>
                      <a:pt x="0" y="214"/>
                    </a:cubicBezTo>
                    <a:cubicBezTo>
                      <a:pt x="0" y="219"/>
                      <a:pt x="0" y="224"/>
                      <a:pt x="0" y="229"/>
                    </a:cubicBezTo>
                    <a:cubicBezTo>
                      <a:pt x="8" y="222"/>
                      <a:pt x="8" y="222"/>
                      <a:pt x="8" y="222"/>
                    </a:cubicBezTo>
                    <a:cubicBezTo>
                      <a:pt x="11" y="219"/>
                      <a:pt x="15" y="216"/>
                      <a:pt x="18" y="214"/>
                    </a:cubicBezTo>
                    <a:cubicBezTo>
                      <a:pt x="19" y="205"/>
                      <a:pt x="20" y="196"/>
                      <a:pt x="21" y="188"/>
                    </a:cubicBezTo>
                    <a:cubicBezTo>
                      <a:pt x="65" y="189"/>
                      <a:pt x="65" y="189"/>
                      <a:pt x="65" y="189"/>
                    </a:cubicBezTo>
                    <a:cubicBezTo>
                      <a:pt x="68" y="186"/>
                      <a:pt x="68" y="186"/>
                      <a:pt x="68" y="186"/>
                    </a:cubicBezTo>
                    <a:cubicBezTo>
                      <a:pt x="73" y="180"/>
                      <a:pt x="80" y="176"/>
                      <a:pt x="88" y="174"/>
                    </a:cubicBezTo>
                    <a:cubicBezTo>
                      <a:pt x="91" y="157"/>
                      <a:pt x="95" y="141"/>
                      <a:pt x="100" y="127"/>
                    </a:cubicBezTo>
                    <a:cubicBezTo>
                      <a:pt x="146" y="128"/>
                      <a:pt x="146" y="128"/>
                      <a:pt x="146" y="128"/>
                    </a:cubicBezTo>
                    <a:cubicBezTo>
                      <a:pt x="143" y="145"/>
                      <a:pt x="141" y="163"/>
                      <a:pt x="140" y="181"/>
                    </a:cubicBezTo>
                    <a:cubicBezTo>
                      <a:pt x="129" y="181"/>
                      <a:pt x="129" y="181"/>
                      <a:pt x="129" y="181"/>
                    </a:cubicBezTo>
                    <a:cubicBezTo>
                      <a:pt x="132" y="182"/>
                      <a:pt x="134" y="184"/>
                      <a:pt x="136" y="186"/>
                    </a:cubicBezTo>
                    <a:cubicBezTo>
                      <a:pt x="142" y="192"/>
                      <a:pt x="146" y="199"/>
                      <a:pt x="148" y="208"/>
                    </a:cubicBezTo>
                    <a:cubicBezTo>
                      <a:pt x="151" y="208"/>
                      <a:pt x="154" y="210"/>
                      <a:pt x="157" y="211"/>
                    </a:cubicBezTo>
                    <a:cubicBezTo>
                      <a:pt x="157" y="204"/>
                      <a:pt x="157" y="197"/>
                      <a:pt x="158" y="191"/>
                    </a:cubicBezTo>
                    <a:cubicBezTo>
                      <a:pt x="209" y="192"/>
                      <a:pt x="209" y="192"/>
                      <a:pt x="209" y="192"/>
                    </a:cubicBezTo>
                    <a:cubicBezTo>
                      <a:pt x="207" y="245"/>
                      <a:pt x="207" y="245"/>
                      <a:pt x="207" y="245"/>
                    </a:cubicBezTo>
                    <a:cubicBezTo>
                      <a:pt x="190" y="245"/>
                      <a:pt x="190" y="245"/>
                      <a:pt x="190" y="245"/>
                    </a:cubicBezTo>
                    <a:cubicBezTo>
                      <a:pt x="195" y="247"/>
                      <a:pt x="200" y="250"/>
                      <a:pt x="204" y="254"/>
                    </a:cubicBezTo>
                    <a:cubicBezTo>
                      <a:pt x="204" y="254"/>
                      <a:pt x="204" y="254"/>
                      <a:pt x="204" y="254"/>
                    </a:cubicBezTo>
                    <a:cubicBezTo>
                      <a:pt x="207" y="254"/>
                      <a:pt x="207" y="254"/>
                      <a:pt x="207" y="254"/>
                    </a:cubicBezTo>
                    <a:cubicBezTo>
                      <a:pt x="207" y="258"/>
                      <a:pt x="207" y="258"/>
                      <a:pt x="207" y="258"/>
                    </a:cubicBezTo>
                    <a:cubicBezTo>
                      <a:pt x="211" y="263"/>
                      <a:pt x="214" y="269"/>
                      <a:pt x="216" y="276"/>
                    </a:cubicBezTo>
                    <a:cubicBezTo>
                      <a:pt x="219" y="277"/>
                      <a:pt x="223" y="278"/>
                      <a:pt x="226" y="279"/>
                    </a:cubicBezTo>
                    <a:cubicBezTo>
                      <a:pt x="226" y="255"/>
                      <a:pt x="226" y="255"/>
                      <a:pt x="226" y="255"/>
                    </a:cubicBezTo>
                    <a:cubicBezTo>
                      <a:pt x="276" y="256"/>
                      <a:pt x="276" y="256"/>
                      <a:pt x="276" y="256"/>
                    </a:cubicBezTo>
                    <a:cubicBezTo>
                      <a:pt x="275" y="275"/>
                      <a:pt x="273" y="293"/>
                      <a:pt x="269" y="309"/>
                    </a:cubicBezTo>
                    <a:cubicBezTo>
                      <a:pt x="250" y="309"/>
                      <a:pt x="250" y="309"/>
                      <a:pt x="250" y="309"/>
                    </a:cubicBezTo>
                    <a:cubicBezTo>
                      <a:pt x="251" y="312"/>
                      <a:pt x="251" y="315"/>
                      <a:pt x="252" y="318"/>
                    </a:cubicBezTo>
                    <a:cubicBezTo>
                      <a:pt x="268" y="318"/>
                      <a:pt x="268" y="318"/>
                      <a:pt x="268" y="318"/>
                    </a:cubicBezTo>
                    <a:cubicBezTo>
                      <a:pt x="263" y="339"/>
                      <a:pt x="258" y="357"/>
                      <a:pt x="252" y="372"/>
                    </a:cubicBezTo>
                    <a:cubicBezTo>
                      <a:pt x="224" y="371"/>
                      <a:pt x="224" y="371"/>
                      <a:pt x="224" y="371"/>
                    </a:cubicBezTo>
                    <a:cubicBezTo>
                      <a:pt x="224" y="370"/>
                      <a:pt x="224" y="370"/>
                      <a:pt x="224" y="370"/>
                    </a:cubicBezTo>
                    <a:cubicBezTo>
                      <a:pt x="216" y="378"/>
                      <a:pt x="216" y="378"/>
                      <a:pt x="216" y="378"/>
                    </a:cubicBezTo>
                    <a:cubicBezTo>
                      <a:pt x="217" y="391"/>
                      <a:pt x="212" y="405"/>
                      <a:pt x="202" y="416"/>
                    </a:cubicBezTo>
                    <a:cubicBezTo>
                      <a:pt x="187" y="431"/>
                      <a:pt x="187" y="431"/>
                      <a:pt x="187" y="431"/>
                    </a:cubicBezTo>
                    <a:cubicBezTo>
                      <a:pt x="186" y="432"/>
                      <a:pt x="185" y="433"/>
                      <a:pt x="184" y="434"/>
                    </a:cubicBezTo>
                    <a:cubicBezTo>
                      <a:pt x="193" y="435"/>
                      <a:pt x="203" y="436"/>
                      <a:pt x="213" y="436"/>
                    </a:cubicBezTo>
                    <a:cubicBezTo>
                      <a:pt x="269" y="437"/>
                      <a:pt x="321" y="417"/>
                      <a:pt x="360" y="383"/>
                    </a:cubicBezTo>
                    <a:cubicBezTo>
                      <a:pt x="370" y="374"/>
                      <a:pt x="370" y="374"/>
                      <a:pt x="370" y="374"/>
                    </a:cubicBezTo>
                    <a:cubicBezTo>
                      <a:pt x="386" y="358"/>
                      <a:pt x="399" y="341"/>
                      <a:pt x="409" y="321"/>
                    </a:cubicBezTo>
                    <a:cubicBezTo>
                      <a:pt x="414" y="312"/>
                      <a:pt x="414" y="312"/>
                      <a:pt x="414" y="312"/>
                    </a:cubicBezTo>
                    <a:cubicBezTo>
                      <a:pt x="427" y="285"/>
                      <a:pt x="435" y="255"/>
                      <a:pt x="435" y="223"/>
                    </a:cubicBezTo>
                    <a:cubicBezTo>
                      <a:pt x="436" y="191"/>
                      <a:pt x="429" y="160"/>
                      <a:pt x="418" y="133"/>
                    </a:cubicBezTo>
                    <a:close/>
                    <a:moveTo>
                      <a:pt x="180" y="30"/>
                    </a:moveTo>
                    <a:cubicBezTo>
                      <a:pt x="175" y="37"/>
                      <a:pt x="171" y="46"/>
                      <a:pt x="167" y="56"/>
                    </a:cubicBezTo>
                    <a:cubicBezTo>
                      <a:pt x="144" y="55"/>
                      <a:pt x="144" y="55"/>
                      <a:pt x="144" y="55"/>
                    </a:cubicBezTo>
                    <a:cubicBezTo>
                      <a:pt x="155" y="44"/>
                      <a:pt x="167" y="36"/>
                      <a:pt x="180" y="30"/>
                    </a:cubicBezTo>
                    <a:close/>
                    <a:moveTo>
                      <a:pt x="137" y="37"/>
                    </a:moveTo>
                    <a:cubicBezTo>
                      <a:pt x="131" y="42"/>
                      <a:pt x="125" y="48"/>
                      <a:pt x="120" y="55"/>
                    </a:cubicBezTo>
                    <a:cubicBezTo>
                      <a:pt x="105" y="55"/>
                      <a:pt x="105" y="55"/>
                      <a:pt x="105" y="55"/>
                    </a:cubicBezTo>
                    <a:cubicBezTo>
                      <a:pt x="115" y="48"/>
                      <a:pt x="126" y="42"/>
                      <a:pt x="137" y="37"/>
                    </a:cubicBezTo>
                    <a:close/>
                    <a:moveTo>
                      <a:pt x="68" y="180"/>
                    </a:moveTo>
                    <a:cubicBezTo>
                      <a:pt x="22" y="179"/>
                      <a:pt x="22" y="179"/>
                      <a:pt x="22" y="179"/>
                    </a:cubicBezTo>
                    <a:cubicBezTo>
                      <a:pt x="26" y="160"/>
                      <a:pt x="33" y="142"/>
                      <a:pt x="42" y="126"/>
                    </a:cubicBezTo>
                    <a:cubicBezTo>
                      <a:pt x="81" y="126"/>
                      <a:pt x="81" y="126"/>
                      <a:pt x="81" y="126"/>
                    </a:cubicBezTo>
                    <a:cubicBezTo>
                      <a:pt x="75" y="143"/>
                      <a:pt x="71" y="161"/>
                      <a:pt x="68" y="180"/>
                    </a:cubicBezTo>
                    <a:close/>
                    <a:moveTo>
                      <a:pt x="84" y="117"/>
                    </a:moveTo>
                    <a:cubicBezTo>
                      <a:pt x="47" y="116"/>
                      <a:pt x="47" y="116"/>
                      <a:pt x="47" y="116"/>
                    </a:cubicBezTo>
                    <a:cubicBezTo>
                      <a:pt x="59" y="96"/>
                      <a:pt x="74" y="78"/>
                      <a:pt x="92" y="64"/>
                    </a:cubicBezTo>
                    <a:cubicBezTo>
                      <a:pt x="112" y="64"/>
                      <a:pt x="112" y="64"/>
                      <a:pt x="112" y="64"/>
                    </a:cubicBezTo>
                    <a:cubicBezTo>
                      <a:pt x="101" y="80"/>
                      <a:pt x="92" y="97"/>
                      <a:pt x="84" y="117"/>
                    </a:cubicBezTo>
                    <a:close/>
                    <a:moveTo>
                      <a:pt x="148" y="118"/>
                    </a:moveTo>
                    <a:cubicBezTo>
                      <a:pt x="104" y="117"/>
                      <a:pt x="104" y="117"/>
                      <a:pt x="104" y="117"/>
                    </a:cubicBezTo>
                    <a:cubicBezTo>
                      <a:pt x="112" y="97"/>
                      <a:pt x="123" y="79"/>
                      <a:pt x="136" y="65"/>
                    </a:cubicBezTo>
                    <a:cubicBezTo>
                      <a:pt x="163" y="65"/>
                      <a:pt x="163" y="65"/>
                      <a:pt x="163" y="65"/>
                    </a:cubicBezTo>
                    <a:cubicBezTo>
                      <a:pt x="157" y="81"/>
                      <a:pt x="152" y="99"/>
                      <a:pt x="148" y="118"/>
                    </a:cubicBezTo>
                    <a:close/>
                    <a:moveTo>
                      <a:pt x="209" y="182"/>
                    </a:moveTo>
                    <a:cubicBezTo>
                      <a:pt x="158" y="181"/>
                      <a:pt x="158" y="181"/>
                      <a:pt x="158" y="181"/>
                    </a:cubicBezTo>
                    <a:cubicBezTo>
                      <a:pt x="160" y="162"/>
                      <a:pt x="162" y="144"/>
                      <a:pt x="165" y="128"/>
                    </a:cubicBezTo>
                    <a:cubicBezTo>
                      <a:pt x="210" y="129"/>
                      <a:pt x="210" y="129"/>
                      <a:pt x="210" y="129"/>
                    </a:cubicBezTo>
                    <a:lnTo>
                      <a:pt x="209" y="182"/>
                    </a:lnTo>
                    <a:close/>
                    <a:moveTo>
                      <a:pt x="210" y="119"/>
                    </a:moveTo>
                    <a:cubicBezTo>
                      <a:pt x="167" y="119"/>
                      <a:pt x="167" y="119"/>
                      <a:pt x="167" y="119"/>
                    </a:cubicBezTo>
                    <a:cubicBezTo>
                      <a:pt x="171" y="98"/>
                      <a:pt x="177" y="80"/>
                      <a:pt x="183" y="66"/>
                    </a:cubicBezTo>
                    <a:cubicBezTo>
                      <a:pt x="211" y="66"/>
                      <a:pt x="211" y="66"/>
                      <a:pt x="211" y="66"/>
                    </a:cubicBezTo>
                    <a:lnTo>
                      <a:pt x="210" y="119"/>
                    </a:lnTo>
                    <a:close/>
                    <a:moveTo>
                      <a:pt x="211" y="57"/>
                    </a:moveTo>
                    <a:cubicBezTo>
                      <a:pt x="187" y="56"/>
                      <a:pt x="187" y="56"/>
                      <a:pt x="187" y="56"/>
                    </a:cubicBezTo>
                    <a:cubicBezTo>
                      <a:pt x="195" y="40"/>
                      <a:pt x="203" y="28"/>
                      <a:pt x="212" y="24"/>
                    </a:cubicBezTo>
                    <a:lnTo>
                      <a:pt x="211" y="57"/>
                    </a:lnTo>
                    <a:close/>
                    <a:moveTo>
                      <a:pt x="223" y="413"/>
                    </a:moveTo>
                    <a:cubicBezTo>
                      <a:pt x="224" y="380"/>
                      <a:pt x="224" y="380"/>
                      <a:pt x="224" y="380"/>
                    </a:cubicBezTo>
                    <a:cubicBezTo>
                      <a:pt x="248" y="381"/>
                      <a:pt x="248" y="381"/>
                      <a:pt x="248" y="381"/>
                    </a:cubicBezTo>
                    <a:cubicBezTo>
                      <a:pt x="240" y="397"/>
                      <a:pt x="232" y="409"/>
                      <a:pt x="223" y="413"/>
                    </a:cubicBezTo>
                    <a:close/>
                    <a:moveTo>
                      <a:pt x="414" y="186"/>
                    </a:moveTo>
                    <a:cubicBezTo>
                      <a:pt x="368" y="185"/>
                      <a:pt x="368" y="185"/>
                      <a:pt x="368" y="185"/>
                    </a:cubicBezTo>
                    <a:cubicBezTo>
                      <a:pt x="366" y="167"/>
                      <a:pt x="363" y="149"/>
                      <a:pt x="358" y="132"/>
                    </a:cubicBezTo>
                    <a:cubicBezTo>
                      <a:pt x="397" y="133"/>
                      <a:pt x="397" y="133"/>
                      <a:pt x="397" y="133"/>
                    </a:cubicBezTo>
                    <a:cubicBezTo>
                      <a:pt x="405" y="149"/>
                      <a:pt x="411" y="167"/>
                      <a:pt x="414" y="186"/>
                    </a:cubicBezTo>
                    <a:close/>
                    <a:moveTo>
                      <a:pt x="392" y="123"/>
                    </a:moveTo>
                    <a:cubicBezTo>
                      <a:pt x="355" y="122"/>
                      <a:pt x="355" y="122"/>
                      <a:pt x="355" y="122"/>
                    </a:cubicBezTo>
                    <a:cubicBezTo>
                      <a:pt x="348" y="102"/>
                      <a:pt x="339" y="84"/>
                      <a:pt x="328" y="68"/>
                    </a:cubicBezTo>
                    <a:cubicBezTo>
                      <a:pt x="348" y="69"/>
                      <a:pt x="348" y="69"/>
                      <a:pt x="348" y="69"/>
                    </a:cubicBezTo>
                    <a:cubicBezTo>
                      <a:pt x="366" y="84"/>
                      <a:pt x="381" y="102"/>
                      <a:pt x="392" y="123"/>
                    </a:cubicBezTo>
                    <a:close/>
                    <a:moveTo>
                      <a:pt x="290" y="121"/>
                    </a:moveTo>
                    <a:cubicBezTo>
                      <a:pt x="287" y="102"/>
                      <a:pt x="283" y="83"/>
                      <a:pt x="278" y="67"/>
                    </a:cubicBezTo>
                    <a:cubicBezTo>
                      <a:pt x="305" y="68"/>
                      <a:pt x="305" y="68"/>
                      <a:pt x="305" y="68"/>
                    </a:cubicBezTo>
                    <a:cubicBezTo>
                      <a:pt x="317" y="83"/>
                      <a:pt x="327" y="101"/>
                      <a:pt x="335" y="122"/>
                    </a:cubicBezTo>
                    <a:lnTo>
                      <a:pt x="290" y="121"/>
                    </a:lnTo>
                    <a:close/>
                    <a:moveTo>
                      <a:pt x="338" y="131"/>
                    </a:moveTo>
                    <a:cubicBezTo>
                      <a:pt x="343" y="148"/>
                      <a:pt x="347" y="166"/>
                      <a:pt x="349" y="185"/>
                    </a:cubicBezTo>
                    <a:cubicBezTo>
                      <a:pt x="297" y="184"/>
                      <a:pt x="297" y="184"/>
                      <a:pt x="297" y="184"/>
                    </a:cubicBezTo>
                    <a:cubicBezTo>
                      <a:pt x="296" y="166"/>
                      <a:pt x="294" y="148"/>
                      <a:pt x="292" y="130"/>
                    </a:cubicBezTo>
                    <a:lnTo>
                      <a:pt x="338" y="131"/>
                    </a:lnTo>
                    <a:close/>
                    <a:moveTo>
                      <a:pt x="295" y="256"/>
                    </a:moveTo>
                    <a:cubicBezTo>
                      <a:pt x="348" y="257"/>
                      <a:pt x="348" y="257"/>
                      <a:pt x="348" y="257"/>
                    </a:cubicBezTo>
                    <a:cubicBezTo>
                      <a:pt x="345" y="276"/>
                      <a:pt x="340" y="294"/>
                      <a:pt x="334" y="310"/>
                    </a:cubicBezTo>
                    <a:cubicBezTo>
                      <a:pt x="288" y="309"/>
                      <a:pt x="288" y="309"/>
                      <a:pt x="288" y="309"/>
                    </a:cubicBezTo>
                    <a:cubicBezTo>
                      <a:pt x="291" y="292"/>
                      <a:pt x="294" y="274"/>
                      <a:pt x="295" y="256"/>
                    </a:cubicBezTo>
                    <a:close/>
                    <a:moveTo>
                      <a:pt x="296" y="247"/>
                    </a:moveTo>
                    <a:cubicBezTo>
                      <a:pt x="296" y="238"/>
                      <a:pt x="297" y="229"/>
                      <a:pt x="297" y="220"/>
                    </a:cubicBezTo>
                    <a:cubicBezTo>
                      <a:pt x="297" y="211"/>
                      <a:pt x="297" y="202"/>
                      <a:pt x="297" y="193"/>
                    </a:cubicBezTo>
                    <a:cubicBezTo>
                      <a:pt x="350" y="194"/>
                      <a:pt x="350" y="194"/>
                      <a:pt x="350" y="194"/>
                    </a:cubicBezTo>
                    <a:cubicBezTo>
                      <a:pt x="351" y="203"/>
                      <a:pt x="351" y="212"/>
                      <a:pt x="351" y="221"/>
                    </a:cubicBezTo>
                    <a:cubicBezTo>
                      <a:pt x="350" y="230"/>
                      <a:pt x="350" y="239"/>
                      <a:pt x="349" y="248"/>
                    </a:cubicBezTo>
                    <a:lnTo>
                      <a:pt x="296" y="247"/>
                    </a:lnTo>
                    <a:close/>
                    <a:moveTo>
                      <a:pt x="336" y="59"/>
                    </a:moveTo>
                    <a:cubicBezTo>
                      <a:pt x="322" y="59"/>
                      <a:pt x="322" y="59"/>
                      <a:pt x="322" y="59"/>
                    </a:cubicBezTo>
                    <a:cubicBezTo>
                      <a:pt x="316" y="52"/>
                      <a:pt x="311" y="46"/>
                      <a:pt x="305" y="40"/>
                    </a:cubicBezTo>
                    <a:cubicBezTo>
                      <a:pt x="316" y="45"/>
                      <a:pt x="326" y="52"/>
                      <a:pt x="336" y="59"/>
                    </a:cubicBezTo>
                    <a:close/>
                    <a:moveTo>
                      <a:pt x="297" y="58"/>
                    </a:moveTo>
                    <a:cubicBezTo>
                      <a:pt x="275" y="58"/>
                      <a:pt x="275" y="58"/>
                      <a:pt x="275" y="58"/>
                    </a:cubicBezTo>
                    <a:cubicBezTo>
                      <a:pt x="271" y="48"/>
                      <a:pt x="267" y="39"/>
                      <a:pt x="262" y="31"/>
                    </a:cubicBezTo>
                    <a:cubicBezTo>
                      <a:pt x="275" y="38"/>
                      <a:pt x="286" y="47"/>
                      <a:pt x="297" y="58"/>
                    </a:cubicBezTo>
                    <a:close/>
                    <a:moveTo>
                      <a:pt x="231" y="24"/>
                    </a:moveTo>
                    <a:cubicBezTo>
                      <a:pt x="239" y="29"/>
                      <a:pt x="247" y="41"/>
                      <a:pt x="254" y="57"/>
                    </a:cubicBezTo>
                    <a:cubicBezTo>
                      <a:pt x="230" y="57"/>
                      <a:pt x="230" y="57"/>
                      <a:pt x="230" y="57"/>
                    </a:cubicBezTo>
                    <a:lnTo>
                      <a:pt x="231" y="24"/>
                    </a:lnTo>
                    <a:close/>
                    <a:moveTo>
                      <a:pt x="230" y="66"/>
                    </a:moveTo>
                    <a:cubicBezTo>
                      <a:pt x="258" y="67"/>
                      <a:pt x="258" y="67"/>
                      <a:pt x="258" y="67"/>
                    </a:cubicBezTo>
                    <a:cubicBezTo>
                      <a:pt x="263" y="82"/>
                      <a:pt x="268" y="100"/>
                      <a:pt x="271" y="121"/>
                    </a:cubicBezTo>
                    <a:cubicBezTo>
                      <a:pt x="229" y="120"/>
                      <a:pt x="229" y="120"/>
                      <a:pt x="229" y="120"/>
                    </a:cubicBezTo>
                    <a:lnTo>
                      <a:pt x="230" y="66"/>
                    </a:lnTo>
                    <a:close/>
                    <a:moveTo>
                      <a:pt x="229" y="129"/>
                    </a:move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75" y="147"/>
                      <a:pt x="277" y="164"/>
                      <a:pt x="278" y="184"/>
                    </a:cubicBezTo>
                    <a:cubicBezTo>
                      <a:pt x="228" y="183"/>
                      <a:pt x="228" y="183"/>
                      <a:pt x="228" y="183"/>
                    </a:cubicBezTo>
                    <a:lnTo>
                      <a:pt x="229" y="129"/>
                    </a:lnTo>
                    <a:close/>
                    <a:moveTo>
                      <a:pt x="226" y="245"/>
                    </a:moveTo>
                    <a:cubicBezTo>
                      <a:pt x="227" y="192"/>
                      <a:pt x="227" y="192"/>
                      <a:pt x="227" y="192"/>
                    </a:cubicBezTo>
                    <a:cubicBezTo>
                      <a:pt x="278" y="193"/>
                      <a:pt x="278" y="193"/>
                      <a:pt x="278" y="193"/>
                    </a:cubicBezTo>
                    <a:cubicBezTo>
                      <a:pt x="278" y="202"/>
                      <a:pt x="278" y="211"/>
                      <a:pt x="278" y="220"/>
                    </a:cubicBezTo>
                    <a:cubicBezTo>
                      <a:pt x="278" y="229"/>
                      <a:pt x="278" y="238"/>
                      <a:pt x="277" y="246"/>
                    </a:cubicBezTo>
                    <a:lnTo>
                      <a:pt x="226" y="245"/>
                    </a:lnTo>
                    <a:close/>
                    <a:moveTo>
                      <a:pt x="287" y="319"/>
                    </a:moveTo>
                    <a:cubicBezTo>
                      <a:pt x="331" y="320"/>
                      <a:pt x="331" y="320"/>
                      <a:pt x="331" y="320"/>
                    </a:cubicBezTo>
                    <a:cubicBezTo>
                      <a:pt x="322" y="340"/>
                      <a:pt x="312" y="358"/>
                      <a:pt x="299" y="372"/>
                    </a:cubicBezTo>
                    <a:cubicBezTo>
                      <a:pt x="272" y="372"/>
                      <a:pt x="272" y="372"/>
                      <a:pt x="272" y="372"/>
                    </a:cubicBezTo>
                    <a:cubicBezTo>
                      <a:pt x="278" y="356"/>
                      <a:pt x="283" y="338"/>
                      <a:pt x="287" y="319"/>
                    </a:cubicBezTo>
                    <a:close/>
                    <a:moveTo>
                      <a:pt x="255" y="407"/>
                    </a:moveTo>
                    <a:cubicBezTo>
                      <a:pt x="260" y="400"/>
                      <a:pt x="264" y="391"/>
                      <a:pt x="268" y="381"/>
                    </a:cubicBezTo>
                    <a:cubicBezTo>
                      <a:pt x="291" y="382"/>
                      <a:pt x="291" y="382"/>
                      <a:pt x="291" y="382"/>
                    </a:cubicBezTo>
                    <a:cubicBezTo>
                      <a:pt x="280" y="393"/>
                      <a:pt x="268" y="401"/>
                      <a:pt x="255" y="407"/>
                    </a:cubicBezTo>
                    <a:close/>
                    <a:moveTo>
                      <a:pt x="298" y="400"/>
                    </a:moveTo>
                    <a:cubicBezTo>
                      <a:pt x="304" y="395"/>
                      <a:pt x="310" y="389"/>
                      <a:pt x="315" y="382"/>
                    </a:cubicBezTo>
                    <a:cubicBezTo>
                      <a:pt x="330" y="382"/>
                      <a:pt x="330" y="382"/>
                      <a:pt x="330" y="382"/>
                    </a:cubicBezTo>
                    <a:cubicBezTo>
                      <a:pt x="320" y="389"/>
                      <a:pt x="309" y="395"/>
                      <a:pt x="298" y="400"/>
                    </a:cubicBezTo>
                    <a:close/>
                    <a:moveTo>
                      <a:pt x="342" y="373"/>
                    </a:moveTo>
                    <a:cubicBezTo>
                      <a:pt x="322" y="373"/>
                      <a:pt x="322" y="373"/>
                      <a:pt x="322" y="373"/>
                    </a:cubicBezTo>
                    <a:cubicBezTo>
                      <a:pt x="334" y="357"/>
                      <a:pt x="343" y="340"/>
                      <a:pt x="351" y="320"/>
                    </a:cubicBezTo>
                    <a:cubicBezTo>
                      <a:pt x="388" y="321"/>
                      <a:pt x="388" y="321"/>
                      <a:pt x="388" y="321"/>
                    </a:cubicBezTo>
                    <a:cubicBezTo>
                      <a:pt x="376" y="341"/>
                      <a:pt x="360" y="359"/>
                      <a:pt x="342" y="373"/>
                    </a:cubicBezTo>
                    <a:close/>
                    <a:moveTo>
                      <a:pt x="393" y="311"/>
                    </a:moveTo>
                    <a:cubicBezTo>
                      <a:pt x="354" y="311"/>
                      <a:pt x="354" y="311"/>
                      <a:pt x="354" y="311"/>
                    </a:cubicBezTo>
                    <a:cubicBezTo>
                      <a:pt x="360" y="294"/>
                      <a:pt x="364" y="276"/>
                      <a:pt x="367" y="258"/>
                    </a:cubicBezTo>
                    <a:cubicBezTo>
                      <a:pt x="412" y="258"/>
                      <a:pt x="412" y="258"/>
                      <a:pt x="412" y="258"/>
                    </a:cubicBezTo>
                    <a:cubicBezTo>
                      <a:pt x="409" y="277"/>
                      <a:pt x="402" y="295"/>
                      <a:pt x="393" y="311"/>
                    </a:cubicBezTo>
                    <a:close/>
                    <a:moveTo>
                      <a:pt x="416" y="222"/>
                    </a:moveTo>
                    <a:cubicBezTo>
                      <a:pt x="416" y="231"/>
                      <a:pt x="415" y="240"/>
                      <a:pt x="414" y="249"/>
                    </a:cubicBezTo>
                    <a:cubicBezTo>
                      <a:pt x="368" y="248"/>
                      <a:pt x="368" y="248"/>
                      <a:pt x="368" y="248"/>
                    </a:cubicBezTo>
                    <a:cubicBezTo>
                      <a:pt x="369" y="239"/>
                      <a:pt x="369" y="231"/>
                      <a:pt x="369" y="221"/>
                    </a:cubicBezTo>
                    <a:cubicBezTo>
                      <a:pt x="370" y="212"/>
                      <a:pt x="369" y="204"/>
                      <a:pt x="369" y="195"/>
                    </a:cubicBezTo>
                    <a:cubicBezTo>
                      <a:pt x="415" y="196"/>
                      <a:pt x="415" y="196"/>
                      <a:pt x="415" y="196"/>
                    </a:cubicBezTo>
                    <a:cubicBezTo>
                      <a:pt x="416" y="204"/>
                      <a:pt x="417" y="213"/>
                      <a:pt x="416" y="2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6" name="Freeform 29"/>
              <p:cNvSpPr/>
              <p:nvPr/>
            </p:nvSpPr>
            <p:spPr bwMode="auto">
              <a:xfrm>
                <a:off x="9058275" y="1262063"/>
                <a:ext cx="636587" cy="638175"/>
              </a:xfrm>
              <a:custGeom>
                <a:avLst/>
                <a:gdLst>
                  <a:gd name="T0" fmla="*/ 2147483646 w 170"/>
                  <a:gd name="T1" fmla="*/ 2147483646 h 170"/>
                  <a:gd name="T2" fmla="*/ 2147483646 w 170"/>
                  <a:gd name="T3" fmla="*/ 2147483646 h 170"/>
                  <a:gd name="T4" fmla="*/ 2147483646 w 170"/>
                  <a:gd name="T5" fmla="*/ 2147483646 h 170"/>
                  <a:gd name="T6" fmla="*/ 2147483646 w 170"/>
                  <a:gd name="T7" fmla="*/ 2147483646 h 170"/>
                  <a:gd name="T8" fmla="*/ 2147483646 w 170"/>
                  <a:gd name="T9" fmla="*/ 2147483646 h 170"/>
                  <a:gd name="T10" fmla="*/ 2147483646 w 170"/>
                  <a:gd name="T11" fmla="*/ 2147483646 h 170"/>
                  <a:gd name="T12" fmla="*/ 2147483646 w 170"/>
                  <a:gd name="T13" fmla="*/ 2147483646 h 170"/>
                  <a:gd name="T14" fmla="*/ 2147483646 w 170"/>
                  <a:gd name="T15" fmla="*/ 2147483646 h 170"/>
                  <a:gd name="T16" fmla="*/ 2147483646 w 170"/>
                  <a:gd name="T17" fmla="*/ 2147483646 h 17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0" h="170">
                    <a:moveTo>
                      <a:pt x="149" y="165"/>
                    </a:moveTo>
                    <a:cubicBezTo>
                      <a:pt x="144" y="170"/>
                      <a:pt x="135" y="170"/>
                      <a:pt x="129" y="165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0" y="36"/>
                      <a:pt x="0" y="27"/>
                      <a:pt x="6" y="21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6" y="0"/>
                      <a:pt x="35" y="0"/>
                      <a:pt x="41" y="6"/>
                    </a:cubicBezTo>
                    <a:cubicBezTo>
                      <a:pt x="164" y="130"/>
                      <a:pt x="164" y="130"/>
                      <a:pt x="164" y="130"/>
                    </a:cubicBezTo>
                    <a:cubicBezTo>
                      <a:pt x="170" y="135"/>
                      <a:pt x="170" y="144"/>
                      <a:pt x="164" y="150"/>
                    </a:cubicBezTo>
                    <a:lnTo>
                      <a:pt x="149" y="1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7" name="Freeform 30"/>
              <p:cNvSpPr/>
              <p:nvPr/>
            </p:nvSpPr>
            <p:spPr bwMode="auto">
              <a:xfrm>
                <a:off x="8896350" y="1358900"/>
                <a:ext cx="701675" cy="701675"/>
              </a:xfrm>
              <a:custGeom>
                <a:avLst/>
                <a:gdLst>
                  <a:gd name="T0" fmla="*/ 2147483646 w 187"/>
                  <a:gd name="T1" fmla="*/ 2147483646 h 187"/>
                  <a:gd name="T2" fmla="*/ 2147483646 w 187"/>
                  <a:gd name="T3" fmla="*/ 2147483646 h 187"/>
                  <a:gd name="T4" fmla="*/ 2147483646 w 187"/>
                  <a:gd name="T5" fmla="*/ 2147483646 h 187"/>
                  <a:gd name="T6" fmla="*/ 2147483646 w 187"/>
                  <a:gd name="T7" fmla="*/ 2147483646 h 187"/>
                  <a:gd name="T8" fmla="*/ 2147483646 w 187"/>
                  <a:gd name="T9" fmla="*/ 2147483646 h 187"/>
                  <a:gd name="T10" fmla="*/ 2147483646 w 187"/>
                  <a:gd name="T11" fmla="*/ 0 h 187"/>
                  <a:gd name="T12" fmla="*/ 2147483646 w 187"/>
                  <a:gd name="T13" fmla="*/ 2147483646 h 1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7" h="187">
                    <a:moveTo>
                      <a:pt x="187" y="121"/>
                    </a:moveTo>
                    <a:cubicBezTo>
                      <a:pt x="148" y="161"/>
                      <a:pt x="148" y="161"/>
                      <a:pt x="148" y="161"/>
                    </a:cubicBezTo>
                    <a:cubicBezTo>
                      <a:pt x="121" y="187"/>
                      <a:pt x="78" y="187"/>
                      <a:pt x="51" y="161"/>
                    </a:cubicBezTo>
                    <a:cubicBezTo>
                      <a:pt x="27" y="136"/>
                      <a:pt x="27" y="136"/>
                      <a:pt x="27" y="136"/>
                    </a:cubicBezTo>
                    <a:cubicBezTo>
                      <a:pt x="0" y="110"/>
                      <a:pt x="0" y="66"/>
                      <a:pt x="27" y="39"/>
                    </a:cubicBezTo>
                    <a:cubicBezTo>
                      <a:pt x="66" y="0"/>
                      <a:pt x="66" y="0"/>
                      <a:pt x="66" y="0"/>
                    </a:cubicBezTo>
                    <a:lnTo>
                      <a:pt x="187" y="1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8" name="Freeform 31"/>
              <p:cNvSpPr/>
              <p:nvPr/>
            </p:nvSpPr>
            <p:spPr bwMode="auto">
              <a:xfrm>
                <a:off x="9177338" y="1130300"/>
                <a:ext cx="266700" cy="269875"/>
              </a:xfrm>
              <a:custGeom>
                <a:avLst/>
                <a:gdLst>
                  <a:gd name="T0" fmla="*/ 2147483646 w 71"/>
                  <a:gd name="T1" fmla="*/ 2147483646 h 72"/>
                  <a:gd name="T2" fmla="*/ 2147483646 w 71"/>
                  <a:gd name="T3" fmla="*/ 2147483646 h 72"/>
                  <a:gd name="T4" fmla="*/ 2147483646 w 71"/>
                  <a:gd name="T5" fmla="*/ 2147483646 h 72"/>
                  <a:gd name="T6" fmla="*/ 2147483646 w 71"/>
                  <a:gd name="T7" fmla="*/ 2147483646 h 72"/>
                  <a:gd name="T8" fmla="*/ 2147483646 w 71"/>
                  <a:gd name="T9" fmla="*/ 2147483646 h 72"/>
                  <a:gd name="T10" fmla="*/ 2147483646 w 71"/>
                  <a:gd name="T11" fmla="*/ 2147483646 h 72"/>
                  <a:gd name="T12" fmla="*/ 2147483646 w 71"/>
                  <a:gd name="T13" fmla="*/ 2147483646 h 72"/>
                  <a:gd name="T14" fmla="*/ 2147483646 w 71"/>
                  <a:gd name="T15" fmla="*/ 2147483646 h 72"/>
                  <a:gd name="T16" fmla="*/ 2147483646 w 71"/>
                  <a:gd name="T17" fmla="*/ 2147483646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1" h="72">
                    <a:moveTo>
                      <a:pt x="22" y="67"/>
                    </a:moveTo>
                    <a:cubicBezTo>
                      <a:pt x="17" y="72"/>
                      <a:pt x="9" y="72"/>
                      <a:pt x="5" y="67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0" y="62"/>
                      <a:pt x="0" y="54"/>
                      <a:pt x="5" y="4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54" y="0"/>
                      <a:pt x="61" y="0"/>
                      <a:pt x="66" y="5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71" y="10"/>
                      <a:pt x="71" y="18"/>
                      <a:pt x="66" y="23"/>
                    </a:cubicBezTo>
                    <a:lnTo>
                      <a:pt x="22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9" name="Freeform 32"/>
              <p:cNvSpPr/>
              <p:nvPr/>
            </p:nvSpPr>
            <p:spPr bwMode="auto">
              <a:xfrm>
                <a:off x="9305925" y="1258888"/>
                <a:ext cx="265112" cy="269875"/>
              </a:xfrm>
              <a:custGeom>
                <a:avLst/>
                <a:gdLst>
                  <a:gd name="T0" fmla="*/ 2147483646 w 71"/>
                  <a:gd name="T1" fmla="*/ 2147483646 h 72"/>
                  <a:gd name="T2" fmla="*/ 2147483646 w 71"/>
                  <a:gd name="T3" fmla="*/ 2147483646 h 72"/>
                  <a:gd name="T4" fmla="*/ 2147483646 w 71"/>
                  <a:gd name="T5" fmla="*/ 2147483646 h 72"/>
                  <a:gd name="T6" fmla="*/ 2147483646 w 71"/>
                  <a:gd name="T7" fmla="*/ 2147483646 h 72"/>
                  <a:gd name="T8" fmla="*/ 2147483646 w 71"/>
                  <a:gd name="T9" fmla="*/ 2147483646 h 72"/>
                  <a:gd name="T10" fmla="*/ 2147483646 w 71"/>
                  <a:gd name="T11" fmla="*/ 2147483646 h 72"/>
                  <a:gd name="T12" fmla="*/ 2147483646 w 71"/>
                  <a:gd name="T13" fmla="*/ 2147483646 h 72"/>
                  <a:gd name="T14" fmla="*/ 2147483646 w 71"/>
                  <a:gd name="T15" fmla="*/ 2147483646 h 72"/>
                  <a:gd name="T16" fmla="*/ 2147483646 w 71"/>
                  <a:gd name="T17" fmla="*/ 2147483646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1" h="72">
                    <a:moveTo>
                      <a:pt x="22" y="67"/>
                    </a:moveTo>
                    <a:cubicBezTo>
                      <a:pt x="17" y="72"/>
                      <a:pt x="9" y="72"/>
                      <a:pt x="5" y="67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0" y="62"/>
                      <a:pt x="0" y="54"/>
                      <a:pt x="5" y="4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54" y="0"/>
                      <a:pt x="62" y="0"/>
                      <a:pt x="66" y="5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71" y="10"/>
                      <a:pt x="71" y="18"/>
                      <a:pt x="66" y="23"/>
                    </a:cubicBezTo>
                    <a:lnTo>
                      <a:pt x="22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80" name="Freeform 33"/>
              <p:cNvSpPr/>
              <p:nvPr/>
            </p:nvSpPr>
            <p:spPr bwMode="auto">
              <a:xfrm>
                <a:off x="9432925" y="1385888"/>
                <a:ext cx="266700" cy="269875"/>
              </a:xfrm>
              <a:custGeom>
                <a:avLst/>
                <a:gdLst>
                  <a:gd name="T0" fmla="*/ 2147483646 w 71"/>
                  <a:gd name="T1" fmla="*/ 2147483646 h 72"/>
                  <a:gd name="T2" fmla="*/ 2147483646 w 71"/>
                  <a:gd name="T3" fmla="*/ 2147483646 h 72"/>
                  <a:gd name="T4" fmla="*/ 2147483646 w 71"/>
                  <a:gd name="T5" fmla="*/ 2147483646 h 72"/>
                  <a:gd name="T6" fmla="*/ 2147483646 w 71"/>
                  <a:gd name="T7" fmla="*/ 2147483646 h 72"/>
                  <a:gd name="T8" fmla="*/ 2147483646 w 71"/>
                  <a:gd name="T9" fmla="*/ 2147483646 h 72"/>
                  <a:gd name="T10" fmla="*/ 2147483646 w 71"/>
                  <a:gd name="T11" fmla="*/ 2147483646 h 72"/>
                  <a:gd name="T12" fmla="*/ 2147483646 w 71"/>
                  <a:gd name="T13" fmla="*/ 2147483646 h 72"/>
                  <a:gd name="T14" fmla="*/ 2147483646 w 71"/>
                  <a:gd name="T15" fmla="*/ 2147483646 h 72"/>
                  <a:gd name="T16" fmla="*/ 2147483646 w 71"/>
                  <a:gd name="T17" fmla="*/ 2147483646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1" h="72">
                    <a:moveTo>
                      <a:pt x="22" y="67"/>
                    </a:moveTo>
                    <a:cubicBezTo>
                      <a:pt x="17" y="72"/>
                      <a:pt x="9" y="72"/>
                      <a:pt x="5" y="67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0" y="62"/>
                      <a:pt x="0" y="54"/>
                      <a:pt x="5" y="4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54" y="0"/>
                      <a:pt x="62" y="0"/>
                      <a:pt x="66" y="5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71" y="10"/>
                      <a:pt x="71" y="18"/>
                      <a:pt x="66" y="23"/>
                    </a:cubicBezTo>
                    <a:lnTo>
                      <a:pt x="22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81" name="Freeform 34"/>
              <p:cNvSpPr/>
              <p:nvPr/>
            </p:nvSpPr>
            <p:spPr bwMode="auto">
              <a:xfrm>
                <a:off x="9559925" y="1512888"/>
                <a:ext cx="266700" cy="269875"/>
              </a:xfrm>
              <a:custGeom>
                <a:avLst/>
                <a:gdLst>
                  <a:gd name="T0" fmla="*/ 2147483646 w 71"/>
                  <a:gd name="T1" fmla="*/ 2147483646 h 72"/>
                  <a:gd name="T2" fmla="*/ 2147483646 w 71"/>
                  <a:gd name="T3" fmla="*/ 2147483646 h 72"/>
                  <a:gd name="T4" fmla="*/ 2147483646 w 71"/>
                  <a:gd name="T5" fmla="*/ 2147483646 h 72"/>
                  <a:gd name="T6" fmla="*/ 2147483646 w 71"/>
                  <a:gd name="T7" fmla="*/ 2147483646 h 72"/>
                  <a:gd name="T8" fmla="*/ 2147483646 w 71"/>
                  <a:gd name="T9" fmla="*/ 2147483646 h 72"/>
                  <a:gd name="T10" fmla="*/ 2147483646 w 71"/>
                  <a:gd name="T11" fmla="*/ 2147483646 h 72"/>
                  <a:gd name="T12" fmla="*/ 2147483646 w 71"/>
                  <a:gd name="T13" fmla="*/ 2147483646 h 72"/>
                  <a:gd name="T14" fmla="*/ 2147483646 w 71"/>
                  <a:gd name="T15" fmla="*/ 2147483646 h 72"/>
                  <a:gd name="T16" fmla="*/ 2147483646 w 71"/>
                  <a:gd name="T17" fmla="*/ 2147483646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1" h="72">
                    <a:moveTo>
                      <a:pt x="22" y="67"/>
                    </a:moveTo>
                    <a:cubicBezTo>
                      <a:pt x="17" y="72"/>
                      <a:pt x="9" y="72"/>
                      <a:pt x="5" y="67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0" y="62"/>
                      <a:pt x="0" y="54"/>
                      <a:pt x="5" y="4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54" y="0"/>
                      <a:pt x="62" y="0"/>
                      <a:pt x="66" y="5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71" y="10"/>
                      <a:pt x="71" y="18"/>
                      <a:pt x="66" y="23"/>
                    </a:cubicBezTo>
                    <a:lnTo>
                      <a:pt x="22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82" name="Freeform 35"/>
              <p:cNvSpPr/>
              <p:nvPr/>
            </p:nvSpPr>
            <p:spPr bwMode="auto">
              <a:xfrm>
                <a:off x="8937625" y="1730375"/>
                <a:ext cx="946150" cy="735013"/>
              </a:xfrm>
              <a:custGeom>
                <a:avLst/>
                <a:gdLst>
                  <a:gd name="T0" fmla="*/ 2147483646 w 252"/>
                  <a:gd name="T1" fmla="*/ 2147483646 h 196"/>
                  <a:gd name="T2" fmla="*/ 2147483646 w 252"/>
                  <a:gd name="T3" fmla="*/ 2147483646 h 196"/>
                  <a:gd name="T4" fmla="*/ 2147483646 w 252"/>
                  <a:gd name="T5" fmla="*/ 2147483646 h 196"/>
                  <a:gd name="T6" fmla="*/ 2147483646 w 252"/>
                  <a:gd name="T7" fmla="*/ 2147483646 h 196"/>
                  <a:gd name="T8" fmla="*/ 2147483646 w 252"/>
                  <a:gd name="T9" fmla="*/ 2147483646 h 196"/>
                  <a:gd name="T10" fmla="*/ 2147483646 w 252"/>
                  <a:gd name="T11" fmla="*/ 2147483646 h 196"/>
                  <a:gd name="T12" fmla="*/ 2147483646 w 252"/>
                  <a:gd name="T13" fmla="*/ 2147483646 h 196"/>
                  <a:gd name="T14" fmla="*/ 2147483646 w 252"/>
                  <a:gd name="T15" fmla="*/ 2147483646 h 196"/>
                  <a:gd name="T16" fmla="*/ 2147483646 w 252"/>
                  <a:gd name="T17" fmla="*/ 2147483646 h 196"/>
                  <a:gd name="T18" fmla="*/ 2147483646 w 252"/>
                  <a:gd name="T19" fmla="*/ 2147483646 h 196"/>
                  <a:gd name="T20" fmla="*/ 2147483646 w 252"/>
                  <a:gd name="T21" fmla="*/ 2147483646 h 196"/>
                  <a:gd name="T22" fmla="*/ 2147483646 w 252"/>
                  <a:gd name="T23" fmla="*/ 2147483646 h 196"/>
                  <a:gd name="T24" fmla="*/ 2147483646 w 252"/>
                  <a:gd name="T25" fmla="*/ 2147483646 h 196"/>
                  <a:gd name="T26" fmla="*/ 2147483646 w 252"/>
                  <a:gd name="T27" fmla="*/ 2147483646 h 19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52" h="196">
                    <a:moveTo>
                      <a:pt x="36" y="157"/>
                    </a:moveTo>
                    <a:cubicBezTo>
                      <a:pt x="35" y="156"/>
                      <a:pt x="35" y="156"/>
                      <a:pt x="34" y="155"/>
                    </a:cubicBezTo>
                    <a:cubicBezTo>
                      <a:pt x="11" y="131"/>
                      <a:pt x="0" y="105"/>
                      <a:pt x="1" y="79"/>
                    </a:cubicBezTo>
                    <a:cubicBezTo>
                      <a:pt x="3" y="35"/>
                      <a:pt x="36" y="5"/>
                      <a:pt x="37" y="3"/>
                    </a:cubicBezTo>
                    <a:cubicBezTo>
                      <a:pt x="42" y="0"/>
                      <a:pt x="49" y="0"/>
                      <a:pt x="53" y="4"/>
                    </a:cubicBezTo>
                    <a:cubicBezTo>
                      <a:pt x="56" y="9"/>
                      <a:pt x="56" y="15"/>
                      <a:pt x="52" y="19"/>
                    </a:cubicBezTo>
                    <a:cubicBezTo>
                      <a:pt x="51" y="20"/>
                      <a:pt x="24" y="45"/>
                      <a:pt x="23" y="80"/>
                    </a:cubicBezTo>
                    <a:cubicBezTo>
                      <a:pt x="22" y="100"/>
                      <a:pt x="31" y="121"/>
                      <a:pt x="50" y="140"/>
                    </a:cubicBezTo>
                    <a:cubicBezTo>
                      <a:pt x="81" y="172"/>
                      <a:pt x="106" y="166"/>
                      <a:pt x="138" y="157"/>
                    </a:cubicBezTo>
                    <a:cubicBezTo>
                      <a:pt x="169" y="149"/>
                      <a:pt x="205" y="139"/>
                      <a:pt x="247" y="174"/>
                    </a:cubicBezTo>
                    <a:cubicBezTo>
                      <a:pt x="251" y="177"/>
                      <a:pt x="252" y="184"/>
                      <a:pt x="248" y="189"/>
                    </a:cubicBezTo>
                    <a:cubicBezTo>
                      <a:pt x="244" y="193"/>
                      <a:pt x="238" y="194"/>
                      <a:pt x="233" y="190"/>
                    </a:cubicBezTo>
                    <a:cubicBezTo>
                      <a:pt x="200" y="163"/>
                      <a:pt x="174" y="170"/>
                      <a:pt x="143" y="178"/>
                    </a:cubicBezTo>
                    <a:cubicBezTo>
                      <a:pt x="111" y="186"/>
                      <a:pt x="75" y="196"/>
                      <a:pt x="36" y="15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8" name="组合 7"/>
          <p:cNvGrpSpPr/>
          <p:nvPr/>
        </p:nvGrpSpPr>
        <p:grpSpPr bwMode="auto">
          <a:xfrm>
            <a:off x="1368425" y="2940050"/>
            <a:ext cx="1620838" cy="1620838"/>
            <a:chOff x="1367747" y="2939536"/>
            <a:chExt cx="1620752" cy="1620752"/>
          </a:xfrm>
        </p:grpSpPr>
        <p:sp>
          <p:nvSpPr>
            <p:cNvPr id="17" name="Rectangle 25"/>
            <p:cNvSpPr/>
            <p:nvPr/>
          </p:nvSpPr>
          <p:spPr bwMode="auto">
            <a:xfrm>
              <a:off x="1367747" y="2939536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558237" y="4055490"/>
              <a:ext cx="1127065" cy="33970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5" name="组合 144"/>
            <p:cNvGrpSpPr/>
            <p:nvPr/>
          </p:nvGrpSpPr>
          <p:grpSpPr>
            <a:xfrm>
              <a:off x="2645582" y="4164841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46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7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62" name="组合 116"/>
            <p:cNvGrpSpPr/>
            <p:nvPr/>
          </p:nvGrpSpPr>
          <p:grpSpPr bwMode="auto">
            <a:xfrm>
              <a:off x="1793373" y="3098393"/>
              <a:ext cx="769501" cy="769501"/>
              <a:chOff x="8243888" y="-315913"/>
              <a:chExt cx="2579687" cy="2579688"/>
            </a:xfrm>
          </p:grpSpPr>
          <p:sp>
            <p:nvSpPr>
              <p:cNvPr id="10263" name="AutoShape 38"/>
              <p:cNvSpPr>
                <a:spLocks noChangeAspect="1" noChangeArrowheads="1" noTextEdit="1"/>
              </p:cNvSpPr>
              <p:nvPr/>
            </p:nvSpPr>
            <p:spPr bwMode="auto">
              <a:xfrm>
                <a:off x="8243888" y="-315913"/>
                <a:ext cx="2576512" cy="2576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9" name="Freeform 40"/>
              <p:cNvSpPr/>
              <p:nvPr/>
            </p:nvSpPr>
            <p:spPr bwMode="auto">
              <a:xfrm>
                <a:off x="8248544" y="-310975"/>
                <a:ext cx="2575691" cy="2575692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65" name="Freeform 41"/>
              <p:cNvSpPr/>
              <p:nvPr/>
            </p:nvSpPr>
            <p:spPr bwMode="auto">
              <a:xfrm>
                <a:off x="8648700" y="69850"/>
                <a:ext cx="2174875" cy="2193925"/>
              </a:xfrm>
              <a:custGeom>
                <a:avLst/>
                <a:gdLst>
                  <a:gd name="T0" fmla="*/ 2147483646 w 580"/>
                  <a:gd name="T1" fmla="*/ 2147483646 h 585"/>
                  <a:gd name="T2" fmla="*/ 2147483646 w 580"/>
                  <a:gd name="T3" fmla="*/ 2147483646 h 585"/>
                  <a:gd name="T4" fmla="*/ 2147483646 w 580"/>
                  <a:gd name="T5" fmla="*/ 2147483646 h 585"/>
                  <a:gd name="T6" fmla="*/ 2147483646 w 580"/>
                  <a:gd name="T7" fmla="*/ 2147483646 h 585"/>
                  <a:gd name="T8" fmla="*/ 2147483646 w 580"/>
                  <a:gd name="T9" fmla="*/ 2147483646 h 585"/>
                  <a:gd name="T10" fmla="*/ 2147483646 w 580"/>
                  <a:gd name="T11" fmla="*/ 2147483646 h 585"/>
                  <a:gd name="T12" fmla="*/ 0 w 580"/>
                  <a:gd name="T13" fmla="*/ 2147483646 h 585"/>
                  <a:gd name="T14" fmla="*/ 2147483646 w 580"/>
                  <a:gd name="T15" fmla="*/ 2147483646 h 585"/>
                  <a:gd name="T16" fmla="*/ 2147483646 w 580"/>
                  <a:gd name="T17" fmla="*/ 2147483646 h 585"/>
                  <a:gd name="T18" fmla="*/ 2147483646 w 580"/>
                  <a:gd name="T19" fmla="*/ 2147483646 h 585"/>
                  <a:gd name="T20" fmla="*/ 2147483646 w 580"/>
                  <a:gd name="T21" fmla="*/ 2147483646 h 585"/>
                  <a:gd name="T22" fmla="*/ 2147483646 w 580"/>
                  <a:gd name="T23" fmla="*/ 2147483646 h 585"/>
                  <a:gd name="T24" fmla="*/ 2147483646 w 580"/>
                  <a:gd name="T25" fmla="*/ 2147483646 h 585"/>
                  <a:gd name="T26" fmla="*/ 2147483646 w 580"/>
                  <a:gd name="T27" fmla="*/ 2147483646 h 58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80" h="585">
                    <a:moveTo>
                      <a:pt x="208" y="19"/>
                    </a:moveTo>
                    <a:cubicBezTo>
                      <a:pt x="208" y="19"/>
                      <a:pt x="107" y="0"/>
                      <a:pt x="88" y="44"/>
                    </a:cubicBezTo>
                    <a:cubicBezTo>
                      <a:pt x="70" y="89"/>
                      <a:pt x="94" y="135"/>
                      <a:pt x="94" y="135"/>
                    </a:cubicBezTo>
                    <a:cubicBezTo>
                      <a:pt x="158" y="199"/>
                      <a:pt x="158" y="199"/>
                      <a:pt x="158" y="199"/>
                    </a:cubicBezTo>
                    <a:cubicBezTo>
                      <a:pt x="155" y="429"/>
                      <a:pt x="155" y="429"/>
                      <a:pt x="155" y="429"/>
                    </a:cubicBezTo>
                    <a:cubicBezTo>
                      <a:pt x="27" y="301"/>
                      <a:pt x="27" y="301"/>
                      <a:pt x="27" y="301"/>
                    </a:cubicBezTo>
                    <a:cubicBezTo>
                      <a:pt x="0" y="328"/>
                      <a:pt x="0" y="328"/>
                      <a:pt x="0" y="328"/>
                    </a:cubicBezTo>
                    <a:cubicBezTo>
                      <a:pt x="164" y="492"/>
                      <a:pt x="164" y="492"/>
                      <a:pt x="164" y="492"/>
                    </a:cubicBezTo>
                    <a:cubicBezTo>
                      <a:pt x="151" y="506"/>
                      <a:pt x="151" y="506"/>
                      <a:pt x="151" y="506"/>
                    </a:cubicBezTo>
                    <a:cubicBezTo>
                      <a:pt x="229" y="585"/>
                      <a:pt x="229" y="585"/>
                      <a:pt x="229" y="585"/>
                    </a:cubicBezTo>
                    <a:cubicBezTo>
                      <a:pt x="518" y="585"/>
                      <a:pt x="518" y="585"/>
                      <a:pt x="518" y="585"/>
                    </a:cubicBezTo>
                    <a:cubicBezTo>
                      <a:pt x="552" y="585"/>
                      <a:pt x="580" y="557"/>
                      <a:pt x="580" y="522"/>
                    </a:cubicBezTo>
                    <a:cubicBezTo>
                      <a:pt x="580" y="392"/>
                      <a:pt x="580" y="392"/>
                      <a:pt x="580" y="392"/>
                    </a:cubicBezTo>
                    <a:lnTo>
                      <a:pt x="208" y="19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66" name="Freeform 42"/>
              <p:cNvSpPr/>
              <p:nvPr/>
            </p:nvSpPr>
            <p:spPr bwMode="auto">
              <a:xfrm>
                <a:off x="8566150" y="314325"/>
                <a:ext cx="1485900" cy="1739900"/>
              </a:xfrm>
              <a:custGeom>
                <a:avLst/>
                <a:gdLst>
                  <a:gd name="T0" fmla="*/ 2147483646 w 396"/>
                  <a:gd name="T1" fmla="*/ 2147483646 h 464"/>
                  <a:gd name="T2" fmla="*/ 2147483646 w 396"/>
                  <a:gd name="T3" fmla="*/ 2147483646 h 464"/>
                  <a:gd name="T4" fmla="*/ 2147483646 w 396"/>
                  <a:gd name="T5" fmla="*/ 2147483646 h 464"/>
                  <a:gd name="T6" fmla="*/ 2147483646 w 396"/>
                  <a:gd name="T7" fmla="*/ 2147483646 h 464"/>
                  <a:gd name="T8" fmla="*/ 2147483646 w 396"/>
                  <a:gd name="T9" fmla="*/ 2147483646 h 464"/>
                  <a:gd name="T10" fmla="*/ 2147483646 w 396"/>
                  <a:gd name="T11" fmla="*/ 2147483646 h 464"/>
                  <a:gd name="T12" fmla="*/ 2147483646 w 396"/>
                  <a:gd name="T13" fmla="*/ 2147483646 h 464"/>
                  <a:gd name="T14" fmla="*/ 2147483646 w 396"/>
                  <a:gd name="T15" fmla="*/ 2147483646 h 464"/>
                  <a:gd name="T16" fmla="*/ 2147483646 w 396"/>
                  <a:gd name="T17" fmla="*/ 2147483646 h 464"/>
                  <a:gd name="T18" fmla="*/ 2147483646 w 396"/>
                  <a:gd name="T19" fmla="*/ 2147483646 h 464"/>
                  <a:gd name="T20" fmla="*/ 2147483646 w 396"/>
                  <a:gd name="T21" fmla="*/ 2147483646 h 464"/>
                  <a:gd name="T22" fmla="*/ 2147483646 w 396"/>
                  <a:gd name="T23" fmla="*/ 2147483646 h 464"/>
                  <a:gd name="T24" fmla="*/ 2147483646 w 396"/>
                  <a:gd name="T25" fmla="*/ 2147483646 h 464"/>
                  <a:gd name="T26" fmla="*/ 2147483646 w 396"/>
                  <a:gd name="T27" fmla="*/ 2147483646 h 464"/>
                  <a:gd name="T28" fmla="*/ 2147483646 w 396"/>
                  <a:gd name="T29" fmla="*/ 2147483646 h 464"/>
                  <a:gd name="T30" fmla="*/ 2147483646 w 396"/>
                  <a:gd name="T31" fmla="*/ 2147483646 h 464"/>
                  <a:gd name="T32" fmla="*/ 2147483646 w 396"/>
                  <a:gd name="T33" fmla="*/ 0 h 464"/>
                  <a:gd name="T34" fmla="*/ 2147483646 w 396"/>
                  <a:gd name="T35" fmla="*/ 2147483646 h 464"/>
                  <a:gd name="T36" fmla="*/ 2147483646 w 396"/>
                  <a:gd name="T37" fmla="*/ 2147483646 h 464"/>
                  <a:gd name="T38" fmla="*/ 2147483646 w 396"/>
                  <a:gd name="T39" fmla="*/ 2147483646 h 464"/>
                  <a:gd name="T40" fmla="*/ 2147483646 w 396"/>
                  <a:gd name="T41" fmla="*/ 2147483646 h 464"/>
                  <a:gd name="T42" fmla="*/ 2147483646 w 396"/>
                  <a:gd name="T43" fmla="*/ 2147483646 h 464"/>
                  <a:gd name="T44" fmla="*/ 2147483646 w 396"/>
                  <a:gd name="T45" fmla="*/ 2147483646 h 464"/>
                  <a:gd name="T46" fmla="*/ 2147483646 w 396"/>
                  <a:gd name="T47" fmla="*/ 2147483646 h 464"/>
                  <a:gd name="T48" fmla="*/ 2147483646 w 396"/>
                  <a:gd name="T49" fmla="*/ 2147483646 h 464"/>
                  <a:gd name="T50" fmla="*/ 2147483646 w 396"/>
                  <a:gd name="T51" fmla="*/ 2147483646 h 464"/>
                  <a:gd name="T52" fmla="*/ 2147483646 w 396"/>
                  <a:gd name="T53" fmla="*/ 2147483646 h 464"/>
                  <a:gd name="T54" fmla="*/ 2147483646 w 396"/>
                  <a:gd name="T55" fmla="*/ 2147483646 h 464"/>
                  <a:gd name="T56" fmla="*/ 2147483646 w 396"/>
                  <a:gd name="T57" fmla="*/ 2147483646 h 46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96" h="464">
                    <a:moveTo>
                      <a:pt x="394" y="199"/>
                    </a:moveTo>
                    <a:cubicBezTo>
                      <a:pt x="394" y="190"/>
                      <a:pt x="382" y="183"/>
                      <a:pt x="367" y="183"/>
                    </a:cubicBezTo>
                    <a:cubicBezTo>
                      <a:pt x="352" y="183"/>
                      <a:pt x="340" y="190"/>
                      <a:pt x="340" y="199"/>
                    </a:cubicBezTo>
                    <a:cubicBezTo>
                      <a:pt x="341" y="202"/>
                      <a:pt x="341" y="202"/>
                      <a:pt x="341" y="202"/>
                    </a:cubicBezTo>
                    <a:cubicBezTo>
                      <a:pt x="332" y="202"/>
                      <a:pt x="332" y="202"/>
                      <a:pt x="332" y="202"/>
                    </a:cubicBezTo>
                    <a:cubicBezTo>
                      <a:pt x="332" y="188"/>
                      <a:pt x="332" y="188"/>
                      <a:pt x="332" y="188"/>
                    </a:cubicBezTo>
                    <a:cubicBezTo>
                      <a:pt x="332" y="175"/>
                      <a:pt x="320" y="165"/>
                      <a:pt x="305" y="165"/>
                    </a:cubicBezTo>
                    <a:cubicBezTo>
                      <a:pt x="290" y="165"/>
                      <a:pt x="278" y="175"/>
                      <a:pt x="278" y="188"/>
                    </a:cubicBezTo>
                    <a:cubicBezTo>
                      <a:pt x="278" y="202"/>
                      <a:pt x="278" y="202"/>
                      <a:pt x="278" y="202"/>
                    </a:cubicBezTo>
                    <a:cubicBezTo>
                      <a:pt x="269" y="202"/>
                      <a:pt x="269" y="202"/>
                      <a:pt x="269" y="202"/>
                    </a:cubicBezTo>
                    <a:cubicBezTo>
                      <a:pt x="269" y="168"/>
                      <a:pt x="269" y="168"/>
                      <a:pt x="269" y="168"/>
                    </a:cubicBezTo>
                    <a:cubicBezTo>
                      <a:pt x="269" y="156"/>
                      <a:pt x="257" y="146"/>
                      <a:pt x="242" y="146"/>
                    </a:cubicBezTo>
                    <a:cubicBezTo>
                      <a:pt x="227" y="146"/>
                      <a:pt x="215" y="156"/>
                      <a:pt x="215" y="168"/>
                    </a:cubicBezTo>
                    <a:cubicBezTo>
                      <a:pt x="215" y="202"/>
                      <a:pt x="215" y="202"/>
                      <a:pt x="215" y="202"/>
                    </a:cubicBezTo>
                    <a:cubicBezTo>
                      <a:pt x="207" y="202"/>
                      <a:pt x="207" y="202"/>
                      <a:pt x="207" y="202"/>
                    </a:cubicBezTo>
                    <a:cubicBezTo>
                      <a:pt x="207" y="30"/>
                      <a:pt x="207" y="30"/>
                      <a:pt x="207" y="30"/>
                    </a:cubicBezTo>
                    <a:cubicBezTo>
                      <a:pt x="207" y="21"/>
                      <a:pt x="195" y="0"/>
                      <a:pt x="180" y="0"/>
                    </a:cubicBezTo>
                    <a:cubicBezTo>
                      <a:pt x="165" y="0"/>
                      <a:pt x="153" y="21"/>
                      <a:pt x="153" y="30"/>
                    </a:cubicBezTo>
                    <a:cubicBezTo>
                      <a:pt x="153" y="30"/>
                      <a:pt x="155" y="212"/>
                      <a:pt x="154" y="284"/>
                    </a:cubicBezTo>
                    <a:cubicBezTo>
                      <a:pt x="147" y="278"/>
                      <a:pt x="118" y="256"/>
                      <a:pt x="109" y="250"/>
                    </a:cubicBezTo>
                    <a:cubicBezTo>
                      <a:pt x="89" y="236"/>
                      <a:pt x="50" y="223"/>
                      <a:pt x="25" y="247"/>
                    </a:cubicBezTo>
                    <a:cubicBezTo>
                      <a:pt x="0" y="271"/>
                      <a:pt x="88" y="299"/>
                      <a:pt x="110" y="329"/>
                    </a:cubicBezTo>
                    <a:cubicBezTo>
                      <a:pt x="132" y="358"/>
                      <a:pt x="139" y="368"/>
                      <a:pt x="148" y="396"/>
                    </a:cubicBezTo>
                    <a:cubicBezTo>
                      <a:pt x="156" y="420"/>
                      <a:pt x="166" y="435"/>
                      <a:pt x="176" y="445"/>
                    </a:cubicBezTo>
                    <a:cubicBezTo>
                      <a:pt x="187" y="456"/>
                      <a:pt x="207" y="464"/>
                      <a:pt x="234" y="463"/>
                    </a:cubicBezTo>
                    <a:cubicBezTo>
                      <a:pt x="252" y="463"/>
                      <a:pt x="258" y="452"/>
                      <a:pt x="281" y="451"/>
                    </a:cubicBezTo>
                    <a:cubicBezTo>
                      <a:pt x="304" y="450"/>
                      <a:pt x="310" y="461"/>
                      <a:pt x="329" y="461"/>
                    </a:cubicBezTo>
                    <a:cubicBezTo>
                      <a:pt x="367" y="460"/>
                      <a:pt x="386" y="422"/>
                      <a:pt x="391" y="391"/>
                    </a:cubicBezTo>
                    <a:cubicBezTo>
                      <a:pt x="396" y="359"/>
                      <a:pt x="394" y="199"/>
                      <a:pt x="394" y="19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67" name="Freeform 43"/>
              <p:cNvSpPr/>
              <p:nvPr/>
            </p:nvSpPr>
            <p:spPr bwMode="auto">
              <a:xfrm>
                <a:off x="8926513" y="69850"/>
                <a:ext cx="611187" cy="569913"/>
              </a:xfrm>
              <a:custGeom>
                <a:avLst/>
                <a:gdLst>
                  <a:gd name="T0" fmla="*/ 2147483646 w 163"/>
                  <a:gd name="T1" fmla="*/ 0 h 152"/>
                  <a:gd name="T2" fmla="*/ 0 w 163"/>
                  <a:gd name="T3" fmla="*/ 2147483646 h 152"/>
                  <a:gd name="T4" fmla="*/ 2147483646 w 163"/>
                  <a:gd name="T5" fmla="*/ 2147483646 h 152"/>
                  <a:gd name="T6" fmla="*/ 2147483646 w 163"/>
                  <a:gd name="T7" fmla="*/ 2147483646 h 152"/>
                  <a:gd name="T8" fmla="*/ 2147483646 w 163"/>
                  <a:gd name="T9" fmla="*/ 2147483646 h 152"/>
                  <a:gd name="T10" fmla="*/ 2147483646 w 163"/>
                  <a:gd name="T11" fmla="*/ 2147483646 h 152"/>
                  <a:gd name="T12" fmla="*/ 2147483646 w 163"/>
                  <a:gd name="T13" fmla="*/ 2147483646 h 152"/>
                  <a:gd name="T14" fmla="*/ 2147483646 w 163"/>
                  <a:gd name="T15" fmla="*/ 2147483646 h 152"/>
                  <a:gd name="T16" fmla="*/ 2147483646 w 163"/>
                  <a:gd name="T17" fmla="*/ 2147483646 h 152"/>
                  <a:gd name="T18" fmla="*/ 2147483646 w 163"/>
                  <a:gd name="T19" fmla="*/ 2147483646 h 152"/>
                  <a:gd name="T20" fmla="*/ 2147483646 w 163"/>
                  <a:gd name="T21" fmla="*/ 0 h 15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63" h="152">
                    <a:moveTo>
                      <a:pt x="82" y="0"/>
                    </a:moveTo>
                    <a:cubicBezTo>
                      <a:pt x="37" y="0"/>
                      <a:pt x="0" y="36"/>
                      <a:pt x="0" y="81"/>
                    </a:cubicBezTo>
                    <a:cubicBezTo>
                      <a:pt x="0" y="112"/>
                      <a:pt x="17" y="138"/>
                      <a:pt x="42" y="152"/>
                    </a:cubicBezTo>
                    <a:cubicBezTo>
                      <a:pt x="42" y="127"/>
                      <a:pt x="42" y="127"/>
                      <a:pt x="42" y="127"/>
                    </a:cubicBezTo>
                    <a:cubicBezTo>
                      <a:pt x="29" y="116"/>
                      <a:pt x="21" y="99"/>
                      <a:pt x="21" y="81"/>
                    </a:cubicBezTo>
                    <a:cubicBezTo>
                      <a:pt x="21" y="48"/>
                      <a:pt x="48" y="21"/>
                      <a:pt x="82" y="21"/>
                    </a:cubicBezTo>
                    <a:cubicBezTo>
                      <a:pt x="115" y="21"/>
                      <a:pt x="142" y="48"/>
                      <a:pt x="142" y="81"/>
                    </a:cubicBezTo>
                    <a:cubicBezTo>
                      <a:pt x="142" y="93"/>
                      <a:pt x="139" y="105"/>
                      <a:pt x="132" y="114"/>
                    </a:cubicBezTo>
                    <a:cubicBezTo>
                      <a:pt x="132" y="145"/>
                      <a:pt x="132" y="145"/>
                      <a:pt x="132" y="145"/>
                    </a:cubicBezTo>
                    <a:cubicBezTo>
                      <a:pt x="151" y="130"/>
                      <a:pt x="163" y="107"/>
                      <a:pt x="163" y="81"/>
                    </a:cubicBezTo>
                    <a:cubicBezTo>
                      <a:pt x="163" y="36"/>
                      <a:pt x="127" y="0"/>
                      <a:pt x="8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9" name="组合 8"/>
          <p:cNvGrpSpPr/>
          <p:nvPr/>
        </p:nvGrpSpPr>
        <p:grpSpPr bwMode="auto">
          <a:xfrm>
            <a:off x="3043238" y="2940050"/>
            <a:ext cx="1620837" cy="1620838"/>
            <a:chOff x="3042782" y="2939536"/>
            <a:chExt cx="1620752" cy="1620752"/>
          </a:xfrm>
        </p:grpSpPr>
        <p:sp>
          <p:nvSpPr>
            <p:cNvPr id="16" name="Rectangle 24"/>
            <p:cNvSpPr/>
            <p:nvPr/>
          </p:nvSpPr>
          <p:spPr bwMode="auto">
            <a:xfrm>
              <a:off x="3042782" y="2939536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3130089" y="4055490"/>
              <a:ext cx="1128654" cy="33970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9" name="组合 148"/>
            <p:cNvGrpSpPr/>
            <p:nvPr/>
          </p:nvGrpSpPr>
          <p:grpSpPr>
            <a:xfrm>
              <a:off x="4217836" y="4164841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50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1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53" name="组合 122"/>
            <p:cNvGrpSpPr/>
            <p:nvPr/>
          </p:nvGrpSpPr>
          <p:grpSpPr bwMode="auto">
            <a:xfrm>
              <a:off x="3445550" y="3098393"/>
              <a:ext cx="815217" cy="813710"/>
              <a:chOff x="-2413000" y="1390650"/>
              <a:chExt cx="2576513" cy="2571750"/>
            </a:xfrm>
          </p:grpSpPr>
          <p:sp>
            <p:nvSpPr>
              <p:cNvPr id="10254" name="AutoShape 47"/>
              <p:cNvSpPr>
                <a:spLocks noChangeAspect="1" noChangeArrowheads="1" noTextEdit="1"/>
              </p:cNvSpPr>
              <p:nvPr/>
            </p:nvSpPr>
            <p:spPr bwMode="auto">
              <a:xfrm>
                <a:off x="-2413000" y="1393825"/>
                <a:ext cx="2576513" cy="2565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5" name="Freeform 49"/>
              <p:cNvSpPr/>
              <p:nvPr/>
            </p:nvSpPr>
            <p:spPr bwMode="auto">
              <a:xfrm>
                <a:off x="-2411622" y="1390287"/>
                <a:ext cx="2573754" cy="2573757"/>
              </a:xfrm>
              <a:custGeom>
                <a:avLst/>
                <a:gdLst>
                  <a:gd name="T0" fmla="*/ 687 w 687"/>
                  <a:gd name="T1" fmla="*/ 624 h 686"/>
                  <a:gd name="T2" fmla="*/ 625 w 687"/>
                  <a:gd name="T3" fmla="*/ 686 h 686"/>
                  <a:gd name="T4" fmla="*/ 63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3 w 687"/>
                  <a:gd name="T11" fmla="*/ 0 h 686"/>
                  <a:gd name="T12" fmla="*/ 625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5" y="686"/>
                    </a:cubicBezTo>
                    <a:cubicBezTo>
                      <a:pt x="63" y="686"/>
                      <a:pt x="63" y="686"/>
                      <a:pt x="63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56" name="Freeform 50"/>
              <p:cNvSpPr/>
              <p:nvPr/>
            </p:nvSpPr>
            <p:spPr bwMode="auto">
              <a:xfrm>
                <a:off x="-2079625" y="1990725"/>
                <a:ext cx="2243138" cy="1971675"/>
              </a:xfrm>
              <a:custGeom>
                <a:avLst/>
                <a:gdLst>
                  <a:gd name="T0" fmla="*/ 2147483646 w 598"/>
                  <a:gd name="T1" fmla="*/ 2147483646 h 526"/>
                  <a:gd name="T2" fmla="*/ 2147483646 w 598"/>
                  <a:gd name="T3" fmla="*/ 2147483646 h 526"/>
                  <a:gd name="T4" fmla="*/ 2147483646 w 598"/>
                  <a:gd name="T5" fmla="*/ 2147483646 h 526"/>
                  <a:gd name="T6" fmla="*/ 2147483646 w 598"/>
                  <a:gd name="T7" fmla="*/ 0 h 526"/>
                  <a:gd name="T8" fmla="*/ 0 w 598"/>
                  <a:gd name="T9" fmla="*/ 2147483646 h 526"/>
                  <a:gd name="T10" fmla="*/ 2147483646 w 598"/>
                  <a:gd name="T11" fmla="*/ 2147483646 h 526"/>
                  <a:gd name="T12" fmla="*/ 2147483646 w 598"/>
                  <a:gd name="T13" fmla="*/ 2147483646 h 526"/>
                  <a:gd name="T14" fmla="*/ 2147483646 w 598"/>
                  <a:gd name="T15" fmla="*/ 2147483646 h 526"/>
                  <a:gd name="T16" fmla="*/ 2147483646 w 598"/>
                  <a:gd name="T17" fmla="*/ 2147483646 h 526"/>
                  <a:gd name="T18" fmla="*/ 2147483646 w 598"/>
                  <a:gd name="T19" fmla="*/ 2147483646 h 526"/>
                  <a:gd name="T20" fmla="*/ 2147483646 w 598"/>
                  <a:gd name="T21" fmla="*/ 2147483646 h 526"/>
                  <a:gd name="T22" fmla="*/ 2147483646 w 598"/>
                  <a:gd name="T23" fmla="*/ 2147483646 h 52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98" h="526">
                    <a:moveTo>
                      <a:pt x="496" y="124"/>
                    </a:moveTo>
                    <a:cubicBezTo>
                      <a:pt x="419" y="133"/>
                      <a:pt x="419" y="133"/>
                      <a:pt x="419" y="133"/>
                    </a:cubicBezTo>
                    <a:cubicBezTo>
                      <a:pt x="360" y="74"/>
                      <a:pt x="360" y="74"/>
                      <a:pt x="360" y="74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280" y="454"/>
                      <a:pt x="280" y="454"/>
                      <a:pt x="280" y="454"/>
                    </a:cubicBezTo>
                    <a:cubicBezTo>
                      <a:pt x="272" y="462"/>
                      <a:pt x="272" y="462"/>
                      <a:pt x="272" y="462"/>
                    </a:cubicBezTo>
                    <a:cubicBezTo>
                      <a:pt x="336" y="526"/>
                      <a:pt x="336" y="526"/>
                      <a:pt x="336" y="526"/>
                    </a:cubicBezTo>
                    <a:cubicBezTo>
                      <a:pt x="536" y="526"/>
                      <a:pt x="536" y="526"/>
                      <a:pt x="536" y="526"/>
                    </a:cubicBezTo>
                    <a:cubicBezTo>
                      <a:pt x="570" y="526"/>
                      <a:pt x="598" y="499"/>
                      <a:pt x="598" y="464"/>
                    </a:cubicBezTo>
                    <a:cubicBezTo>
                      <a:pt x="598" y="226"/>
                      <a:pt x="598" y="226"/>
                      <a:pt x="598" y="226"/>
                    </a:cubicBezTo>
                    <a:lnTo>
                      <a:pt x="496" y="124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57" name="Freeform 51"/>
              <p:cNvSpPr/>
              <p:nvPr/>
            </p:nvSpPr>
            <p:spPr bwMode="auto">
              <a:xfrm>
                <a:off x="-2209800" y="1674813"/>
                <a:ext cx="1528763" cy="1069975"/>
              </a:xfrm>
              <a:custGeom>
                <a:avLst/>
                <a:gdLst>
                  <a:gd name="T0" fmla="*/ 2147483646 w 408"/>
                  <a:gd name="T1" fmla="*/ 2147483646 h 285"/>
                  <a:gd name="T2" fmla="*/ 2147483646 w 408"/>
                  <a:gd name="T3" fmla="*/ 2147483646 h 285"/>
                  <a:gd name="T4" fmla="*/ 2147483646 w 408"/>
                  <a:gd name="T5" fmla="*/ 2147483646 h 285"/>
                  <a:gd name="T6" fmla="*/ 2147483646 w 408"/>
                  <a:gd name="T7" fmla="*/ 2147483646 h 285"/>
                  <a:gd name="T8" fmla="*/ 2147483646 w 408"/>
                  <a:gd name="T9" fmla="*/ 2147483646 h 285"/>
                  <a:gd name="T10" fmla="*/ 2147483646 w 408"/>
                  <a:gd name="T11" fmla="*/ 0 h 285"/>
                  <a:gd name="T12" fmla="*/ 2147483646 w 408"/>
                  <a:gd name="T13" fmla="*/ 2147483646 h 285"/>
                  <a:gd name="T14" fmla="*/ 0 w 408"/>
                  <a:gd name="T15" fmla="*/ 2147483646 h 285"/>
                  <a:gd name="T16" fmla="*/ 2147483646 w 408"/>
                  <a:gd name="T17" fmla="*/ 2147483646 h 285"/>
                  <a:gd name="T18" fmla="*/ 2147483646 w 408"/>
                  <a:gd name="T19" fmla="*/ 2147483646 h 285"/>
                  <a:gd name="T20" fmla="*/ 2147483646 w 408"/>
                  <a:gd name="T21" fmla="*/ 2147483646 h 28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08" h="285">
                    <a:moveTo>
                      <a:pt x="180" y="225"/>
                    </a:moveTo>
                    <a:cubicBezTo>
                      <a:pt x="180" y="196"/>
                      <a:pt x="206" y="172"/>
                      <a:pt x="239" y="172"/>
                    </a:cubicBezTo>
                    <a:cubicBezTo>
                      <a:pt x="408" y="172"/>
                      <a:pt x="408" y="172"/>
                      <a:pt x="408" y="172"/>
                    </a:cubicBezTo>
                    <a:cubicBezTo>
                      <a:pt x="398" y="132"/>
                      <a:pt x="362" y="102"/>
                      <a:pt x="319" y="102"/>
                    </a:cubicBezTo>
                    <a:cubicBezTo>
                      <a:pt x="315" y="102"/>
                      <a:pt x="311" y="102"/>
                      <a:pt x="307" y="103"/>
                    </a:cubicBezTo>
                    <a:cubicBezTo>
                      <a:pt x="298" y="44"/>
                      <a:pt x="247" y="0"/>
                      <a:pt x="187" y="0"/>
                    </a:cubicBezTo>
                    <a:cubicBezTo>
                      <a:pt x="121" y="0"/>
                      <a:pt x="67" y="53"/>
                      <a:pt x="65" y="118"/>
                    </a:cubicBezTo>
                    <a:cubicBezTo>
                      <a:pt x="27" y="127"/>
                      <a:pt x="0" y="161"/>
                      <a:pt x="0" y="201"/>
                    </a:cubicBezTo>
                    <a:cubicBezTo>
                      <a:pt x="0" y="247"/>
                      <a:pt x="38" y="285"/>
                      <a:pt x="85" y="285"/>
                    </a:cubicBezTo>
                    <a:cubicBezTo>
                      <a:pt x="180" y="285"/>
                      <a:pt x="180" y="285"/>
                      <a:pt x="180" y="285"/>
                    </a:cubicBezTo>
                    <a:lnTo>
                      <a:pt x="180" y="2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58" name="Freeform 52"/>
              <p:cNvSpPr>
                <a:spLocks noEditPoints="1"/>
              </p:cNvSpPr>
              <p:nvPr/>
            </p:nvSpPr>
            <p:spPr bwMode="auto">
              <a:xfrm>
                <a:off x="-1374775" y="2444750"/>
                <a:ext cx="1287463" cy="1282700"/>
              </a:xfrm>
              <a:custGeom>
                <a:avLst/>
                <a:gdLst>
                  <a:gd name="T0" fmla="*/ 2147483646 w 343"/>
                  <a:gd name="T1" fmla="*/ 0 h 342"/>
                  <a:gd name="T2" fmla="*/ 2147483646 w 343"/>
                  <a:gd name="T3" fmla="*/ 0 h 342"/>
                  <a:gd name="T4" fmla="*/ 0 w 343"/>
                  <a:gd name="T5" fmla="*/ 2147483646 h 342"/>
                  <a:gd name="T6" fmla="*/ 0 w 343"/>
                  <a:gd name="T7" fmla="*/ 2147483646 h 342"/>
                  <a:gd name="T8" fmla="*/ 2147483646 w 343"/>
                  <a:gd name="T9" fmla="*/ 2147483646 h 342"/>
                  <a:gd name="T10" fmla="*/ 2147483646 w 343"/>
                  <a:gd name="T11" fmla="*/ 2147483646 h 342"/>
                  <a:gd name="T12" fmla="*/ 2147483646 w 343"/>
                  <a:gd name="T13" fmla="*/ 2147483646 h 342"/>
                  <a:gd name="T14" fmla="*/ 2147483646 w 343"/>
                  <a:gd name="T15" fmla="*/ 2147483646 h 342"/>
                  <a:gd name="T16" fmla="*/ 2147483646 w 343"/>
                  <a:gd name="T17" fmla="*/ 2147483646 h 342"/>
                  <a:gd name="T18" fmla="*/ 2147483646 w 343"/>
                  <a:gd name="T19" fmla="*/ 2147483646 h 342"/>
                  <a:gd name="T20" fmla="*/ 2147483646 w 343"/>
                  <a:gd name="T21" fmla="*/ 2147483646 h 342"/>
                  <a:gd name="T22" fmla="*/ 2147483646 w 343"/>
                  <a:gd name="T23" fmla="*/ 2147483646 h 342"/>
                  <a:gd name="T24" fmla="*/ 2147483646 w 343"/>
                  <a:gd name="T25" fmla="*/ 2147483646 h 342"/>
                  <a:gd name="T26" fmla="*/ 2147483646 w 343"/>
                  <a:gd name="T27" fmla="*/ 2147483646 h 342"/>
                  <a:gd name="T28" fmla="*/ 2147483646 w 343"/>
                  <a:gd name="T29" fmla="*/ 0 h 342"/>
                  <a:gd name="T30" fmla="*/ 2147483646 w 343"/>
                  <a:gd name="T31" fmla="*/ 2147483646 h 342"/>
                  <a:gd name="T32" fmla="*/ 2147483646 w 343"/>
                  <a:gd name="T33" fmla="*/ 2147483646 h 342"/>
                  <a:gd name="T34" fmla="*/ 2147483646 w 343"/>
                  <a:gd name="T35" fmla="*/ 2147483646 h 342"/>
                  <a:gd name="T36" fmla="*/ 2147483646 w 343"/>
                  <a:gd name="T37" fmla="*/ 2147483646 h 342"/>
                  <a:gd name="T38" fmla="*/ 2147483646 w 343"/>
                  <a:gd name="T39" fmla="*/ 2147483646 h 342"/>
                  <a:gd name="T40" fmla="*/ 2147483646 w 343"/>
                  <a:gd name="T41" fmla="*/ 2147483646 h 342"/>
                  <a:gd name="T42" fmla="*/ 2147483646 w 343"/>
                  <a:gd name="T43" fmla="*/ 2147483646 h 342"/>
                  <a:gd name="T44" fmla="*/ 2147483646 w 343"/>
                  <a:gd name="T45" fmla="*/ 2147483646 h 342"/>
                  <a:gd name="T46" fmla="*/ 2147483646 w 343"/>
                  <a:gd name="T47" fmla="*/ 2147483646 h 34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343" h="342">
                    <a:moveTo>
                      <a:pt x="296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21" y="0"/>
                      <a:pt x="0" y="19"/>
                      <a:pt x="0" y="43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0" y="240"/>
                      <a:pt x="21" y="259"/>
                      <a:pt x="47" y="259"/>
                    </a:cubicBezTo>
                    <a:cubicBezTo>
                      <a:pt x="146" y="259"/>
                      <a:pt x="146" y="259"/>
                      <a:pt x="146" y="259"/>
                    </a:cubicBezTo>
                    <a:cubicBezTo>
                      <a:pt x="146" y="306"/>
                      <a:pt x="146" y="306"/>
                      <a:pt x="146" y="306"/>
                    </a:cubicBezTo>
                    <a:cubicBezTo>
                      <a:pt x="109" y="311"/>
                      <a:pt x="83" y="325"/>
                      <a:pt x="83" y="342"/>
                    </a:cubicBezTo>
                    <a:cubicBezTo>
                      <a:pt x="260" y="342"/>
                      <a:pt x="260" y="342"/>
                      <a:pt x="260" y="342"/>
                    </a:cubicBezTo>
                    <a:cubicBezTo>
                      <a:pt x="260" y="325"/>
                      <a:pt x="234" y="311"/>
                      <a:pt x="197" y="306"/>
                    </a:cubicBezTo>
                    <a:cubicBezTo>
                      <a:pt x="197" y="259"/>
                      <a:pt x="197" y="259"/>
                      <a:pt x="197" y="259"/>
                    </a:cubicBezTo>
                    <a:cubicBezTo>
                      <a:pt x="296" y="259"/>
                      <a:pt x="296" y="259"/>
                      <a:pt x="296" y="259"/>
                    </a:cubicBezTo>
                    <a:cubicBezTo>
                      <a:pt x="322" y="259"/>
                      <a:pt x="343" y="240"/>
                      <a:pt x="343" y="216"/>
                    </a:cubicBezTo>
                    <a:cubicBezTo>
                      <a:pt x="343" y="43"/>
                      <a:pt x="343" y="43"/>
                      <a:pt x="343" y="43"/>
                    </a:cubicBezTo>
                    <a:cubicBezTo>
                      <a:pt x="343" y="19"/>
                      <a:pt x="322" y="0"/>
                      <a:pt x="296" y="0"/>
                    </a:cubicBezTo>
                    <a:close/>
                    <a:moveTo>
                      <a:pt x="308" y="216"/>
                    </a:moveTo>
                    <a:cubicBezTo>
                      <a:pt x="308" y="222"/>
                      <a:pt x="303" y="227"/>
                      <a:pt x="296" y="227"/>
                    </a:cubicBezTo>
                    <a:cubicBezTo>
                      <a:pt x="47" y="227"/>
                      <a:pt x="47" y="227"/>
                      <a:pt x="47" y="227"/>
                    </a:cubicBezTo>
                    <a:cubicBezTo>
                      <a:pt x="40" y="227"/>
                      <a:pt x="35" y="222"/>
                      <a:pt x="35" y="21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5" y="37"/>
                      <a:pt x="40" y="32"/>
                      <a:pt x="47" y="32"/>
                    </a:cubicBezTo>
                    <a:cubicBezTo>
                      <a:pt x="296" y="32"/>
                      <a:pt x="296" y="32"/>
                      <a:pt x="296" y="32"/>
                    </a:cubicBezTo>
                    <a:cubicBezTo>
                      <a:pt x="303" y="32"/>
                      <a:pt x="308" y="37"/>
                      <a:pt x="308" y="43"/>
                    </a:cubicBezTo>
                    <a:lnTo>
                      <a:pt x="308" y="2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3" presetClass="path" presetSubtype="0" accel="50000" decel="50000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72222E-6 -2.34568E-6 L 0.03889 -2.34568E-6 " pathEditMode="relative" rAng="0" ptsTypes="AA">
                                      <p:cBhvr>
                                        <p:cTn id="39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44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5" presetClass="path" presetSubtype="0" accel="50000" decel="50000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1.38889E-6 1.60494E-6 L -0.04618 1.60494E-6 " pathEditMode="relative" rAng="0" ptsTypes="AA">
                                      <p:cBhvr>
                                        <p:cTn id="4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0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9"/>
          <p:cNvSpPr>
            <a:spLocks noChangeArrowheads="1"/>
          </p:cNvSpPr>
          <p:nvPr/>
        </p:nvSpPr>
        <p:spPr bwMode="auto">
          <a:xfrm>
            <a:off x="0" y="1588"/>
            <a:ext cx="9144000" cy="5143500"/>
          </a:xfrm>
          <a:prstGeom prst="rect">
            <a:avLst/>
          </a:prstGeom>
          <a:solidFill>
            <a:srgbClr val="36A6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37891" name="组合 8"/>
          <p:cNvGrpSpPr/>
          <p:nvPr/>
        </p:nvGrpSpPr>
        <p:grpSpPr bwMode="auto">
          <a:xfrm>
            <a:off x="2984500" y="571500"/>
            <a:ext cx="5424488" cy="4575175"/>
            <a:chOff x="2984848" y="571952"/>
            <a:chExt cx="5424172" cy="4574977"/>
          </a:xfrm>
        </p:grpSpPr>
        <p:sp>
          <p:nvSpPr>
            <p:cNvPr id="37952" name="Freeform 26"/>
            <p:cNvSpPr/>
            <p:nvPr/>
          </p:nvSpPr>
          <p:spPr bwMode="auto">
            <a:xfrm>
              <a:off x="3252368" y="1424118"/>
              <a:ext cx="3738875" cy="3722811"/>
            </a:xfrm>
            <a:custGeom>
              <a:avLst/>
              <a:gdLst>
                <a:gd name="T0" fmla="*/ 22128 w 3738875"/>
                <a:gd name="T1" fmla="*/ 0 h 3722811"/>
                <a:gd name="T2" fmla="*/ 3738875 w 3738875"/>
                <a:gd name="T3" fmla="*/ 3722811 h 3722811"/>
                <a:gd name="T4" fmla="*/ 3639548 w 3738875"/>
                <a:gd name="T5" fmla="*/ 3722811 h 3722811"/>
                <a:gd name="T6" fmla="*/ 0 w 3738875"/>
                <a:gd name="T7" fmla="*/ 89074 h 3722811"/>
                <a:gd name="T8" fmla="*/ 22128 w 3738875"/>
                <a:gd name="T9" fmla="*/ 0 h 37228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38875" h="3722811">
                  <a:moveTo>
                    <a:pt x="22128" y="0"/>
                  </a:moveTo>
                  <a:lnTo>
                    <a:pt x="3738875" y="3722811"/>
                  </a:lnTo>
                  <a:lnTo>
                    <a:pt x="3639548" y="3722811"/>
                  </a:lnTo>
                  <a:lnTo>
                    <a:pt x="0" y="89074"/>
                  </a:lnTo>
                  <a:cubicBezTo>
                    <a:pt x="7465" y="59291"/>
                    <a:pt x="14663" y="29783"/>
                    <a:pt x="22128" y="0"/>
                  </a:cubicBez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3" name="任意多边形 58"/>
            <p:cNvSpPr/>
            <p:nvPr/>
          </p:nvSpPr>
          <p:spPr bwMode="auto">
            <a:xfrm>
              <a:off x="3749618" y="597277"/>
              <a:ext cx="4659402" cy="4549652"/>
            </a:xfrm>
            <a:custGeom>
              <a:avLst/>
              <a:gdLst>
                <a:gd name="T0" fmla="*/ 60324 w 4659402"/>
                <a:gd name="T1" fmla="*/ 0 h 4549652"/>
                <a:gd name="T2" fmla="*/ 4659402 w 4659402"/>
                <a:gd name="T3" fmla="*/ 4549652 h 4549652"/>
                <a:gd name="T4" fmla="*/ 4533212 w 4659402"/>
                <a:gd name="T5" fmla="*/ 4549652 h 4549652"/>
                <a:gd name="T6" fmla="*/ 0 w 4659402"/>
                <a:gd name="T7" fmla="*/ 58738 h 4549652"/>
                <a:gd name="T8" fmla="*/ 60324 w 4659402"/>
                <a:gd name="T9" fmla="*/ 0 h 45496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59402" h="4549652">
                  <a:moveTo>
                    <a:pt x="60324" y="0"/>
                  </a:moveTo>
                  <a:lnTo>
                    <a:pt x="4659402" y="4549652"/>
                  </a:lnTo>
                  <a:lnTo>
                    <a:pt x="4533212" y="4549652"/>
                  </a:lnTo>
                  <a:lnTo>
                    <a:pt x="0" y="58738"/>
                  </a:lnTo>
                  <a:lnTo>
                    <a:pt x="60324" y="0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4" name="Freeform 26"/>
            <p:cNvSpPr/>
            <p:nvPr/>
          </p:nvSpPr>
          <p:spPr bwMode="auto">
            <a:xfrm>
              <a:off x="2984848" y="571952"/>
              <a:ext cx="4589652" cy="4574977"/>
            </a:xfrm>
            <a:custGeom>
              <a:avLst/>
              <a:gdLst>
                <a:gd name="T0" fmla="*/ 22128 w 4589652"/>
                <a:gd name="T1" fmla="*/ 0 h 4574977"/>
                <a:gd name="T2" fmla="*/ 4589652 w 4589652"/>
                <a:gd name="T3" fmla="*/ 4574977 h 4574977"/>
                <a:gd name="T4" fmla="*/ 4493077 w 4589652"/>
                <a:gd name="T5" fmla="*/ 4574977 h 4574977"/>
                <a:gd name="T6" fmla="*/ 0 w 4589652"/>
                <a:gd name="T7" fmla="*/ 89074 h 4574977"/>
                <a:gd name="T8" fmla="*/ 22128 w 4589652"/>
                <a:gd name="T9" fmla="*/ 0 h 45749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89652" h="4574977">
                  <a:moveTo>
                    <a:pt x="22128" y="0"/>
                  </a:moveTo>
                  <a:lnTo>
                    <a:pt x="4589652" y="4574977"/>
                  </a:lnTo>
                  <a:lnTo>
                    <a:pt x="4493077" y="4574977"/>
                  </a:lnTo>
                  <a:lnTo>
                    <a:pt x="0" y="89074"/>
                  </a:lnTo>
                  <a:cubicBezTo>
                    <a:pt x="7465" y="59291"/>
                    <a:pt x="14663" y="29783"/>
                    <a:pt x="22128" y="0"/>
                  </a:cubicBez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5" name="Freeform 27"/>
            <p:cNvSpPr/>
            <p:nvPr/>
          </p:nvSpPr>
          <p:spPr bwMode="auto">
            <a:xfrm>
              <a:off x="3290640" y="648401"/>
              <a:ext cx="4680919" cy="4498528"/>
            </a:xfrm>
            <a:custGeom>
              <a:avLst/>
              <a:gdLst>
                <a:gd name="T0" fmla="*/ 164033 w 4680919"/>
                <a:gd name="T1" fmla="*/ 0 h 4498528"/>
                <a:gd name="T2" fmla="*/ 4680919 w 4680919"/>
                <a:gd name="T3" fmla="*/ 4498528 h 4498528"/>
                <a:gd name="T4" fmla="*/ 4314329 w 4680919"/>
                <a:gd name="T5" fmla="*/ 4498528 h 4498528"/>
                <a:gd name="T6" fmla="*/ 0 w 4680919"/>
                <a:gd name="T7" fmla="*/ 164073 h 4498528"/>
                <a:gd name="T8" fmla="*/ 164033 w 4680919"/>
                <a:gd name="T9" fmla="*/ 0 h 44985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80919" h="4498528">
                  <a:moveTo>
                    <a:pt x="164033" y="0"/>
                  </a:moveTo>
                  <a:lnTo>
                    <a:pt x="4680919" y="4498528"/>
                  </a:lnTo>
                  <a:lnTo>
                    <a:pt x="4314329" y="4498528"/>
                  </a:lnTo>
                  <a:lnTo>
                    <a:pt x="0" y="164073"/>
                  </a:lnTo>
                  <a:lnTo>
                    <a:pt x="164033" y="0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6" name="Freeform 25"/>
            <p:cNvSpPr/>
            <p:nvPr/>
          </p:nvSpPr>
          <p:spPr bwMode="auto">
            <a:xfrm>
              <a:off x="3483846" y="1439296"/>
              <a:ext cx="2166972" cy="2222572"/>
            </a:xfrm>
            <a:custGeom>
              <a:avLst/>
              <a:gdLst>
                <a:gd name="T0" fmla="*/ 2147483646 w 1559"/>
                <a:gd name="T1" fmla="*/ 2147483646 h 1599"/>
                <a:gd name="T2" fmla="*/ 2147483646 w 1559"/>
                <a:gd name="T3" fmla="*/ 0 h 1599"/>
                <a:gd name="T4" fmla="*/ 0 w 1559"/>
                <a:gd name="T5" fmla="*/ 2147483646 h 1599"/>
                <a:gd name="T6" fmla="*/ 2147483646 w 1559"/>
                <a:gd name="T7" fmla="*/ 2147483646 h 1599"/>
                <a:gd name="T8" fmla="*/ 2147483646 w 1559"/>
                <a:gd name="T9" fmla="*/ 2147483646 h 15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59" h="1599">
                  <a:moveTo>
                    <a:pt x="1559" y="1516"/>
                  </a:moveTo>
                  <a:lnTo>
                    <a:pt x="42" y="0"/>
                  </a:lnTo>
                  <a:lnTo>
                    <a:pt x="0" y="42"/>
                  </a:lnTo>
                  <a:lnTo>
                    <a:pt x="1559" y="1599"/>
                  </a:lnTo>
                  <a:lnTo>
                    <a:pt x="1559" y="1516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" name="椭圆 36"/>
            <p:cNvSpPr/>
            <p:nvPr/>
          </p:nvSpPr>
          <p:spPr>
            <a:xfrm flipV="1">
              <a:off x="4984981" y="4143672"/>
              <a:ext cx="36511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5" name="椭圆 134"/>
            <p:cNvSpPr/>
            <p:nvPr/>
          </p:nvSpPr>
          <p:spPr>
            <a:xfrm flipV="1">
              <a:off x="5051653" y="4143672"/>
              <a:ext cx="34923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6" name="椭圆 135"/>
            <p:cNvSpPr/>
            <p:nvPr/>
          </p:nvSpPr>
          <p:spPr>
            <a:xfrm flipV="1">
              <a:off x="5119912" y="4143672"/>
              <a:ext cx="36510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7" name="椭圆 136"/>
            <p:cNvSpPr/>
            <p:nvPr/>
          </p:nvSpPr>
          <p:spPr>
            <a:xfrm flipV="1">
              <a:off x="5189758" y="4143672"/>
              <a:ext cx="34923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</p:grpSp>
      <p:grpSp>
        <p:nvGrpSpPr>
          <p:cNvPr id="37892" name="组合 6"/>
          <p:cNvGrpSpPr/>
          <p:nvPr/>
        </p:nvGrpSpPr>
        <p:grpSpPr bwMode="auto">
          <a:xfrm>
            <a:off x="1000125" y="2003425"/>
            <a:ext cx="1233488" cy="1239838"/>
            <a:chOff x="999430" y="2002807"/>
            <a:chExt cx="1233912" cy="1240808"/>
          </a:xfrm>
        </p:grpSpPr>
        <p:sp>
          <p:nvSpPr>
            <p:cNvPr id="37949" name="Freeform 21"/>
            <p:cNvSpPr/>
            <p:nvPr/>
          </p:nvSpPr>
          <p:spPr bwMode="auto">
            <a:xfrm>
              <a:off x="1232946" y="2324841"/>
              <a:ext cx="899314" cy="902095"/>
            </a:xfrm>
            <a:custGeom>
              <a:avLst/>
              <a:gdLst>
                <a:gd name="T0" fmla="*/ 2147483646 w 647"/>
                <a:gd name="T1" fmla="*/ 2147483646 h 649"/>
                <a:gd name="T2" fmla="*/ 2147483646 w 647"/>
                <a:gd name="T3" fmla="*/ 2147483646 h 649"/>
                <a:gd name="T4" fmla="*/ 0 w 647"/>
                <a:gd name="T5" fmla="*/ 2147483646 h 649"/>
                <a:gd name="T6" fmla="*/ 2147483646 w 647"/>
                <a:gd name="T7" fmla="*/ 0 h 649"/>
                <a:gd name="T8" fmla="*/ 2147483646 w 647"/>
                <a:gd name="T9" fmla="*/ 2147483646 h 64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7" h="649">
                  <a:moveTo>
                    <a:pt x="647" y="607"/>
                  </a:moveTo>
                  <a:lnTo>
                    <a:pt x="607" y="649"/>
                  </a:lnTo>
                  <a:lnTo>
                    <a:pt x="0" y="42"/>
                  </a:lnTo>
                  <a:lnTo>
                    <a:pt x="43" y="0"/>
                  </a:lnTo>
                  <a:lnTo>
                    <a:pt x="647" y="60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0" name="Freeform 22"/>
            <p:cNvSpPr/>
            <p:nvPr/>
          </p:nvSpPr>
          <p:spPr bwMode="auto">
            <a:xfrm>
              <a:off x="1269086" y="2002807"/>
              <a:ext cx="964256" cy="978104"/>
            </a:xfrm>
            <a:custGeom>
              <a:avLst/>
              <a:gdLst>
                <a:gd name="T0" fmla="*/ 2147483646 w 9854"/>
                <a:gd name="T1" fmla="*/ 2147483646 h 10024"/>
                <a:gd name="T2" fmla="*/ 2147483646 w 9854"/>
                <a:gd name="T3" fmla="*/ 2147483646 h 10024"/>
                <a:gd name="T4" fmla="*/ 0 w 9854"/>
                <a:gd name="T5" fmla="*/ 2147483646 h 10024"/>
                <a:gd name="T6" fmla="*/ 2147483646 w 9854"/>
                <a:gd name="T7" fmla="*/ 2147483646 h 10024"/>
                <a:gd name="T8" fmla="*/ 2147483646 w 9854"/>
                <a:gd name="T9" fmla="*/ 2147483646 h 10024"/>
                <a:gd name="T10" fmla="*/ 2147483646 w 9854"/>
                <a:gd name="T11" fmla="*/ 0 h 10024"/>
                <a:gd name="T12" fmla="*/ 2147483646 w 9854"/>
                <a:gd name="T13" fmla="*/ 2147483646 h 100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854" h="10024">
                  <a:moveTo>
                    <a:pt x="9854" y="8587"/>
                  </a:moveTo>
                  <a:lnTo>
                    <a:pt x="8324" y="10024"/>
                  </a:lnTo>
                  <a:lnTo>
                    <a:pt x="0" y="1676"/>
                  </a:lnTo>
                  <a:lnTo>
                    <a:pt x="647" y="965"/>
                  </a:lnTo>
                  <a:lnTo>
                    <a:pt x="1213" y="708"/>
                  </a:lnTo>
                  <a:cubicBezTo>
                    <a:pt x="1237" y="391"/>
                    <a:pt x="1214" y="317"/>
                    <a:pt x="1238" y="0"/>
                  </a:cubicBezTo>
                  <a:lnTo>
                    <a:pt x="9854" y="858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1" name="Freeform 23"/>
            <p:cNvSpPr/>
            <p:nvPr/>
          </p:nvSpPr>
          <p:spPr bwMode="auto">
            <a:xfrm>
              <a:off x="999430" y="2344300"/>
              <a:ext cx="900705" cy="899315"/>
            </a:xfrm>
            <a:custGeom>
              <a:avLst/>
              <a:gdLst>
                <a:gd name="T0" fmla="*/ 2147483646 w 648"/>
                <a:gd name="T1" fmla="*/ 2147483646 h 647"/>
                <a:gd name="T2" fmla="*/ 2147483646 w 648"/>
                <a:gd name="T3" fmla="*/ 2147483646 h 647"/>
                <a:gd name="T4" fmla="*/ 0 w 648"/>
                <a:gd name="T5" fmla="*/ 2147483646 h 647"/>
                <a:gd name="T6" fmla="*/ 2147483646 w 648"/>
                <a:gd name="T7" fmla="*/ 0 h 647"/>
                <a:gd name="T8" fmla="*/ 2147483646 w 648"/>
                <a:gd name="T9" fmla="*/ 2147483646 h 6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8" h="647">
                  <a:moveTo>
                    <a:pt x="648" y="607"/>
                  </a:moveTo>
                  <a:lnTo>
                    <a:pt x="607" y="647"/>
                  </a:lnTo>
                  <a:lnTo>
                    <a:pt x="0" y="42"/>
                  </a:lnTo>
                  <a:lnTo>
                    <a:pt x="40" y="0"/>
                  </a:lnTo>
                  <a:lnTo>
                    <a:pt x="648" y="60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7893" name="Freeform 20"/>
          <p:cNvSpPr/>
          <p:nvPr/>
        </p:nvSpPr>
        <p:spPr bwMode="auto">
          <a:xfrm>
            <a:off x="884238" y="1646238"/>
            <a:ext cx="6500812" cy="3500437"/>
          </a:xfrm>
          <a:custGeom>
            <a:avLst/>
            <a:gdLst>
              <a:gd name="T0" fmla="*/ 3006060 w 6501680"/>
              <a:gd name="T1" fmla="*/ 0 h 3500524"/>
              <a:gd name="T2" fmla="*/ 6499076 w 6501680"/>
              <a:gd name="T3" fmla="*/ 3500263 h 3500524"/>
              <a:gd name="T4" fmla="*/ 1082314 w 6501680"/>
              <a:gd name="T5" fmla="*/ 3500263 h 3500524"/>
              <a:gd name="T6" fmla="*/ 0 w 6501680"/>
              <a:gd name="T7" fmla="*/ 2487831 h 3500524"/>
              <a:gd name="T8" fmla="*/ 3006060 w 6501680"/>
              <a:gd name="T9" fmla="*/ 0 h 35005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501680" h="3500524">
                <a:moveTo>
                  <a:pt x="3007263" y="0"/>
                </a:moveTo>
                <a:lnTo>
                  <a:pt x="6501680" y="3500524"/>
                </a:lnTo>
                <a:lnTo>
                  <a:pt x="1082749" y="3500524"/>
                </a:lnTo>
                <a:lnTo>
                  <a:pt x="0" y="2488017"/>
                </a:lnTo>
                <a:cubicBezTo>
                  <a:pt x="974341" y="1658678"/>
                  <a:pt x="2032922" y="829339"/>
                  <a:pt x="3007263" y="0"/>
                </a:cubicBezTo>
                <a:close/>
              </a:path>
            </a:pathLst>
          </a:custGeom>
          <a:solidFill>
            <a:srgbClr val="2E6F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37894" name="组合 2069"/>
          <p:cNvGrpSpPr/>
          <p:nvPr/>
        </p:nvGrpSpPr>
        <p:grpSpPr bwMode="auto">
          <a:xfrm>
            <a:off x="130175" y="4144963"/>
            <a:ext cx="4786313" cy="28575"/>
            <a:chOff x="3682048" y="3734822"/>
            <a:chExt cx="3763813" cy="28388"/>
          </a:xfrm>
        </p:grpSpPr>
        <p:sp>
          <p:nvSpPr>
            <p:cNvPr id="37947" name="Freeform 51"/>
            <p:cNvSpPr/>
            <p:nvPr/>
          </p:nvSpPr>
          <p:spPr bwMode="auto">
            <a:xfrm>
              <a:off x="3682048" y="3734822"/>
              <a:ext cx="3763813" cy="28388"/>
            </a:xfrm>
            <a:custGeom>
              <a:avLst/>
              <a:gdLst>
                <a:gd name="T0" fmla="*/ 2147483646 w 1151"/>
                <a:gd name="T1" fmla="*/ 2147483646 h 10"/>
                <a:gd name="T2" fmla="*/ 2147483646 w 1151"/>
                <a:gd name="T3" fmla="*/ 2147483646 h 10"/>
                <a:gd name="T4" fmla="*/ 0 w 1151"/>
                <a:gd name="T5" fmla="*/ 2147483646 h 10"/>
                <a:gd name="T6" fmla="*/ 2147483646 w 1151"/>
                <a:gd name="T7" fmla="*/ 0 h 10"/>
                <a:gd name="T8" fmla="*/ 2147483646 w 1151"/>
                <a:gd name="T9" fmla="*/ 0 h 10"/>
                <a:gd name="T10" fmla="*/ 2147483646 w 1151"/>
                <a:gd name="T11" fmla="*/ 2147483646 h 10"/>
                <a:gd name="T12" fmla="*/ 2147483646 w 1151"/>
                <a:gd name="T13" fmla="*/ 2147483646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51" h="10">
                  <a:moveTo>
                    <a:pt x="1146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46" y="0"/>
                    <a:pt x="1146" y="0"/>
                    <a:pt x="1146" y="0"/>
                  </a:cubicBezTo>
                  <a:cubicBezTo>
                    <a:pt x="1149" y="0"/>
                    <a:pt x="1151" y="2"/>
                    <a:pt x="1151" y="5"/>
                  </a:cubicBezTo>
                  <a:cubicBezTo>
                    <a:pt x="1151" y="8"/>
                    <a:pt x="1149" y="10"/>
                    <a:pt x="1146" y="10"/>
                  </a:cubicBezTo>
                  <a:close/>
                </a:path>
              </a:pathLst>
            </a:custGeom>
            <a:solidFill>
              <a:srgbClr val="AFD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12" name="直接连接符 11"/>
            <p:cNvCxnSpPr/>
            <p:nvPr/>
          </p:nvCxnSpPr>
          <p:spPr>
            <a:xfrm>
              <a:off x="3688290" y="3736399"/>
              <a:ext cx="3745087" cy="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895" name="组合 2064"/>
          <p:cNvGrpSpPr/>
          <p:nvPr/>
        </p:nvGrpSpPr>
        <p:grpSpPr bwMode="auto">
          <a:xfrm>
            <a:off x="2930525" y="549275"/>
            <a:ext cx="895350" cy="971550"/>
            <a:chOff x="-1961454" y="4069896"/>
            <a:chExt cx="990600" cy="1074738"/>
          </a:xfrm>
        </p:grpSpPr>
        <p:sp>
          <p:nvSpPr>
            <p:cNvPr id="37941" name="Freeform 40"/>
            <p:cNvSpPr/>
            <p:nvPr/>
          </p:nvSpPr>
          <p:spPr bwMode="auto">
            <a:xfrm>
              <a:off x="-1961454" y="4069896"/>
              <a:ext cx="990600" cy="1074738"/>
            </a:xfrm>
            <a:custGeom>
              <a:avLst/>
              <a:gdLst>
                <a:gd name="T0" fmla="*/ 2147483646 w 264"/>
                <a:gd name="T1" fmla="*/ 2147483646 h 287"/>
                <a:gd name="T2" fmla="*/ 2147483646 w 264"/>
                <a:gd name="T3" fmla="*/ 0 h 287"/>
                <a:gd name="T4" fmla="*/ 2147483646 w 264"/>
                <a:gd name="T5" fmla="*/ 2147483646 h 287"/>
                <a:gd name="T6" fmla="*/ 2147483646 w 264"/>
                <a:gd name="T7" fmla="*/ 2147483646 h 287"/>
                <a:gd name="T8" fmla="*/ 2147483646 w 264"/>
                <a:gd name="T9" fmla="*/ 2147483646 h 287"/>
                <a:gd name="T10" fmla="*/ 2147483646 w 264"/>
                <a:gd name="T11" fmla="*/ 2147483646 h 287"/>
                <a:gd name="T12" fmla="*/ 2147483646 w 264"/>
                <a:gd name="T13" fmla="*/ 2147483646 h 287"/>
                <a:gd name="T14" fmla="*/ 2147483646 w 264"/>
                <a:gd name="T15" fmla="*/ 2147483646 h 287"/>
                <a:gd name="T16" fmla="*/ 2147483646 w 264"/>
                <a:gd name="T17" fmla="*/ 2147483646 h 287"/>
                <a:gd name="T18" fmla="*/ 2147483646 w 264"/>
                <a:gd name="T19" fmla="*/ 2147483646 h 287"/>
                <a:gd name="T20" fmla="*/ 2147483646 w 264"/>
                <a:gd name="T21" fmla="*/ 2147483646 h 287"/>
                <a:gd name="T22" fmla="*/ 2147483646 w 264"/>
                <a:gd name="T23" fmla="*/ 2147483646 h 287"/>
                <a:gd name="T24" fmla="*/ 2147483646 w 264"/>
                <a:gd name="T25" fmla="*/ 2147483646 h 287"/>
                <a:gd name="T26" fmla="*/ 2147483646 w 264"/>
                <a:gd name="T27" fmla="*/ 0 h 287"/>
                <a:gd name="T28" fmla="*/ 0 w 264"/>
                <a:gd name="T29" fmla="*/ 2147483646 h 287"/>
                <a:gd name="T30" fmla="*/ 2147483646 w 264"/>
                <a:gd name="T31" fmla="*/ 2147483646 h 287"/>
                <a:gd name="T32" fmla="*/ 2147483646 w 264"/>
                <a:gd name="T33" fmla="*/ 2147483646 h 287"/>
                <a:gd name="T34" fmla="*/ 2147483646 w 264"/>
                <a:gd name="T35" fmla="*/ 2147483646 h 287"/>
                <a:gd name="T36" fmla="*/ 2147483646 w 264"/>
                <a:gd name="T37" fmla="*/ 2147483646 h 287"/>
                <a:gd name="T38" fmla="*/ 2147483646 w 264"/>
                <a:gd name="T39" fmla="*/ 2147483646 h 287"/>
                <a:gd name="T40" fmla="*/ 2147483646 w 264"/>
                <a:gd name="T41" fmla="*/ 2147483646 h 287"/>
                <a:gd name="T42" fmla="*/ 2147483646 w 264"/>
                <a:gd name="T43" fmla="*/ 2147483646 h 287"/>
                <a:gd name="T44" fmla="*/ 2147483646 w 264"/>
                <a:gd name="T45" fmla="*/ 2147483646 h 287"/>
                <a:gd name="T46" fmla="*/ 2147483646 w 264"/>
                <a:gd name="T47" fmla="*/ 2147483646 h 287"/>
                <a:gd name="T48" fmla="*/ 2147483646 w 264"/>
                <a:gd name="T49" fmla="*/ 2147483646 h 287"/>
                <a:gd name="T50" fmla="*/ 2147483646 w 264"/>
                <a:gd name="T51" fmla="*/ 2147483646 h 287"/>
                <a:gd name="T52" fmla="*/ 2147483646 w 264"/>
                <a:gd name="T53" fmla="*/ 2147483646 h 287"/>
                <a:gd name="T54" fmla="*/ 2147483646 w 264"/>
                <a:gd name="T55" fmla="*/ 2147483646 h 287"/>
                <a:gd name="T56" fmla="*/ 2147483646 w 264"/>
                <a:gd name="T57" fmla="*/ 2147483646 h 287"/>
                <a:gd name="T58" fmla="*/ 2147483646 w 264"/>
                <a:gd name="T59" fmla="*/ 2147483646 h 287"/>
                <a:gd name="T60" fmla="*/ 2147483646 w 264"/>
                <a:gd name="T61" fmla="*/ 2147483646 h 287"/>
                <a:gd name="T62" fmla="*/ 2147483646 w 264"/>
                <a:gd name="T63" fmla="*/ 2147483646 h 287"/>
                <a:gd name="T64" fmla="*/ 2147483646 w 264"/>
                <a:gd name="T65" fmla="*/ 2147483646 h 287"/>
                <a:gd name="T66" fmla="*/ 2147483646 w 264"/>
                <a:gd name="T67" fmla="*/ 2147483646 h 287"/>
                <a:gd name="T68" fmla="*/ 2147483646 w 264"/>
                <a:gd name="T69" fmla="*/ 2147483646 h 287"/>
                <a:gd name="T70" fmla="*/ 2147483646 w 264"/>
                <a:gd name="T71" fmla="*/ 2147483646 h 287"/>
                <a:gd name="T72" fmla="*/ 2147483646 w 264"/>
                <a:gd name="T73" fmla="*/ 2147483646 h 28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64" h="287">
                  <a:moveTo>
                    <a:pt x="264" y="14"/>
                  </a:moveTo>
                  <a:cubicBezTo>
                    <a:pt x="264" y="6"/>
                    <a:pt x="257" y="0"/>
                    <a:pt x="249" y="0"/>
                  </a:cubicBezTo>
                  <a:cubicBezTo>
                    <a:pt x="244" y="0"/>
                    <a:pt x="238" y="4"/>
                    <a:pt x="236" y="9"/>
                  </a:cubicBezTo>
                  <a:cubicBezTo>
                    <a:pt x="227" y="20"/>
                    <a:pt x="213" y="31"/>
                    <a:pt x="203" y="38"/>
                  </a:cubicBezTo>
                  <a:cubicBezTo>
                    <a:pt x="190" y="47"/>
                    <a:pt x="163" y="66"/>
                    <a:pt x="152" y="58"/>
                  </a:cubicBezTo>
                  <a:cubicBezTo>
                    <a:pt x="148" y="55"/>
                    <a:pt x="147" y="49"/>
                    <a:pt x="151" y="43"/>
                  </a:cubicBezTo>
                  <a:cubicBezTo>
                    <a:pt x="154" y="39"/>
                    <a:pt x="155" y="35"/>
                    <a:pt x="155" y="30"/>
                  </a:cubicBezTo>
                  <a:cubicBezTo>
                    <a:pt x="155" y="17"/>
                    <a:pt x="145" y="7"/>
                    <a:pt x="132" y="7"/>
                  </a:cubicBezTo>
                  <a:cubicBezTo>
                    <a:pt x="119" y="7"/>
                    <a:pt x="109" y="17"/>
                    <a:pt x="109" y="30"/>
                  </a:cubicBezTo>
                  <a:cubicBezTo>
                    <a:pt x="109" y="35"/>
                    <a:pt x="110" y="39"/>
                    <a:pt x="113" y="43"/>
                  </a:cubicBezTo>
                  <a:cubicBezTo>
                    <a:pt x="116" y="49"/>
                    <a:pt x="116" y="55"/>
                    <a:pt x="112" y="58"/>
                  </a:cubicBezTo>
                  <a:cubicBezTo>
                    <a:pt x="101" y="66"/>
                    <a:pt x="74" y="47"/>
                    <a:pt x="61" y="38"/>
                  </a:cubicBezTo>
                  <a:cubicBezTo>
                    <a:pt x="50" y="31"/>
                    <a:pt x="37" y="20"/>
                    <a:pt x="28" y="9"/>
                  </a:cubicBezTo>
                  <a:cubicBezTo>
                    <a:pt x="25" y="4"/>
                    <a:pt x="20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0"/>
                    <a:pt x="4" y="26"/>
                    <a:pt x="9" y="28"/>
                  </a:cubicBezTo>
                  <a:cubicBezTo>
                    <a:pt x="23" y="36"/>
                    <a:pt x="43" y="48"/>
                    <a:pt x="50" y="53"/>
                  </a:cubicBezTo>
                  <a:cubicBezTo>
                    <a:pt x="59" y="59"/>
                    <a:pt x="87" y="79"/>
                    <a:pt x="88" y="97"/>
                  </a:cubicBezTo>
                  <a:cubicBezTo>
                    <a:pt x="89" y="115"/>
                    <a:pt x="85" y="135"/>
                    <a:pt x="85" y="147"/>
                  </a:cubicBezTo>
                  <a:cubicBezTo>
                    <a:pt x="85" y="167"/>
                    <a:pt x="87" y="252"/>
                    <a:pt x="83" y="267"/>
                  </a:cubicBezTo>
                  <a:cubicBezTo>
                    <a:pt x="83" y="268"/>
                    <a:pt x="82" y="269"/>
                    <a:pt x="82" y="271"/>
                  </a:cubicBezTo>
                  <a:cubicBezTo>
                    <a:pt x="82" y="280"/>
                    <a:pt x="89" y="287"/>
                    <a:pt x="98" y="287"/>
                  </a:cubicBezTo>
                  <a:cubicBezTo>
                    <a:pt x="107" y="287"/>
                    <a:pt x="114" y="280"/>
                    <a:pt x="114" y="271"/>
                  </a:cubicBezTo>
                  <a:cubicBezTo>
                    <a:pt x="114" y="269"/>
                    <a:pt x="114" y="268"/>
                    <a:pt x="113" y="266"/>
                  </a:cubicBezTo>
                  <a:cubicBezTo>
                    <a:pt x="110" y="254"/>
                    <a:pt x="113" y="219"/>
                    <a:pt x="114" y="206"/>
                  </a:cubicBezTo>
                  <a:cubicBezTo>
                    <a:pt x="115" y="195"/>
                    <a:pt x="116" y="160"/>
                    <a:pt x="132" y="160"/>
                  </a:cubicBezTo>
                  <a:cubicBezTo>
                    <a:pt x="147" y="160"/>
                    <a:pt x="149" y="195"/>
                    <a:pt x="150" y="206"/>
                  </a:cubicBezTo>
                  <a:cubicBezTo>
                    <a:pt x="150" y="219"/>
                    <a:pt x="154" y="254"/>
                    <a:pt x="150" y="266"/>
                  </a:cubicBezTo>
                  <a:cubicBezTo>
                    <a:pt x="150" y="268"/>
                    <a:pt x="150" y="269"/>
                    <a:pt x="150" y="271"/>
                  </a:cubicBezTo>
                  <a:cubicBezTo>
                    <a:pt x="150" y="280"/>
                    <a:pt x="157" y="287"/>
                    <a:pt x="166" y="287"/>
                  </a:cubicBezTo>
                  <a:cubicBezTo>
                    <a:pt x="174" y="287"/>
                    <a:pt x="181" y="280"/>
                    <a:pt x="181" y="271"/>
                  </a:cubicBezTo>
                  <a:cubicBezTo>
                    <a:pt x="181" y="269"/>
                    <a:pt x="181" y="268"/>
                    <a:pt x="181" y="267"/>
                  </a:cubicBezTo>
                  <a:cubicBezTo>
                    <a:pt x="177" y="252"/>
                    <a:pt x="179" y="167"/>
                    <a:pt x="179" y="147"/>
                  </a:cubicBezTo>
                  <a:cubicBezTo>
                    <a:pt x="179" y="135"/>
                    <a:pt x="175" y="115"/>
                    <a:pt x="176" y="97"/>
                  </a:cubicBezTo>
                  <a:cubicBezTo>
                    <a:pt x="177" y="79"/>
                    <a:pt x="205" y="59"/>
                    <a:pt x="214" y="53"/>
                  </a:cubicBezTo>
                  <a:cubicBezTo>
                    <a:pt x="220" y="48"/>
                    <a:pt x="241" y="36"/>
                    <a:pt x="254" y="28"/>
                  </a:cubicBezTo>
                  <a:cubicBezTo>
                    <a:pt x="260" y="26"/>
                    <a:pt x="264" y="20"/>
                    <a:pt x="264" y="14"/>
                  </a:cubicBezTo>
                  <a:close/>
                </a:path>
              </a:pathLst>
            </a:custGeom>
            <a:solidFill>
              <a:srgbClr val="F29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2" name="Freeform 41"/>
            <p:cNvSpPr/>
            <p:nvPr/>
          </p:nvSpPr>
          <p:spPr bwMode="auto">
            <a:xfrm>
              <a:off x="-1394717" y="4081009"/>
              <a:ext cx="404813" cy="231775"/>
            </a:xfrm>
            <a:custGeom>
              <a:avLst/>
              <a:gdLst>
                <a:gd name="T0" fmla="*/ 2147483646 w 108"/>
                <a:gd name="T1" fmla="*/ 2147483646 h 62"/>
                <a:gd name="T2" fmla="*/ 2147483646 w 108"/>
                <a:gd name="T3" fmla="*/ 2147483646 h 62"/>
                <a:gd name="T4" fmla="*/ 2147483646 w 108"/>
                <a:gd name="T5" fmla="*/ 2147483646 h 62"/>
                <a:gd name="T6" fmla="*/ 2147483646 w 108"/>
                <a:gd name="T7" fmla="*/ 2147483646 h 62"/>
                <a:gd name="T8" fmla="*/ 2147483646 w 108"/>
                <a:gd name="T9" fmla="*/ 2147483646 h 62"/>
                <a:gd name="T10" fmla="*/ 2147483646 w 108"/>
                <a:gd name="T11" fmla="*/ 2147483646 h 62"/>
                <a:gd name="T12" fmla="*/ 2147483646 w 108"/>
                <a:gd name="T13" fmla="*/ 2147483646 h 62"/>
                <a:gd name="T14" fmla="*/ 2147483646 w 108"/>
                <a:gd name="T15" fmla="*/ 2147483646 h 62"/>
                <a:gd name="T16" fmla="*/ 2147483646 w 108"/>
                <a:gd name="T17" fmla="*/ 2147483646 h 62"/>
                <a:gd name="T18" fmla="*/ 2147483646 w 108"/>
                <a:gd name="T19" fmla="*/ 2147483646 h 62"/>
                <a:gd name="T20" fmla="*/ 2147483646 w 108"/>
                <a:gd name="T21" fmla="*/ 0 h 62"/>
                <a:gd name="T22" fmla="*/ 2147483646 w 108"/>
                <a:gd name="T23" fmla="*/ 2147483646 h 62"/>
                <a:gd name="T24" fmla="*/ 2147483646 w 108"/>
                <a:gd name="T25" fmla="*/ 2147483646 h 62"/>
                <a:gd name="T26" fmla="*/ 2147483646 w 108"/>
                <a:gd name="T27" fmla="*/ 2147483646 h 62"/>
                <a:gd name="T28" fmla="*/ 2147483646 w 108"/>
                <a:gd name="T29" fmla="*/ 2147483646 h 62"/>
                <a:gd name="T30" fmla="*/ 2147483646 w 108"/>
                <a:gd name="T31" fmla="*/ 2147483646 h 62"/>
                <a:gd name="T32" fmla="*/ 0 w 108"/>
                <a:gd name="T33" fmla="*/ 2147483646 h 62"/>
                <a:gd name="T34" fmla="*/ 2147483646 w 108"/>
                <a:gd name="T35" fmla="*/ 2147483646 h 6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8" h="62">
                  <a:moveTo>
                    <a:pt x="3" y="61"/>
                  </a:moveTo>
                  <a:cubicBezTo>
                    <a:pt x="3" y="61"/>
                    <a:pt x="3" y="61"/>
                    <a:pt x="3" y="61"/>
                  </a:cubicBezTo>
                  <a:cubicBezTo>
                    <a:pt x="4" y="62"/>
                    <a:pt x="6" y="62"/>
                    <a:pt x="7" y="62"/>
                  </a:cubicBezTo>
                  <a:cubicBezTo>
                    <a:pt x="21" y="62"/>
                    <a:pt x="39" y="50"/>
                    <a:pt x="55" y="39"/>
                  </a:cubicBezTo>
                  <a:cubicBezTo>
                    <a:pt x="62" y="34"/>
                    <a:pt x="78" y="22"/>
                    <a:pt x="89" y="9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1" y="4"/>
                    <a:pt x="95" y="2"/>
                    <a:pt x="98" y="2"/>
                  </a:cubicBezTo>
                  <a:cubicBezTo>
                    <a:pt x="101" y="2"/>
                    <a:pt x="103" y="3"/>
                    <a:pt x="104" y="4"/>
                  </a:cubicBezTo>
                  <a:cubicBezTo>
                    <a:pt x="105" y="4"/>
                    <a:pt x="107" y="5"/>
                    <a:pt x="108" y="5"/>
                  </a:cubicBezTo>
                  <a:cubicBezTo>
                    <a:pt x="106" y="2"/>
                    <a:pt x="102" y="0"/>
                    <a:pt x="98" y="0"/>
                  </a:cubicBezTo>
                  <a:cubicBezTo>
                    <a:pt x="94" y="0"/>
                    <a:pt x="90" y="3"/>
                    <a:pt x="88" y="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77" y="21"/>
                    <a:pt x="61" y="33"/>
                    <a:pt x="54" y="37"/>
                  </a:cubicBezTo>
                  <a:cubicBezTo>
                    <a:pt x="43" y="45"/>
                    <a:pt x="21" y="60"/>
                    <a:pt x="7" y="60"/>
                  </a:cubicBezTo>
                  <a:cubicBezTo>
                    <a:pt x="4" y="60"/>
                    <a:pt x="2" y="59"/>
                    <a:pt x="0" y="58"/>
                  </a:cubicBezTo>
                  <a:cubicBezTo>
                    <a:pt x="0" y="59"/>
                    <a:pt x="1" y="60"/>
                    <a:pt x="3" y="6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3" name="Freeform 42"/>
            <p:cNvSpPr/>
            <p:nvPr/>
          </p:nvSpPr>
          <p:spPr bwMode="auto">
            <a:xfrm>
              <a:off x="-1832867" y="4106409"/>
              <a:ext cx="423863" cy="206375"/>
            </a:xfrm>
            <a:custGeom>
              <a:avLst/>
              <a:gdLst>
                <a:gd name="T0" fmla="*/ 2147483646 w 113"/>
                <a:gd name="T1" fmla="*/ 2147483646 h 55"/>
                <a:gd name="T2" fmla="*/ 2147483646 w 113"/>
                <a:gd name="T3" fmla="*/ 2147483646 h 55"/>
                <a:gd name="T4" fmla="*/ 2147483646 w 113"/>
                <a:gd name="T5" fmla="*/ 2147483646 h 55"/>
                <a:gd name="T6" fmla="*/ 2147483646 w 113"/>
                <a:gd name="T7" fmla="*/ 2147483646 h 55"/>
                <a:gd name="T8" fmla="*/ 2147483646 w 113"/>
                <a:gd name="T9" fmla="*/ 2147483646 h 55"/>
                <a:gd name="T10" fmla="*/ 2147483646 w 113"/>
                <a:gd name="T11" fmla="*/ 2147483646 h 55"/>
                <a:gd name="T12" fmla="*/ 2147483646 w 113"/>
                <a:gd name="T13" fmla="*/ 2147483646 h 55"/>
                <a:gd name="T14" fmla="*/ 2147483646 w 113"/>
                <a:gd name="T15" fmla="*/ 2147483646 h 55"/>
                <a:gd name="T16" fmla="*/ 2147483646 w 113"/>
                <a:gd name="T17" fmla="*/ 2147483646 h 55"/>
                <a:gd name="T18" fmla="*/ 2147483646 w 113"/>
                <a:gd name="T19" fmla="*/ 2147483646 h 55"/>
                <a:gd name="T20" fmla="*/ 2147483646 w 113"/>
                <a:gd name="T21" fmla="*/ 0 h 55"/>
                <a:gd name="T22" fmla="*/ 2147483646 w 113"/>
                <a:gd name="T23" fmla="*/ 2147483646 h 55"/>
                <a:gd name="T24" fmla="*/ 2147483646 w 113"/>
                <a:gd name="T25" fmla="*/ 2147483646 h 55"/>
                <a:gd name="T26" fmla="*/ 2147483646 w 113"/>
                <a:gd name="T27" fmla="*/ 2147483646 h 55"/>
                <a:gd name="T28" fmla="*/ 2147483646 w 113"/>
                <a:gd name="T29" fmla="*/ 2147483646 h 55"/>
                <a:gd name="T30" fmla="*/ 2147483646 w 113"/>
                <a:gd name="T31" fmla="*/ 2147483646 h 55"/>
                <a:gd name="T32" fmla="*/ 0 w 113"/>
                <a:gd name="T33" fmla="*/ 2147483646 h 55"/>
                <a:gd name="T34" fmla="*/ 2147483646 w 113"/>
                <a:gd name="T35" fmla="*/ 2147483646 h 55"/>
                <a:gd name="T36" fmla="*/ 2147483646 w 113"/>
                <a:gd name="T37" fmla="*/ 2147483646 h 5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3" h="55">
                  <a:moveTo>
                    <a:pt x="57" y="51"/>
                  </a:moveTo>
                  <a:cubicBezTo>
                    <a:pt x="62" y="53"/>
                    <a:pt x="67" y="55"/>
                    <a:pt x="71" y="55"/>
                  </a:cubicBezTo>
                  <a:cubicBezTo>
                    <a:pt x="75" y="55"/>
                    <a:pt x="78" y="54"/>
                    <a:pt x="81" y="52"/>
                  </a:cubicBezTo>
                  <a:cubicBezTo>
                    <a:pt x="86" y="48"/>
                    <a:pt x="87" y="42"/>
                    <a:pt x="85" y="35"/>
                  </a:cubicBezTo>
                  <a:cubicBezTo>
                    <a:pt x="85" y="35"/>
                    <a:pt x="85" y="34"/>
                    <a:pt x="85" y="34"/>
                  </a:cubicBezTo>
                  <a:cubicBezTo>
                    <a:pt x="84" y="33"/>
                    <a:pt x="83" y="31"/>
                    <a:pt x="82" y="29"/>
                  </a:cubicBezTo>
                  <a:cubicBezTo>
                    <a:pt x="81" y="26"/>
                    <a:pt x="80" y="23"/>
                    <a:pt x="80" y="20"/>
                  </a:cubicBezTo>
                  <a:cubicBezTo>
                    <a:pt x="80" y="10"/>
                    <a:pt x="88" y="2"/>
                    <a:pt x="98" y="2"/>
                  </a:cubicBezTo>
                  <a:cubicBezTo>
                    <a:pt x="101" y="2"/>
                    <a:pt x="105" y="3"/>
                    <a:pt x="107" y="5"/>
                  </a:cubicBezTo>
                  <a:cubicBezTo>
                    <a:pt x="110" y="5"/>
                    <a:pt x="112" y="7"/>
                    <a:pt x="113" y="8"/>
                  </a:cubicBezTo>
                  <a:cubicBezTo>
                    <a:pt x="110" y="3"/>
                    <a:pt x="104" y="0"/>
                    <a:pt x="98" y="0"/>
                  </a:cubicBezTo>
                  <a:cubicBezTo>
                    <a:pt x="87" y="0"/>
                    <a:pt x="78" y="9"/>
                    <a:pt x="78" y="20"/>
                  </a:cubicBezTo>
                  <a:cubicBezTo>
                    <a:pt x="78" y="24"/>
                    <a:pt x="79" y="28"/>
                    <a:pt x="81" y="31"/>
                  </a:cubicBezTo>
                  <a:cubicBezTo>
                    <a:pt x="86" y="39"/>
                    <a:pt x="85" y="47"/>
                    <a:pt x="80" y="51"/>
                  </a:cubicBezTo>
                  <a:cubicBezTo>
                    <a:pt x="77" y="52"/>
                    <a:pt x="75" y="53"/>
                    <a:pt x="71" y="53"/>
                  </a:cubicBezTo>
                  <a:cubicBezTo>
                    <a:pt x="57" y="53"/>
                    <a:pt x="36" y="38"/>
                    <a:pt x="25" y="30"/>
                  </a:cubicBezTo>
                  <a:cubicBezTo>
                    <a:pt x="20" y="27"/>
                    <a:pt x="9" y="19"/>
                    <a:pt x="0" y="10"/>
                  </a:cubicBezTo>
                  <a:cubicBezTo>
                    <a:pt x="10" y="21"/>
                    <a:pt x="23" y="30"/>
                    <a:pt x="28" y="34"/>
                  </a:cubicBezTo>
                  <a:cubicBezTo>
                    <a:pt x="35" y="39"/>
                    <a:pt x="46" y="46"/>
                    <a:pt x="57" y="5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4" name="Freeform 43"/>
            <p:cNvSpPr/>
            <p:nvPr/>
          </p:nvSpPr>
          <p:spPr bwMode="auto">
            <a:xfrm>
              <a:off x="-1675704" y="4335009"/>
              <a:ext cx="63500" cy="787400"/>
            </a:xfrm>
            <a:custGeom>
              <a:avLst/>
              <a:gdLst>
                <a:gd name="T0" fmla="*/ 2147483646 w 17"/>
                <a:gd name="T1" fmla="*/ 2147483646 h 210"/>
                <a:gd name="T2" fmla="*/ 2147483646 w 17"/>
                <a:gd name="T3" fmla="*/ 2147483646 h 210"/>
                <a:gd name="T4" fmla="*/ 2147483646 w 17"/>
                <a:gd name="T5" fmla="*/ 2147483646 h 210"/>
                <a:gd name="T6" fmla="*/ 2147483646 w 17"/>
                <a:gd name="T7" fmla="*/ 2147483646 h 210"/>
                <a:gd name="T8" fmla="*/ 2147483646 w 17"/>
                <a:gd name="T9" fmla="*/ 2147483646 h 210"/>
                <a:gd name="T10" fmla="*/ 2147483646 w 17"/>
                <a:gd name="T11" fmla="*/ 2147483646 h 210"/>
                <a:gd name="T12" fmla="*/ 2147483646 w 17"/>
                <a:gd name="T13" fmla="*/ 2147483646 h 210"/>
                <a:gd name="T14" fmla="*/ 0 w 17"/>
                <a:gd name="T15" fmla="*/ 0 h 210"/>
                <a:gd name="T16" fmla="*/ 2147483646 w 17"/>
                <a:gd name="T17" fmla="*/ 2147483646 h 210"/>
                <a:gd name="T18" fmla="*/ 2147483646 w 17"/>
                <a:gd name="T19" fmla="*/ 2147483646 h 210"/>
                <a:gd name="T20" fmla="*/ 2147483646 w 17"/>
                <a:gd name="T21" fmla="*/ 2147483646 h 210"/>
                <a:gd name="T22" fmla="*/ 2147483646 w 17"/>
                <a:gd name="T23" fmla="*/ 2147483646 h 210"/>
                <a:gd name="T24" fmla="*/ 2147483646 w 17"/>
                <a:gd name="T25" fmla="*/ 2147483646 h 210"/>
                <a:gd name="T26" fmla="*/ 2147483646 w 17"/>
                <a:gd name="T27" fmla="*/ 2147483646 h 210"/>
                <a:gd name="T28" fmla="*/ 2147483646 w 17"/>
                <a:gd name="T29" fmla="*/ 2147483646 h 210"/>
                <a:gd name="T30" fmla="*/ 2147483646 w 17"/>
                <a:gd name="T31" fmla="*/ 2147483646 h 210"/>
                <a:gd name="T32" fmla="*/ 2147483646 w 17"/>
                <a:gd name="T33" fmla="*/ 2147483646 h 2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7" h="210">
                  <a:moveTo>
                    <a:pt x="11" y="200"/>
                  </a:moveTo>
                  <a:cubicBezTo>
                    <a:pt x="11" y="199"/>
                    <a:pt x="12" y="198"/>
                    <a:pt x="12" y="197"/>
                  </a:cubicBezTo>
                  <a:cubicBezTo>
                    <a:pt x="15" y="185"/>
                    <a:pt x="14" y="137"/>
                    <a:pt x="14" y="93"/>
                  </a:cubicBezTo>
                  <a:cubicBezTo>
                    <a:pt x="14" y="86"/>
                    <a:pt x="14" y="80"/>
                    <a:pt x="14" y="76"/>
                  </a:cubicBezTo>
                  <a:cubicBezTo>
                    <a:pt x="14" y="72"/>
                    <a:pt x="14" y="66"/>
                    <a:pt x="15" y="59"/>
                  </a:cubicBezTo>
                  <a:cubicBezTo>
                    <a:pt x="16" y="49"/>
                    <a:pt x="17" y="37"/>
                    <a:pt x="17" y="26"/>
                  </a:cubicBezTo>
                  <a:cubicBezTo>
                    <a:pt x="16" y="24"/>
                    <a:pt x="16" y="21"/>
                    <a:pt x="15" y="18"/>
                  </a:cubicBezTo>
                  <a:cubicBezTo>
                    <a:pt x="12" y="12"/>
                    <a:pt x="7" y="6"/>
                    <a:pt x="0" y="0"/>
                  </a:cubicBezTo>
                  <a:cubicBezTo>
                    <a:pt x="10" y="9"/>
                    <a:pt x="15" y="18"/>
                    <a:pt x="15" y="26"/>
                  </a:cubicBezTo>
                  <a:cubicBezTo>
                    <a:pt x="16" y="37"/>
                    <a:pt x="14" y="49"/>
                    <a:pt x="13" y="59"/>
                  </a:cubicBezTo>
                  <a:cubicBezTo>
                    <a:pt x="13" y="66"/>
                    <a:pt x="12" y="72"/>
                    <a:pt x="12" y="76"/>
                  </a:cubicBezTo>
                  <a:cubicBezTo>
                    <a:pt x="12" y="80"/>
                    <a:pt x="12" y="86"/>
                    <a:pt x="12" y="93"/>
                  </a:cubicBezTo>
                  <a:cubicBezTo>
                    <a:pt x="13" y="137"/>
                    <a:pt x="13" y="185"/>
                    <a:pt x="10" y="196"/>
                  </a:cubicBezTo>
                  <a:cubicBezTo>
                    <a:pt x="10" y="197"/>
                    <a:pt x="10" y="199"/>
                    <a:pt x="10" y="200"/>
                  </a:cubicBezTo>
                  <a:cubicBezTo>
                    <a:pt x="10" y="204"/>
                    <a:pt x="12" y="208"/>
                    <a:pt x="15" y="210"/>
                  </a:cubicBezTo>
                  <a:cubicBezTo>
                    <a:pt x="14" y="209"/>
                    <a:pt x="14" y="208"/>
                    <a:pt x="13" y="206"/>
                  </a:cubicBezTo>
                  <a:cubicBezTo>
                    <a:pt x="12" y="204"/>
                    <a:pt x="11" y="202"/>
                    <a:pt x="11" y="200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5" name="Freeform 44"/>
            <p:cNvSpPr/>
            <p:nvPr/>
          </p:nvSpPr>
          <p:spPr bwMode="auto">
            <a:xfrm>
              <a:off x="-1950342" y="4081009"/>
              <a:ext cx="79375" cy="74613"/>
            </a:xfrm>
            <a:custGeom>
              <a:avLst/>
              <a:gdLst>
                <a:gd name="T0" fmla="*/ 2147483646 w 21"/>
                <a:gd name="T1" fmla="*/ 2147483646 h 20"/>
                <a:gd name="T2" fmla="*/ 2147483646 w 21"/>
                <a:gd name="T3" fmla="*/ 2147483646 h 20"/>
                <a:gd name="T4" fmla="*/ 2147483646 w 21"/>
                <a:gd name="T5" fmla="*/ 2147483646 h 20"/>
                <a:gd name="T6" fmla="*/ 2147483646 w 21"/>
                <a:gd name="T7" fmla="*/ 2147483646 h 20"/>
                <a:gd name="T8" fmla="*/ 2147483646 w 21"/>
                <a:gd name="T9" fmla="*/ 0 h 20"/>
                <a:gd name="T10" fmla="*/ 0 w 21"/>
                <a:gd name="T11" fmla="*/ 2147483646 h 20"/>
                <a:gd name="T12" fmla="*/ 2147483646 w 21"/>
                <a:gd name="T13" fmla="*/ 2147483646 h 20"/>
                <a:gd name="T14" fmla="*/ 2147483646 w 21"/>
                <a:gd name="T15" fmla="*/ 2147483646 h 20"/>
                <a:gd name="T16" fmla="*/ 2147483646 w 21"/>
                <a:gd name="T17" fmla="*/ 2147483646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1" h="20">
                  <a:moveTo>
                    <a:pt x="2" y="11"/>
                  </a:moveTo>
                  <a:cubicBezTo>
                    <a:pt x="2" y="6"/>
                    <a:pt x="6" y="2"/>
                    <a:pt x="11" y="2"/>
                  </a:cubicBezTo>
                  <a:cubicBezTo>
                    <a:pt x="13" y="2"/>
                    <a:pt x="15" y="3"/>
                    <a:pt x="17" y="4"/>
                  </a:cubicBezTo>
                  <a:cubicBezTo>
                    <a:pt x="18" y="4"/>
                    <a:pt x="19" y="5"/>
                    <a:pt x="21" y="5"/>
                  </a:cubicBezTo>
                  <a:cubicBezTo>
                    <a:pt x="19" y="2"/>
                    <a:pt x="15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5"/>
                    <a:pt x="2" y="18"/>
                    <a:pt x="5" y="20"/>
                  </a:cubicBezTo>
                  <a:cubicBezTo>
                    <a:pt x="5" y="19"/>
                    <a:pt x="4" y="18"/>
                    <a:pt x="4" y="17"/>
                  </a:cubicBezTo>
                  <a:cubicBezTo>
                    <a:pt x="3" y="15"/>
                    <a:pt x="2" y="13"/>
                    <a:pt x="2" y="1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6" name="Freeform 45"/>
            <p:cNvSpPr/>
            <p:nvPr/>
          </p:nvSpPr>
          <p:spPr bwMode="auto">
            <a:xfrm>
              <a:off x="-1424879" y="4681084"/>
              <a:ext cx="57150" cy="441325"/>
            </a:xfrm>
            <a:custGeom>
              <a:avLst/>
              <a:gdLst>
                <a:gd name="T0" fmla="*/ 2147483646 w 15"/>
                <a:gd name="T1" fmla="*/ 2147483646 h 118"/>
                <a:gd name="T2" fmla="*/ 2147483646 w 15"/>
                <a:gd name="T3" fmla="*/ 2147483646 h 118"/>
                <a:gd name="T4" fmla="*/ 2147483646 w 15"/>
                <a:gd name="T5" fmla="*/ 2147483646 h 118"/>
                <a:gd name="T6" fmla="*/ 2147483646 w 15"/>
                <a:gd name="T7" fmla="*/ 2147483646 h 118"/>
                <a:gd name="T8" fmla="*/ 2147483646 w 15"/>
                <a:gd name="T9" fmla="*/ 2147483646 h 118"/>
                <a:gd name="T10" fmla="*/ 2147483646 w 15"/>
                <a:gd name="T11" fmla="*/ 2147483646 h 118"/>
                <a:gd name="T12" fmla="*/ 0 w 15"/>
                <a:gd name="T13" fmla="*/ 0 h 118"/>
                <a:gd name="T14" fmla="*/ 2147483646 w 15"/>
                <a:gd name="T15" fmla="*/ 2147483646 h 118"/>
                <a:gd name="T16" fmla="*/ 2147483646 w 15"/>
                <a:gd name="T17" fmla="*/ 2147483646 h 118"/>
                <a:gd name="T18" fmla="*/ 2147483646 w 15"/>
                <a:gd name="T19" fmla="*/ 2147483646 h 118"/>
                <a:gd name="T20" fmla="*/ 2147483646 w 15"/>
                <a:gd name="T21" fmla="*/ 2147483646 h 118"/>
                <a:gd name="T22" fmla="*/ 2147483646 w 15"/>
                <a:gd name="T23" fmla="*/ 2147483646 h 118"/>
                <a:gd name="T24" fmla="*/ 2147483646 w 15"/>
                <a:gd name="T25" fmla="*/ 2147483646 h 118"/>
                <a:gd name="T26" fmla="*/ 2147483646 w 15"/>
                <a:gd name="T27" fmla="*/ 2147483646 h 118"/>
                <a:gd name="T28" fmla="*/ 2147483646 w 15"/>
                <a:gd name="T29" fmla="*/ 2147483646 h 1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5" h="118">
                  <a:moveTo>
                    <a:pt x="12" y="108"/>
                  </a:moveTo>
                  <a:cubicBezTo>
                    <a:pt x="12" y="107"/>
                    <a:pt x="12" y="106"/>
                    <a:pt x="12" y="105"/>
                  </a:cubicBezTo>
                  <a:cubicBezTo>
                    <a:pt x="15" y="93"/>
                    <a:pt x="13" y="68"/>
                    <a:pt x="12" y="51"/>
                  </a:cubicBezTo>
                  <a:cubicBezTo>
                    <a:pt x="12" y="48"/>
                    <a:pt x="12" y="45"/>
                    <a:pt x="12" y="43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34"/>
                    <a:pt x="10" y="19"/>
                    <a:pt x="6" y="8"/>
                  </a:cubicBezTo>
                  <a:cubicBezTo>
                    <a:pt x="5" y="4"/>
                    <a:pt x="3" y="1"/>
                    <a:pt x="0" y="0"/>
                  </a:cubicBezTo>
                  <a:cubicBezTo>
                    <a:pt x="8" y="10"/>
                    <a:pt x="9" y="32"/>
                    <a:pt x="10" y="42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5"/>
                    <a:pt x="10" y="48"/>
                    <a:pt x="11" y="51"/>
                  </a:cubicBezTo>
                  <a:cubicBezTo>
                    <a:pt x="12" y="68"/>
                    <a:pt x="13" y="93"/>
                    <a:pt x="11" y="104"/>
                  </a:cubicBezTo>
                  <a:cubicBezTo>
                    <a:pt x="10" y="105"/>
                    <a:pt x="10" y="107"/>
                    <a:pt x="10" y="108"/>
                  </a:cubicBezTo>
                  <a:cubicBezTo>
                    <a:pt x="10" y="112"/>
                    <a:pt x="12" y="116"/>
                    <a:pt x="15" y="118"/>
                  </a:cubicBezTo>
                  <a:cubicBezTo>
                    <a:pt x="15" y="117"/>
                    <a:pt x="14" y="116"/>
                    <a:pt x="14" y="114"/>
                  </a:cubicBezTo>
                  <a:cubicBezTo>
                    <a:pt x="12" y="112"/>
                    <a:pt x="12" y="110"/>
                    <a:pt x="12" y="108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896" name="组合 2065"/>
          <p:cNvGrpSpPr/>
          <p:nvPr/>
        </p:nvGrpSpPr>
        <p:grpSpPr bwMode="auto">
          <a:xfrm>
            <a:off x="962025" y="1971675"/>
            <a:ext cx="692150" cy="896938"/>
            <a:chOff x="-4353817" y="5673271"/>
            <a:chExt cx="811213" cy="1050925"/>
          </a:xfrm>
        </p:grpSpPr>
        <p:sp>
          <p:nvSpPr>
            <p:cNvPr id="37935" name="Freeform 34"/>
            <p:cNvSpPr/>
            <p:nvPr/>
          </p:nvSpPr>
          <p:spPr bwMode="auto">
            <a:xfrm>
              <a:off x="-4353817" y="5673271"/>
              <a:ext cx="811213" cy="1050925"/>
            </a:xfrm>
            <a:custGeom>
              <a:avLst/>
              <a:gdLst>
                <a:gd name="T0" fmla="*/ 2147483646 w 216"/>
                <a:gd name="T1" fmla="*/ 2147483646 h 280"/>
                <a:gd name="T2" fmla="*/ 2147483646 w 216"/>
                <a:gd name="T3" fmla="*/ 2147483646 h 280"/>
                <a:gd name="T4" fmla="*/ 2147483646 w 216"/>
                <a:gd name="T5" fmla="*/ 2147483646 h 280"/>
                <a:gd name="T6" fmla="*/ 2147483646 w 216"/>
                <a:gd name="T7" fmla="*/ 2147483646 h 280"/>
                <a:gd name="T8" fmla="*/ 2147483646 w 216"/>
                <a:gd name="T9" fmla="*/ 2147483646 h 280"/>
                <a:gd name="T10" fmla="*/ 2147483646 w 216"/>
                <a:gd name="T11" fmla="*/ 2147483646 h 280"/>
                <a:gd name="T12" fmla="*/ 2147483646 w 216"/>
                <a:gd name="T13" fmla="*/ 2147483646 h 280"/>
                <a:gd name="T14" fmla="*/ 2147483646 w 216"/>
                <a:gd name="T15" fmla="*/ 2147483646 h 280"/>
                <a:gd name="T16" fmla="*/ 2147483646 w 216"/>
                <a:gd name="T17" fmla="*/ 0 h 280"/>
                <a:gd name="T18" fmla="*/ 2147483646 w 216"/>
                <a:gd name="T19" fmla="*/ 2147483646 h 280"/>
                <a:gd name="T20" fmla="*/ 2147483646 w 216"/>
                <a:gd name="T21" fmla="*/ 2147483646 h 280"/>
                <a:gd name="T22" fmla="*/ 2147483646 w 216"/>
                <a:gd name="T23" fmla="*/ 2147483646 h 280"/>
                <a:gd name="T24" fmla="*/ 2147483646 w 216"/>
                <a:gd name="T25" fmla="*/ 2147483646 h 280"/>
                <a:gd name="T26" fmla="*/ 2147483646 w 216"/>
                <a:gd name="T27" fmla="*/ 2147483646 h 280"/>
                <a:gd name="T28" fmla="*/ 0 w 216"/>
                <a:gd name="T29" fmla="*/ 2147483646 h 280"/>
                <a:gd name="T30" fmla="*/ 2147483646 w 216"/>
                <a:gd name="T31" fmla="*/ 2147483646 h 280"/>
                <a:gd name="T32" fmla="*/ 2147483646 w 216"/>
                <a:gd name="T33" fmla="*/ 2147483646 h 280"/>
                <a:gd name="T34" fmla="*/ 2147483646 w 216"/>
                <a:gd name="T35" fmla="*/ 2147483646 h 280"/>
                <a:gd name="T36" fmla="*/ 2147483646 w 216"/>
                <a:gd name="T37" fmla="*/ 2147483646 h 280"/>
                <a:gd name="T38" fmla="*/ 2147483646 w 216"/>
                <a:gd name="T39" fmla="*/ 2147483646 h 280"/>
                <a:gd name="T40" fmla="*/ 2147483646 w 216"/>
                <a:gd name="T41" fmla="*/ 2147483646 h 280"/>
                <a:gd name="T42" fmla="*/ 2147483646 w 216"/>
                <a:gd name="T43" fmla="*/ 2147483646 h 280"/>
                <a:gd name="T44" fmla="*/ 2147483646 w 216"/>
                <a:gd name="T45" fmla="*/ 2147483646 h 280"/>
                <a:gd name="T46" fmla="*/ 2147483646 w 216"/>
                <a:gd name="T47" fmla="*/ 2147483646 h 280"/>
                <a:gd name="T48" fmla="*/ 2147483646 w 216"/>
                <a:gd name="T49" fmla="*/ 2147483646 h 280"/>
                <a:gd name="T50" fmla="*/ 2147483646 w 216"/>
                <a:gd name="T51" fmla="*/ 2147483646 h 280"/>
                <a:gd name="T52" fmla="*/ 2147483646 w 216"/>
                <a:gd name="T53" fmla="*/ 2147483646 h 280"/>
                <a:gd name="T54" fmla="*/ 2147483646 w 216"/>
                <a:gd name="T55" fmla="*/ 2147483646 h 280"/>
                <a:gd name="T56" fmla="*/ 2147483646 w 216"/>
                <a:gd name="T57" fmla="*/ 2147483646 h 280"/>
                <a:gd name="T58" fmla="*/ 2147483646 w 216"/>
                <a:gd name="T59" fmla="*/ 2147483646 h 280"/>
                <a:gd name="T60" fmla="*/ 2147483646 w 216"/>
                <a:gd name="T61" fmla="*/ 2147483646 h 280"/>
                <a:gd name="T62" fmla="*/ 2147483646 w 216"/>
                <a:gd name="T63" fmla="*/ 2147483646 h 280"/>
                <a:gd name="T64" fmla="*/ 2147483646 w 216"/>
                <a:gd name="T65" fmla="*/ 2147483646 h 280"/>
                <a:gd name="T66" fmla="*/ 2147483646 w 216"/>
                <a:gd name="T67" fmla="*/ 2147483646 h 280"/>
                <a:gd name="T68" fmla="*/ 2147483646 w 216"/>
                <a:gd name="T69" fmla="*/ 2147483646 h 280"/>
                <a:gd name="T70" fmla="*/ 2147483646 w 216"/>
                <a:gd name="T71" fmla="*/ 2147483646 h 280"/>
                <a:gd name="T72" fmla="*/ 2147483646 w 216"/>
                <a:gd name="T73" fmla="*/ 2147483646 h 280"/>
                <a:gd name="T74" fmla="*/ 2147483646 w 216"/>
                <a:gd name="T75" fmla="*/ 2147483646 h 280"/>
                <a:gd name="T76" fmla="*/ 2147483646 w 216"/>
                <a:gd name="T77" fmla="*/ 2147483646 h 280"/>
                <a:gd name="T78" fmla="*/ 2147483646 w 216"/>
                <a:gd name="T79" fmla="*/ 2147483646 h 280"/>
                <a:gd name="T80" fmla="*/ 2147483646 w 216"/>
                <a:gd name="T81" fmla="*/ 2147483646 h 28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16" h="280">
                  <a:moveTo>
                    <a:pt x="216" y="104"/>
                  </a:moveTo>
                  <a:cubicBezTo>
                    <a:pt x="216" y="96"/>
                    <a:pt x="210" y="90"/>
                    <a:pt x="202" y="90"/>
                  </a:cubicBezTo>
                  <a:cubicBezTo>
                    <a:pt x="198" y="90"/>
                    <a:pt x="195" y="91"/>
                    <a:pt x="193" y="93"/>
                  </a:cubicBezTo>
                  <a:cubicBezTo>
                    <a:pt x="184" y="101"/>
                    <a:pt x="167" y="103"/>
                    <a:pt x="156" y="97"/>
                  </a:cubicBezTo>
                  <a:cubicBezTo>
                    <a:pt x="151" y="94"/>
                    <a:pt x="143" y="88"/>
                    <a:pt x="135" y="81"/>
                  </a:cubicBezTo>
                  <a:cubicBezTo>
                    <a:pt x="134" y="70"/>
                    <a:pt x="130" y="61"/>
                    <a:pt x="122" y="53"/>
                  </a:cubicBezTo>
                  <a:cubicBezTo>
                    <a:pt x="118" y="50"/>
                    <a:pt x="119" y="46"/>
                    <a:pt x="124" y="46"/>
                  </a:cubicBezTo>
                  <a:cubicBezTo>
                    <a:pt x="135" y="44"/>
                    <a:pt x="143" y="34"/>
                    <a:pt x="143" y="23"/>
                  </a:cubicBezTo>
                  <a:cubicBezTo>
                    <a:pt x="143" y="10"/>
                    <a:pt x="133" y="0"/>
                    <a:pt x="120" y="0"/>
                  </a:cubicBezTo>
                  <a:cubicBezTo>
                    <a:pt x="108" y="0"/>
                    <a:pt x="97" y="10"/>
                    <a:pt x="97" y="23"/>
                  </a:cubicBezTo>
                  <a:cubicBezTo>
                    <a:pt x="97" y="25"/>
                    <a:pt x="98" y="27"/>
                    <a:pt x="98" y="29"/>
                  </a:cubicBezTo>
                  <a:cubicBezTo>
                    <a:pt x="98" y="35"/>
                    <a:pt x="98" y="39"/>
                    <a:pt x="96" y="42"/>
                  </a:cubicBezTo>
                  <a:cubicBezTo>
                    <a:pt x="87" y="54"/>
                    <a:pt x="57" y="49"/>
                    <a:pt x="37" y="62"/>
                  </a:cubicBezTo>
                  <a:cubicBezTo>
                    <a:pt x="17" y="75"/>
                    <a:pt x="8" y="104"/>
                    <a:pt x="3" y="111"/>
                  </a:cubicBezTo>
                  <a:cubicBezTo>
                    <a:pt x="1" y="114"/>
                    <a:pt x="0" y="117"/>
                    <a:pt x="0" y="120"/>
                  </a:cubicBezTo>
                  <a:cubicBezTo>
                    <a:pt x="0" y="128"/>
                    <a:pt x="6" y="135"/>
                    <a:pt x="14" y="135"/>
                  </a:cubicBezTo>
                  <a:cubicBezTo>
                    <a:pt x="22" y="135"/>
                    <a:pt x="28" y="128"/>
                    <a:pt x="28" y="120"/>
                  </a:cubicBezTo>
                  <a:cubicBezTo>
                    <a:pt x="29" y="111"/>
                    <a:pt x="34" y="95"/>
                    <a:pt x="46" y="83"/>
                  </a:cubicBezTo>
                  <a:cubicBezTo>
                    <a:pt x="51" y="77"/>
                    <a:pt x="61" y="75"/>
                    <a:pt x="70" y="75"/>
                  </a:cubicBezTo>
                  <a:cubicBezTo>
                    <a:pt x="70" y="76"/>
                    <a:pt x="69" y="76"/>
                    <a:pt x="69" y="77"/>
                  </a:cubicBezTo>
                  <a:cubicBezTo>
                    <a:pt x="65" y="88"/>
                    <a:pt x="67" y="133"/>
                    <a:pt x="67" y="134"/>
                  </a:cubicBezTo>
                  <a:cubicBezTo>
                    <a:pt x="67" y="141"/>
                    <a:pt x="70" y="147"/>
                    <a:pt x="74" y="153"/>
                  </a:cubicBezTo>
                  <a:cubicBezTo>
                    <a:pt x="68" y="170"/>
                    <a:pt x="59" y="189"/>
                    <a:pt x="49" y="202"/>
                  </a:cubicBezTo>
                  <a:cubicBezTo>
                    <a:pt x="38" y="218"/>
                    <a:pt x="14" y="254"/>
                    <a:pt x="14" y="254"/>
                  </a:cubicBezTo>
                  <a:cubicBezTo>
                    <a:pt x="12" y="257"/>
                    <a:pt x="11" y="260"/>
                    <a:pt x="11" y="264"/>
                  </a:cubicBezTo>
                  <a:cubicBezTo>
                    <a:pt x="11" y="272"/>
                    <a:pt x="18" y="280"/>
                    <a:pt x="27" y="280"/>
                  </a:cubicBezTo>
                  <a:cubicBezTo>
                    <a:pt x="35" y="280"/>
                    <a:pt x="42" y="272"/>
                    <a:pt x="42" y="264"/>
                  </a:cubicBezTo>
                  <a:cubicBezTo>
                    <a:pt x="47" y="249"/>
                    <a:pt x="58" y="237"/>
                    <a:pt x="74" y="219"/>
                  </a:cubicBezTo>
                  <a:cubicBezTo>
                    <a:pt x="90" y="200"/>
                    <a:pt x="103" y="173"/>
                    <a:pt x="106" y="163"/>
                  </a:cubicBezTo>
                  <a:cubicBezTo>
                    <a:pt x="116" y="176"/>
                    <a:pt x="128" y="195"/>
                    <a:pt x="133" y="212"/>
                  </a:cubicBezTo>
                  <a:cubicBezTo>
                    <a:pt x="138" y="230"/>
                    <a:pt x="151" y="267"/>
                    <a:pt x="151" y="267"/>
                  </a:cubicBezTo>
                  <a:cubicBezTo>
                    <a:pt x="153" y="274"/>
                    <a:pt x="159" y="280"/>
                    <a:pt x="167" y="280"/>
                  </a:cubicBezTo>
                  <a:cubicBezTo>
                    <a:pt x="176" y="280"/>
                    <a:pt x="183" y="272"/>
                    <a:pt x="183" y="264"/>
                  </a:cubicBezTo>
                  <a:cubicBezTo>
                    <a:pt x="183" y="260"/>
                    <a:pt x="181" y="256"/>
                    <a:pt x="179" y="253"/>
                  </a:cubicBezTo>
                  <a:cubicBezTo>
                    <a:pt x="168" y="237"/>
                    <a:pt x="167" y="220"/>
                    <a:pt x="160" y="197"/>
                  </a:cubicBezTo>
                  <a:cubicBezTo>
                    <a:pt x="154" y="175"/>
                    <a:pt x="141" y="160"/>
                    <a:pt x="131" y="144"/>
                  </a:cubicBezTo>
                  <a:cubicBezTo>
                    <a:pt x="128" y="138"/>
                    <a:pt x="128" y="130"/>
                    <a:pt x="129" y="125"/>
                  </a:cubicBezTo>
                  <a:cubicBezTo>
                    <a:pt x="129" y="119"/>
                    <a:pt x="130" y="113"/>
                    <a:pt x="131" y="109"/>
                  </a:cubicBezTo>
                  <a:cubicBezTo>
                    <a:pt x="138" y="113"/>
                    <a:pt x="144" y="116"/>
                    <a:pt x="149" y="119"/>
                  </a:cubicBezTo>
                  <a:cubicBezTo>
                    <a:pt x="163" y="125"/>
                    <a:pt x="188" y="124"/>
                    <a:pt x="206" y="118"/>
                  </a:cubicBezTo>
                  <a:cubicBezTo>
                    <a:pt x="212" y="116"/>
                    <a:pt x="216" y="111"/>
                    <a:pt x="216" y="104"/>
                  </a:cubicBezTo>
                  <a:close/>
                </a:path>
              </a:pathLst>
            </a:custGeom>
            <a:solidFill>
              <a:srgbClr val="023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6" name="Freeform 35"/>
            <p:cNvSpPr/>
            <p:nvPr/>
          </p:nvSpPr>
          <p:spPr bwMode="auto">
            <a:xfrm>
              <a:off x="-4342704" y="5684384"/>
              <a:ext cx="500063" cy="473075"/>
            </a:xfrm>
            <a:custGeom>
              <a:avLst/>
              <a:gdLst>
                <a:gd name="T0" fmla="*/ 2147483646 w 133"/>
                <a:gd name="T1" fmla="*/ 2147483646 h 126"/>
                <a:gd name="T2" fmla="*/ 2147483646 w 133"/>
                <a:gd name="T3" fmla="*/ 2147483646 h 126"/>
                <a:gd name="T4" fmla="*/ 2147483646 w 133"/>
                <a:gd name="T5" fmla="*/ 2147483646 h 126"/>
                <a:gd name="T6" fmla="*/ 2147483646 w 133"/>
                <a:gd name="T7" fmla="*/ 2147483646 h 126"/>
                <a:gd name="T8" fmla="*/ 2147483646 w 133"/>
                <a:gd name="T9" fmla="*/ 2147483646 h 126"/>
                <a:gd name="T10" fmla="*/ 2147483646 w 133"/>
                <a:gd name="T11" fmla="*/ 2147483646 h 126"/>
                <a:gd name="T12" fmla="*/ 2147483646 w 133"/>
                <a:gd name="T13" fmla="*/ 2147483646 h 126"/>
                <a:gd name="T14" fmla="*/ 2147483646 w 133"/>
                <a:gd name="T15" fmla="*/ 2147483646 h 126"/>
                <a:gd name="T16" fmla="*/ 2147483646 w 133"/>
                <a:gd name="T17" fmla="*/ 2147483646 h 126"/>
                <a:gd name="T18" fmla="*/ 2147483646 w 133"/>
                <a:gd name="T19" fmla="*/ 2147483646 h 126"/>
                <a:gd name="T20" fmla="*/ 2147483646 w 133"/>
                <a:gd name="T21" fmla="*/ 2147483646 h 126"/>
                <a:gd name="T22" fmla="*/ 2147483646 w 133"/>
                <a:gd name="T23" fmla="*/ 2147483646 h 126"/>
                <a:gd name="T24" fmla="*/ 2147483646 w 133"/>
                <a:gd name="T25" fmla="*/ 2147483646 h 126"/>
                <a:gd name="T26" fmla="*/ 2147483646 w 133"/>
                <a:gd name="T27" fmla="*/ 2147483646 h 126"/>
                <a:gd name="T28" fmla="*/ 2147483646 w 133"/>
                <a:gd name="T29" fmla="*/ 2147483646 h 126"/>
                <a:gd name="T30" fmla="*/ 2147483646 w 133"/>
                <a:gd name="T31" fmla="*/ 0 h 126"/>
                <a:gd name="T32" fmla="*/ 2147483646 w 133"/>
                <a:gd name="T33" fmla="*/ 2147483646 h 126"/>
                <a:gd name="T34" fmla="*/ 2147483646 w 133"/>
                <a:gd name="T35" fmla="*/ 2147483646 h 126"/>
                <a:gd name="T36" fmla="*/ 2147483646 w 133"/>
                <a:gd name="T37" fmla="*/ 2147483646 h 126"/>
                <a:gd name="T38" fmla="*/ 2147483646 w 133"/>
                <a:gd name="T39" fmla="*/ 2147483646 h 126"/>
                <a:gd name="T40" fmla="*/ 2147483646 w 133"/>
                <a:gd name="T41" fmla="*/ 2147483646 h 126"/>
                <a:gd name="T42" fmla="*/ 2147483646 w 133"/>
                <a:gd name="T43" fmla="*/ 2147483646 h 126"/>
                <a:gd name="T44" fmla="*/ 2147483646 w 133"/>
                <a:gd name="T45" fmla="*/ 2147483646 h 126"/>
                <a:gd name="T46" fmla="*/ 2147483646 w 133"/>
                <a:gd name="T47" fmla="*/ 2147483646 h 126"/>
                <a:gd name="T48" fmla="*/ 2147483646 w 133"/>
                <a:gd name="T49" fmla="*/ 2147483646 h 126"/>
                <a:gd name="T50" fmla="*/ 2147483646 w 133"/>
                <a:gd name="T51" fmla="*/ 2147483646 h 126"/>
                <a:gd name="T52" fmla="*/ 0 w 133"/>
                <a:gd name="T53" fmla="*/ 2147483646 h 126"/>
                <a:gd name="T54" fmla="*/ 2147483646 w 133"/>
                <a:gd name="T55" fmla="*/ 2147483646 h 126"/>
                <a:gd name="T56" fmla="*/ 2147483646 w 133"/>
                <a:gd name="T57" fmla="*/ 2147483646 h 126"/>
                <a:gd name="T58" fmla="*/ 2147483646 w 133"/>
                <a:gd name="T59" fmla="*/ 2147483646 h 1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33" h="126">
                  <a:moveTo>
                    <a:pt x="2" y="117"/>
                  </a:moveTo>
                  <a:cubicBezTo>
                    <a:pt x="2" y="115"/>
                    <a:pt x="3" y="112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6" y="109"/>
                    <a:pt x="7" y="106"/>
                    <a:pt x="9" y="101"/>
                  </a:cubicBezTo>
                  <a:cubicBezTo>
                    <a:pt x="15" y="89"/>
                    <a:pt x="23" y="72"/>
                    <a:pt x="36" y="63"/>
                  </a:cubicBezTo>
                  <a:cubicBezTo>
                    <a:pt x="46" y="57"/>
                    <a:pt x="58" y="55"/>
                    <a:pt x="69" y="53"/>
                  </a:cubicBezTo>
                  <a:cubicBezTo>
                    <a:pt x="81" y="51"/>
                    <a:pt x="92" y="50"/>
                    <a:pt x="97" y="43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100" y="37"/>
                    <a:pt x="100" y="32"/>
                    <a:pt x="100" y="27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3"/>
                    <a:pt x="99" y="22"/>
                    <a:pt x="99" y="20"/>
                  </a:cubicBezTo>
                  <a:cubicBezTo>
                    <a:pt x="99" y="10"/>
                    <a:pt x="107" y="2"/>
                    <a:pt x="117" y="2"/>
                  </a:cubicBezTo>
                  <a:cubicBezTo>
                    <a:pt x="121" y="2"/>
                    <a:pt x="124" y="3"/>
                    <a:pt x="127" y="5"/>
                  </a:cubicBezTo>
                  <a:cubicBezTo>
                    <a:pt x="129" y="5"/>
                    <a:pt x="131" y="6"/>
                    <a:pt x="133" y="8"/>
                  </a:cubicBezTo>
                  <a:cubicBezTo>
                    <a:pt x="129" y="3"/>
                    <a:pt x="124" y="0"/>
                    <a:pt x="117" y="0"/>
                  </a:cubicBezTo>
                  <a:cubicBezTo>
                    <a:pt x="106" y="0"/>
                    <a:pt x="98" y="9"/>
                    <a:pt x="98" y="20"/>
                  </a:cubicBezTo>
                  <a:cubicBezTo>
                    <a:pt x="98" y="22"/>
                    <a:pt x="98" y="24"/>
                    <a:pt x="98" y="26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8" y="32"/>
                    <a:pt x="98" y="37"/>
                    <a:pt x="96" y="41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1" y="48"/>
                    <a:pt x="80" y="50"/>
                    <a:pt x="69" y="52"/>
                  </a:cubicBezTo>
                  <a:cubicBezTo>
                    <a:pt x="58" y="53"/>
                    <a:pt x="45" y="55"/>
                    <a:pt x="35" y="62"/>
                  </a:cubicBezTo>
                  <a:cubicBezTo>
                    <a:pt x="21" y="71"/>
                    <a:pt x="13" y="88"/>
                    <a:pt x="8" y="100"/>
                  </a:cubicBezTo>
                  <a:cubicBezTo>
                    <a:pt x="6" y="105"/>
                    <a:pt x="4" y="108"/>
                    <a:pt x="3" y="110"/>
                  </a:cubicBezTo>
                  <a:cubicBezTo>
                    <a:pt x="1" y="112"/>
                    <a:pt x="0" y="114"/>
                    <a:pt x="0" y="117"/>
                  </a:cubicBezTo>
                  <a:cubicBezTo>
                    <a:pt x="0" y="121"/>
                    <a:pt x="2" y="125"/>
                    <a:pt x="5" y="126"/>
                  </a:cubicBezTo>
                  <a:cubicBezTo>
                    <a:pt x="4" y="125"/>
                    <a:pt x="4" y="124"/>
                    <a:pt x="3" y="123"/>
                  </a:cubicBezTo>
                  <a:cubicBezTo>
                    <a:pt x="2" y="121"/>
                    <a:pt x="2" y="119"/>
                    <a:pt x="2" y="117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7" name="Freeform 36"/>
            <p:cNvSpPr/>
            <p:nvPr/>
          </p:nvSpPr>
          <p:spPr bwMode="auto">
            <a:xfrm>
              <a:off x="-3847404" y="5992359"/>
              <a:ext cx="285750" cy="74613"/>
            </a:xfrm>
            <a:custGeom>
              <a:avLst/>
              <a:gdLst>
                <a:gd name="T0" fmla="*/ 0 w 76"/>
                <a:gd name="T1" fmla="*/ 0 h 20"/>
                <a:gd name="T2" fmla="*/ 0 w 76"/>
                <a:gd name="T3" fmla="*/ 2147483646 h 20"/>
                <a:gd name="T4" fmla="*/ 2147483646 w 76"/>
                <a:gd name="T5" fmla="*/ 2147483646 h 20"/>
                <a:gd name="T6" fmla="*/ 2147483646 w 76"/>
                <a:gd name="T7" fmla="*/ 2147483646 h 20"/>
                <a:gd name="T8" fmla="*/ 2147483646 w 76"/>
                <a:gd name="T9" fmla="*/ 2147483646 h 20"/>
                <a:gd name="T10" fmla="*/ 2147483646 w 76"/>
                <a:gd name="T11" fmla="*/ 2147483646 h 20"/>
                <a:gd name="T12" fmla="*/ 2147483646 w 76"/>
                <a:gd name="T13" fmla="*/ 2147483646 h 20"/>
                <a:gd name="T14" fmla="*/ 2147483646 w 76"/>
                <a:gd name="T15" fmla="*/ 2147483646 h 20"/>
                <a:gd name="T16" fmla="*/ 2147483646 w 76"/>
                <a:gd name="T17" fmla="*/ 2147483646 h 20"/>
                <a:gd name="T18" fmla="*/ 2147483646 w 76"/>
                <a:gd name="T19" fmla="*/ 2147483646 h 20"/>
                <a:gd name="T20" fmla="*/ 2147483646 w 76"/>
                <a:gd name="T21" fmla="*/ 2147483646 h 20"/>
                <a:gd name="T22" fmla="*/ 2147483646 w 76"/>
                <a:gd name="T23" fmla="*/ 2147483646 h 20"/>
                <a:gd name="T24" fmla="*/ 2147483646 w 76"/>
                <a:gd name="T25" fmla="*/ 2147483646 h 20"/>
                <a:gd name="T26" fmla="*/ 2147483646 w 76"/>
                <a:gd name="T27" fmla="*/ 2147483646 h 20"/>
                <a:gd name="T28" fmla="*/ 0 w 76"/>
                <a:gd name="T29" fmla="*/ 0 h 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6" h="20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9" y="10"/>
                    <a:pt x="19" y="16"/>
                    <a:pt x="23" y="18"/>
                  </a:cubicBezTo>
                  <a:cubicBezTo>
                    <a:pt x="27" y="20"/>
                    <a:pt x="31" y="20"/>
                    <a:pt x="36" y="20"/>
                  </a:cubicBezTo>
                  <a:cubicBezTo>
                    <a:pt x="45" y="20"/>
                    <a:pt x="54" y="17"/>
                    <a:pt x="61" y="12"/>
                  </a:cubicBezTo>
                  <a:cubicBezTo>
                    <a:pt x="62" y="11"/>
                    <a:pt x="64" y="10"/>
                    <a:pt x="67" y="10"/>
                  </a:cubicBezTo>
                  <a:cubicBezTo>
                    <a:pt x="69" y="10"/>
                    <a:pt x="71" y="11"/>
                    <a:pt x="73" y="12"/>
                  </a:cubicBezTo>
                  <a:cubicBezTo>
                    <a:pt x="74" y="12"/>
                    <a:pt x="75" y="13"/>
                    <a:pt x="76" y="13"/>
                  </a:cubicBezTo>
                  <a:cubicBezTo>
                    <a:pt x="74" y="10"/>
                    <a:pt x="71" y="8"/>
                    <a:pt x="67" y="8"/>
                  </a:cubicBezTo>
                  <a:cubicBezTo>
                    <a:pt x="64" y="8"/>
                    <a:pt x="61" y="10"/>
                    <a:pt x="60" y="11"/>
                  </a:cubicBezTo>
                  <a:cubicBezTo>
                    <a:pt x="54" y="16"/>
                    <a:pt x="45" y="19"/>
                    <a:pt x="36" y="19"/>
                  </a:cubicBezTo>
                  <a:cubicBezTo>
                    <a:pt x="30" y="19"/>
                    <a:pt x="24" y="17"/>
                    <a:pt x="19" y="15"/>
                  </a:cubicBezTo>
                  <a:cubicBezTo>
                    <a:pt x="15" y="12"/>
                    <a:pt x="9" y="7"/>
                    <a:pt x="2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8" name="Freeform 37"/>
            <p:cNvSpPr/>
            <p:nvPr/>
          </p:nvSpPr>
          <p:spPr bwMode="auto">
            <a:xfrm>
              <a:off x="-3952179" y="6270171"/>
              <a:ext cx="198438" cy="430213"/>
            </a:xfrm>
            <a:custGeom>
              <a:avLst/>
              <a:gdLst>
                <a:gd name="T0" fmla="*/ 2147483646 w 53"/>
                <a:gd name="T1" fmla="*/ 2147483646 h 115"/>
                <a:gd name="T2" fmla="*/ 2147483646 w 53"/>
                <a:gd name="T3" fmla="*/ 2147483646 h 115"/>
                <a:gd name="T4" fmla="*/ 2147483646 w 53"/>
                <a:gd name="T5" fmla="*/ 2147483646 h 115"/>
                <a:gd name="T6" fmla="*/ 2147483646 w 53"/>
                <a:gd name="T7" fmla="*/ 2147483646 h 115"/>
                <a:gd name="T8" fmla="*/ 2147483646 w 53"/>
                <a:gd name="T9" fmla="*/ 2147483646 h 115"/>
                <a:gd name="T10" fmla="*/ 2147483646 w 53"/>
                <a:gd name="T11" fmla="*/ 2147483646 h 115"/>
                <a:gd name="T12" fmla="*/ 0 w 53"/>
                <a:gd name="T13" fmla="*/ 0 h 115"/>
                <a:gd name="T14" fmla="*/ 0 w 53"/>
                <a:gd name="T15" fmla="*/ 0 h 115"/>
                <a:gd name="T16" fmla="*/ 2147483646 w 53"/>
                <a:gd name="T17" fmla="*/ 2147483646 h 115"/>
                <a:gd name="T18" fmla="*/ 2147483646 w 53"/>
                <a:gd name="T19" fmla="*/ 2147483646 h 115"/>
                <a:gd name="T20" fmla="*/ 2147483646 w 53"/>
                <a:gd name="T21" fmla="*/ 2147483646 h 115"/>
                <a:gd name="T22" fmla="*/ 2147483646 w 53"/>
                <a:gd name="T23" fmla="*/ 2147483646 h 115"/>
                <a:gd name="T24" fmla="*/ 2147483646 w 53"/>
                <a:gd name="T25" fmla="*/ 2147483646 h 115"/>
                <a:gd name="T26" fmla="*/ 2147483646 w 53"/>
                <a:gd name="T27" fmla="*/ 2147483646 h 115"/>
                <a:gd name="T28" fmla="*/ 2147483646 w 53"/>
                <a:gd name="T29" fmla="*/ 2147483646 h 1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3" h="115">
                  <a:moveTo>
                    <a:pt x="49" y="107"/>
                  </a:move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49" y="106"/>
                    <a:pt x="36" y="69"/>
                    <a:pt x="31" y="52"/>
                  </a:cubicBezTo>
                  <a:cubicBezTo>
                    <a:pt x="30" y="48"/>
                    <a:pt x="29" y="44"/>
                    <a:pt x="27" y="40"/>
                  </a:cubicBezTo>
                  <a:cubicBezTo>
                    <a:pt x="22" y="29"/>
                    <a:pt x="14" y="16"/>
                    <a:pt x="4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4" y="18"/>
                    <a:pt x="25" y="37"/>
                    <a:pt x="30" y="52"/>
                  </a:cubicBezTo>
                  <a:cubicBezTo>
                    <a:pt x="35" y="69"/>
                    <a:pt x="47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11"/>
                    <a:pt x="50" y="113"/>
                    <a:pt x="53" y="115"/>
                  </a:cubicBezTo>
                  <a:cubicBezTo>
                    <a:pt x="52" y="114"/>
                    <a:pt x="51" y="112"/>
                    <a:pt x="51" y="111"/>
                  </a:cubicBezTo>
                  <a:cubicBezTo>
                    <a:pt x="50" y="110"/>
                    <a:pt x="50" y="109"/>
                    <a:pt x="49" y="107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9" name="Freeform 38"/>
            <p:cNvSpPr/>
            <p:nvPr/>
          </p:nvSpPr>
          <p:spPr bwMode="auto">
            <a:xfrm>
              <a:off x="-4095054" y="5954259"/>
              <a:ext cx="34925" cy="288925"/>
            </a:xfrm>
            <a:custGeom>
              <a:avLst/>
              <a:gdLst>
                <a:gd name="T0" fmla="*/ 2147483646 w 9"/>
                <a:gd name="T1" fmla="*/ 2147483646 h 77"/>
                <a:gd name="T2" fmla="*/ 2147483646 w 9"/>
                <a:gd name="T3" fmla="*/ 2147483646 h 77"/>
                <a:gd name="T4" fmla="*/ 2147483646 w 9"/>
                <a:gd name="T5" fmla="*/ 2147483646 h 77"/>
                <a:gd name="T6" fmla="*/ 2147483646 w 9"/>
                <a:gd name="T7" fmla="*/ 2147483646 h 77"/>
                <a:gd name="T8" fmla="*/ 2147483646 w 9"/>
                <a:gd name="T9" fmla="*/ 2147483646 h 77"/>
                <a:gd name="T10" fmla="*/ 2147483646 w 9"/>
                <a:gd name="T11" fmla="*/ 2147483646 h 77"/>
                <a:gd name="T12" fmla="*/ 2147483646 w 9"/>
                <a:gd name="T13" fmla="*/ 2147483646 h 77"/>
                <a:gd name="T14" fmla="*/ 2147483646 w 9"/>
                <a:gd name="T15" fmla="*/ 0 h 77"/>
                <a:gd name="T16" fmla="*/ 2147483646 w 9"/>
                <a:gd name="T17" fmla="*/ 0 h 77"/>
                <a:gd name="T18" fmla="*/ 2147483646 w 9"/>
                <a:gd name="T19" fmla="*/ 2147483646 h 77"/>
                <a:gd name="T20" fmla="*/ 2147483646 w 9"/>
                <a:gd name="T21" fmla="*/ 2147483646 h 77"/>
                <a:gd name="T22" fmla="*/ 2147483646 w 9"/>
                <a:gd name="T23" fmla="*/ 2147483646 h 77"/>
                <a:gd name="T24" fmla="*/ 2147483646 w 9"/>
                <a:gd name="T25" fmla="*/ 2147483646 h 7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" h="77">
                  <a:moveTo>
                    <a:pt x="2" y="59"/>
                  </a:moveTo>
                  <a:cubicBezTo>
                    <a:pt x="2" y="65"/>
                    <a:pt x="5" y="74"/>
                    <a:pt x="9" y="77"/>
                  </a:cubicBezTo>
                  <a:cubicBezTo>
                    <a:pt x="5" y="72"/>
                    <a:pt x="3" y="63"/>
                    <a:pt x="3" y="59"/>
                  </a:cubicBezTo>
                  <a:cubicBezTo>
                    <a:pt x="3" y="59"/>
                    <a:pt x="3" y="58"/>
                    <a:pt x="3" y="57"/>
                  </a:cubicBezTo>
                  <a:cubicBezTo>
                    <a:pt x="2" y="17"/>
                    <a:pt x="4" y="6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7"/>
                    <a:pt x="0" y="18"/>
                    <a:pt x="2" y="57"/>
                  </a:cubicBezTo>
                  <a:cubicBezTo>
                    <a:pt x="2" y="58"/>
                    <a:pt x="2" y="59"/>
                    <a:pt x="2" y="59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0" name="Freeform 39"/>
            <p:cNvSpPr/>
            <p:nvPr/>
          </p:nvSpPr>
          <p:spPr bwMode="auto">
            <a:xfrm>
              <a:off x="-4301429" y="6254296"/>
              <a:ext cx="241300" cy="446088"/>
            </a:xfrm>
            <a:custGeom>
              <a:avLst/>
              <a:gdLst>
                <a:gd name="T0" fmla="*/ 2147483646 w 64"/>
                <a:gd name="T1" fmla="*/ 0 h 119"/>
                <a:gd name="T2" fmla="*/ 2147483646 w 64"/>
                <a:gd name="T3" fmla="*/ 2147483646 h 119"/>
                <a:gd name="T4" fmla="*/ 2147483646 w 64"/>
                <a:gd name="T5" fmla="*/ 2147483646 h 119"/>
                <a:gd name="T6" fmla="*/ 2147483646 w 64"/>
                <a:gd name="T7" fmla="*/ 2147483646 h 119"/>
                <a:gd name="T8" fmla="*/ 0 w 64"/>
                <a:gd name="T9" fmla="*/ 2147483646 h 119"/>
                <a:gd name="T10" fmla="*/ 2147483646 w 64"/>
                <a:gd name="T11" fmla="*/ 2147483646 h 119"/>
                <a:gd name="T12" fmla="*/ 2147483646 w 64"/>
                <a:gd name="T13" fmla="*/ 2147483646 h 119"/>
                <a:gd name="T14" fmla="*/ 2147483646 w 64"/>
                <a:gd name="T15" fmla="*/ 2147483646 h 119"/>
                <a:gd name="T16" fmla="*/ 2147483646 w 64"/>
                <a:gd name="T17" fmla="*/ 2147483646 h 119"/>
                <a:gd name="T18" fmla="*/ 2147483646 w 64"/>
                <a:gd name="T19" fmla="*/ 2147483646 h 119"/>
                <a:gd name="T20" fmla="*/ 2147483646 w 64"/>
                <a:gd name="T21" fmla="*/ 2147483646 h 119"/>
                <a:gd name="T22" fmla="*/ 2147483646 w 64"/>
                <a:gd name="T23" fmla="*/ 2147483646 h 119"/>
                <a:gd name="T24" fmla="*/ 2147483646 w 64"/>
                <a:gd name="T25" fmla="*/ 0 h 1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4" h="119">
                  <a:moveTo>
                    <a:pt x="62" y="0"/>
                  </a:moveTo>
                  <a:cubicBezTo>
                    <a:pt x="62" y="2"/>
                    <a:pt x="62" y="2"/>
                    <a:pt x="62" y="2"/>
                  </a:cubicBezTo>
                  <a:cubicBezTo>
                    <a:pt x="57" y="14"/>
                    <a:pt x="50" y="34"/>
                    <a:pt x="38" y="49"/>
                  </a:cubicBezTo>
                  <a:cubicBezTo>
                    <a:pt x="26" y="65"/>
                    <a:pt x="3" y="101"/>
                    <a:pt x="3" y="101"/>
                  </a:cubicBezTo>
                  <a:cubicBezTo>
                    <a:pt x="1" y="103"/>
                    <a:pt x="0" y="106"/>
                    <a:pt x="0" y="109"/>
                  </a:cubicBezTo>
                  <a:cubicBezTo>
                    <a:pt x="0" y="113"/>
                    <a:pt x="2" y="117"/>
                    <a:pt x="6" y="119"/>
                  </a:cubicBezTo>
                  <a:cubicBezTo>
                    <a:pt x="5" y="118"/>
                    <a:pt x="4" y="116"/>
                    <a:pt x="4" y="115"/>
                  </a:cubicBezTo>
                  <a:cubicBezTo>
                    <a:pt x="2" y="113"/>
                    <a:pt x="2" y="111"/>
                    <a:pt x="2" y="109"/>
                  </a:cubicBezTo>
                  <a:cubicBezTo>
                    <a:pt x="2" y="106"/>
                    <a:pt x="3" y="103"/>
                    <a:pt x="4" y="102"/>
                  </a:cubicBezTo>
                  <a:cubicBezTo>
                    <a:pt x="4" y="102"/>
                    <a:pt x="28" y="66"/>
                    <a:pt x="39" y="50"/>
                  </a:cubicBezTo>
                  <a:cubicBezTo>
                    <a:pt x="51" y="35"/>
                    <a:pt x="59" y="15"/>
                    <a:pt x="63" y="2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2" y="0"/>
                    <a:pt x="62" y="0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897" name="组合 73"/>
          <p:cNvGrpSpPr/>
          <p:nvPr/>
        </p:nvGrpSpPr>
        <p:grpSpPr bwMode="auto">
          <a:xfrm rot="-5400000">
            <a:off x="-992187" y="2617788"/>
            <a:ext cx="3597275" cy="28575"/>
            <a:chOff x="3682048" y="3734822"/>
            <a:chExt cx="3763813" cy="28388"/>
          </a:xfrm>
        </p:grpSpPr>
        <p:sp>
          <p:nvSpPr>
            <p:cNvPr id="37933" name="Freeform 51"/>
            <p:cNvSpPr/>
            <p:nvPr/>
          </p:nvSpPr>
          <p:spPr bwMode="auto">
            <a:xfrm>
              <a:off x="3682048" y="3734822"/>
              <a:ext cx="3763813" cy="28388"/>
            </a:xfrm>
            <a:custGeom>
              <a:avLst/>
              <a:gdLst>
                <a:gd name="T0" fmla="*/ 2147483646 w 1151"/>
                <a:gd name="T1" fmla="*/ 2147483646 h 10"/>
                <a:gd name="T2" fmla="*/ 2147483646 w 1151"/>
                <a:gd name="T3" fmla="*/ 2147483646 h 10"/>
                <a:gd name="T4" fmla="*/ 0 w 1151"/>
                <a:gd name="T5" fmla="*/ 2147483646 h 10"/>
                <a:gd name="T6" fmla="*/ 2147483646 w 1151"/>
                <a:gd name="T7" fmla="*/ 0 h 10"/>
                <a:gd name="T8" fmla="*/ 2147483646 w 1151"/>
                <a:gd name="T9" fmla="*/ 0 h 10"/>
                <a:gd name="T10" fmla="*/ 2147483646 w 1151"/>
                <a:gd name="T11" fmla="*/ 2147483646 h 10"/>
                <a:gd name="T12" fmla="*/ 2147483646 w 1151"/>
                <a:gd name="T13" fmla="*/ 2147483646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51" h="10">
                  <a:moveTo>
                    <a:pt x="1146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46" y="0"/>
                    <a:pt x="1146" y="0"/>
                    <a:pt x="1146" y="0"/>
                  </a:cubicBezTo>
                  <a:cubicBezTo>
                    <a:pt x="1149" y="0"/>
                    <a:pt x="1151" y="2"/>
                    <a:pt x="1151" y="5"/>
                  </a:cubicBezTo>
                  <a:cubicBezTo>
                    <a:pt x="1151" y="8"/>
                    <a:pt x="1149" y="10"/>
                    <a:pt x="1146" y="10"/>
                  </a:cubicBezTo>
                  <a:close/>
                </a:path>
              </a:pathLst>
            </a:custGeom>
            <a:solidFill>
              <a:srgbClr val="AFD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6" name="直接连接符 75"/>
            <p:cNvCxnSpPr/>
            <p:nvPr/>
          </p:nvCxnSpPr>
          <p:spPr>
            <a:xfrm>
              <a:off x="3688691" y="3736398"/>
              <a:ext cx="3743881" cy="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898" name="Freeform 276"/>
          <p:cNvSpPr>
            <a:spLocks noEditPoints="1"/>
          </p:cNvSpPr>
          <p:nvPr/>
        </p:nvSpPr>
        <p:spPr bwMode="auto">
          <a:xfrm>
            <a:off x="4071938" y="4386263"/>
            <a:ext cx="282575" cy="322262"/>
          </a:xfrm>
          <a:custGeom>
            <a:avLst/>
            <a:gdLst>
              <a:gd name="T0" fmla="*/ 2147483646 w 156"/>
              <a:gd name="T1" fmla="*/ 2147483646 h 161"/>
              <a:gd name="T2" fmla="*/ 2147483646 w 156"/>
              <a:gd name="T3" fmla="*/ 2147483646 h 161"/>
              <a:gd name="T4" fmla="*/ 2147483646 w 156"/>
              <a:gd name="T5" fmla="*/ 2147483646 h 161"/>
              <a:gd name="T6" fmla="*/ 2147483646 w 156"/>
              <a:gd name="T7" fmla="*/ 2147483646 h 161"/>
              <a:gd name="T8" fmla="*/ 0 w 156"/>
              <a:gd name="T9" fmla="*/ 2147483646 h 161"/>
              <a:gd name="T10" fmla="*/ 0 w 156"/>
              <a:gd name="T11" fmla="*/ 2147483646 h 161"/>
              <a:gd name="T12" fmla="*/ 2147483646 w 156"/>
              <a:gd name="T13" fmla="*/ 2147483646 h 161"/>
              <a:gd name="T14" fmla="*/ 2147483646 w 156"/>
              <a:gd name="T15" fmla="*/ 2147483646 h 161"/>
              <a:gd name="T16" fmla="*/ 2147483646 w 156"/>
              <a:gd name="T17" fmla="*/ 0 h 161"/>
              <a:gd name="T18" fmla="*/ 2147483646 w 156"/>
              <a:gd name="T19" fmla="*/ 2147483646 h 161"/>
              <a:gd name="T20" fmla="*/ 2147483646 w 156"/>
              <a:gd name="T21" fmla="*/ 2147483646 h 161"/>
              <a:gd name="T22" fmla="*/ 0 w 156"/>
              <a:gd name="T23" fmla="*/ 2147483646 h 161"/>
              <a:gd name="T24" fmla="*/ 2147483646 w 156"/>
              <a:gd name="T25" fmla="*/ 2147483646 h 161"/>
              <a:gd name="T26" fmla="*/ 2147483646 w 156"/>
              <a:gd name="T27" fmla="*/ 2147483646 h 161"/>
              <a:gd name="T28" fmla="*/ 2147483646 w 156"/>
              <a:gd name="T29" fmla="*/ 2147483646 h 161"/>
              <a:gd name="T30" fmla="*/ 2147483646 w 156"/>
              <a:gd name="T31" fmla="*/ 2147483646 h 161"/>
              <a:gd name="T32" fmla="*/ 2147483646 w 156"/>
              <a:gd name="T33" fmla="*/ 2147483646 h 161"/>
              <a:gd name="T34" fmla="*/ 2147483646 w 156"/>
              <a:gd name="T35" fmla="*/ 2147483646 h 161"/>
              <a:gd name="T36" fmla="*/ 2147483646 w 156"/>
              <a:gd name="T37" fmla="*/ 2147483646 h 161"/>
              <a:gd name="T38" fmla="*/ 2147483646 w 156"/>
              <a:gd name="T39" fmla="*/ 2147483646 h 161"/>
              <a:gd name="T40" fmla="*/ 2147483646 w 156"/>
              <a:gd name="T41" fmla="*/ 2147483646 h 161"/>
              <a:gd name="T42" fmla="*/ 2147483646 w 156"/>
              <a:gd name="T43" fmla="*/ 2147483646 h 161"/>
              <a:gd name="T44" fmla="*/ 2147483646 w 156"/>
              <a:gd name="T45" fmla="*/ 2147483646 h 161"/>
              <a:gd name="T46" fmla="*/ 2147483646 w 156"/>
              <a:gd name="T47" fmla="*/ 2147483646 h 161"/>
              <a:gd name="T48" fmla="*/ 2147483646 w 156"/>
              <a:gd name="T49" fmla="*/ 2147483646 h 161"/>
              <a:gd name="T50" fmla="*/ 2147483646 w 156"/>
              <a:gd name="T51" fmla="*/ 2147483646 h 161"/>
              <a:gd name="T52" fmla="*/ 2147483646 w 156"/>
              <a:gd name="T53" fmla="*/ 2147483646 h 161"/>
              <a:gd name="T54" fmla="*/ 2147483646 w 156"/>
              <a:gd name="T55" fmla="*/ 2147483646 h 161"/>
              <a:gd name="T56" fmla="*/ 2147483646 w 156"/>
              <a:gd name="T57" fmla="*/ 2147483646 h 161"/>
              <a:gd name="T58" fmla="*/ 2147483646 w 156"/>
              <a:gd name="T59" fmla="*/ 2147483646 h 161"/>
              <a:gd name="T60" fmla="*/ 2147483646 w 156"/>
              <a:gd name="T61" fmla="*/ 2147483646 h 161"/>
              <a:gd name="T62" fmla="*/ 2147483646 w 156"/>
              <a:gd name="T63" fmla="*/ 2147483646 h 161"/>
              <a:gd name="T64" fmla="*/ 2147483646 w 156"/>
              <a:gd name="T65" fmla="*/ 2147483646 h 161"/>
              <a:gd name="T66" fmla="*/ 2147483646 w 156"/>
              <a:gd name="T67" fmla="*/ 2147483646 h 161"/>
              <a:gd name="T68" fmla="*/ 2147483646 w 156"/>
              <a:gd name="T69" fmla="*/ 2147483646 h 161"/>
              <a:gd name="T70" fmla="*/ 2147483646 w 156"/>
              <a:gd name="T71" fmla="*/ 2147483646 h 161"/>
              <a:gd name="T72" fmla="*/ 2147483646 w 156"/>
              <a:gd name="T73" fmla="*/ 2147483646 h 16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6" h="161">
                <a:moveTo>
                  <a:pt x="120" y="64"/>
                </a:moveTo>
                <a:lnTo>
                  <a:pt x="120" y="137"/>
                </a:lnTo>
                <a:lnTo>
                  <a:pt x="127" y="137"/>
                </a:lnTo>
                <a:lnTo>
                  <a:pt x="127" y="55"/>
                </a:lnTo>
                <a:lnTo>
                  <a:pt x="120" y="64"/>
                </a:lnTo>
                <a:close/>
                <a:moveTo>
                  <a:pt x="0" y="144"/>
                </a:moveTo>
                <a:lnTo>
                  <a:pt x="156" y="144"/>
                </a:lnTo>
                <a:lnTo>
                  <a:pt x="156" y="161"/>
                </a:lnTo>
                <a:lnTo>
                  <a:pt x="0" y="161"/>
                </a:lnTo>
                <a:lnTo>
                  <a:pt x="0" y="144"/>
                </a:lnTo>
                <a:close/>
                <a:moveTo>
                  <a:pt x="0" y="100"/>
                </a:moveTo>
                <a:lnTo>
                  <a:pt x="49" y="50"/>
                </a:lnTo>
                <a:lnTo>
                  <a:pt x="71" y="71"/>
                </a:lnTo>
                <a:lnTo>
                  <a:pt x="130" y="12"/>
                </a:lnTo>
                <a:lnTo>
                  <a:pt x="118" y="0"/>
                </a:lnTo>
                <a:lnTo>
                  <a:pt x="156" y="0"/>
                </a:lnTo>
                <a:lnTo>
                  <a:pt x="156" y="38"/>
                </a:lnTo>
                <a:lnTo>
                  <a:pt x="144" y="26"/>
                </a:lnTo>
                <a:lnTo>
                  <a:pt x="71" y="100"/>
                </a:lnTo>
                <a:lnTo>
                  <a:pt x="49" y="78"/>
                </a:lnTo>
                <a:lnTo>
                  <a:pt x="0" y="128"/>
                </a:lnTo>
                <a:lnTo>
                  <a:pt x="0" y="100"/>
                </a:lnTo>
                <a:close/>
                <a:moveTo>
                  <a:pt x="134" y="48"/>
                </a:moveTo>
                <a:lnTo>
                  <a:pt x="134" y="137"/>
                </a:lnTo>
                <a:lnTo>
                  <a:pt x="144" y="137"/>
                </a:lnTo>
                <a:lnTo>
                  <a:pt x="144" y="38"/>
                </a:lnTo>
                <a:lnTo>
                  <a:pt x="134" y="48"/>
                </a:lnTo>
                <a:close/>
                <a:moveTo>
                  <a:pt x="14" y="128"/>
                </a:moveTo>
                <a:lnTo>
                  <a:pt x="14" y="137"/>
                </a:lnTo>
                <a:lnTo>
                  <a:pt x="21" y="137"/>
                </a:lnTo>
                <a:lnTo>
                  <a:pt x="21" y="118"/>
                </a:lnTo>
                <a:lnTo>
                  <a:pt x="14" y="128"/>
                </a:lnTo>
                <a:close/>
                <a:moveTo>
                  <a:pt x="28" y="111"/>
                </a:moveTo>
                <a:lnTo>
                  <a:pt x="28" y="137"/>
                </a:lnTo>
                <a:lnTo>
                  <a:pt x="38" y="137"/>
                </a:lnTo>
                <a:lnTo>
                  <a:pt x="38" y="104"/>
                </a:lnTo>
                <a:lnTo>
                  <a:pt x="28" y="111"/>
                </a:lnTo>
                <a:close/>
                <a:moveTo>
                  <a:pt x="42" y="97"/>
                </a:moveTo>
                <a:lnTo>
                  <a:pt x="42" y="137"/>
                </a:lnTo>
                <a:lnTo>
                  <a:pt x="52" y="137"/>
                </a:lnTo>
                <a:lnTo>
                  <a:pt x="52" y="93"/>
                </a:lnTo>
                <a:lnTo>
                  <a:pt x="49" y="90"/>
                </a:lnTo>
                <a:lnTo>
                  <a:pt x="42" y="97"/>
                </a:lnTo>
                <a:close/>
                <a:moveTo>
                  <a:pt x="59" y="100"/>
                </a:moveTo>
                <a:lnTo>
                  <a:pt x="59" y="137"/>
                </a:lnTo>
                <a:lnTo>
                  <a:pt x="68" y="137"/>
                </a:lnTo>
                <a:lnTo>
                  <a:pt x="68" y="109"/>
                </a:lnTo>
                <a:lnTo>
                  <a:pt x="61" y="102"/>
                </a:lnTo>
                <a:lnTo>
                  <a:pt x="59" y="100"/>
                </a:lnTo>
                <a:close/>
                <a:moveTo>
                  <a:pt x="73" y="109"/>
                </a:moveTo>
                <a:lnTo>
                  <a:pt x="73" y="137"/>
                </a:lnTo>
                <a:lnTo>
                  <a:pt x="82" y="137"/>
                </a:lnTo>
                <a:lnTo>
                  <a:pt x="82" y="100"/>
                </a:lnTo>
                <a:lnTo>
                  <a:pt x="80" y="102"/>
                </a:lnTo>
                <a:lnTo>
                  <a:pt x="73" y="109"/>
                </a:lnTo>
                <a:close/>
                <a:moveTo>
                  <a:pt x="90" y="95"/>
                </a:moveTo>
                <a:lnTo>
                  <a:pt x="90" y="137"/>
                </a:lnTo>
                <a:lnTo>
                  <a:pt x="99" y="137"/>
                </a:lnTo>
                <a:lnTo>
                  <a:pt x="99" y="85"/>
                </a:lnTo>
                <a:lnTo>
                  <a:pt x="90" y="95"/>
                </a:lnTo>
                <a:close/>
                <a:moveTo>
                  <a:pt x="104" y="78"/>
                </a:moveTo>
                <a:lnTo>
                  <a:pt x="104" y="137"/>
                </a:lnTo>
                <a:lnTo>
                  <a:pt x="113" y="137"/>
                </a:lnTo>
                <a:lnTo>
                  <a:pt x="113" y="69"/>
                </a:lnTo>
                <a:lnTo>
                  <a:pt x="104" y="78"/>
                </a:lnTo>
                <a:close/>
              </a:path>
            </a:pathLst>
          </a:custGeom>
          <a:solidFill>
            <a:srgbClr val="104757">
              <a:alpha val="6313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37899" name="组合 57"/>
          <p:cNvGrpSpPr/>
          <p:nvPr/>
        </p:nvGrpSpPr>
        <p:grpSpPr bwMode="auto">
          <a:xfrm>
            <a:off x="1220788" y="4329113"/>
            <a:ext cx="177800" cy="273050"/>
            <a:chOff x="4761997" y="4220051"/>
            <a:chExt cx="260051" cy="363809"/>
          </a:xfrm>
        </p:grpSpPr>
        <p:sp>
          <p:nvSpPr>
            <p:cNvPr id="37931" name="Freeform 78"/>
            <p:cNvSpPr>
              <a:spLocks noEditPoints="1"/>
            </p:cNvSpPr>
            <p:nvPr/>
          </p:nvSpPr>
          <p:spPr bwMode="auto">
            <a:xfrm>
              <a:off x="4939304" y="4220051"/>
              <a:ext cx="82744" cy="86684"/>
            </a:xfrm>
            <a:custGeom>
              <a:avLst/>
              <a:gdLst>
                <a:gd name="T0" fmla="*/ 2147483646 w 27"/>
                <a:gd name="T1" fmla="*/ 0 h 28"/>
                <a:gd name="T2" fmla="*/ 0 w 27"/>
                <a:gd name="T3" fmla="*/ 2147483646 h 28"/>
                <a:gd name="T4" fmla="*/ 2147483646 w 27"/>
                <a:gd name="T5" fmla="*/ 2147483646 h 28"/>
                <a:gd name="T6" fmla="*/ 2147483646 w 27"/>
                <a:gd name="T7" fmla="*/ 2147483646 h 28"/>
                <a:gd name="T8" fmla="*/ 2147483646 w 27"/>
                <a:gd name="T9" fmla="*/ 2147483646 h 28"/>
                <a:gd name="T10" fmla="*/ 2147483646 w 27"/>
                <a:gd name="T11" fmla="*/ 2147483646 h 28"/>
                <a:gd name="T12" fmla="*/ 2147483646 w 27"/>
                <a:gd name="T13" fmla="*/ 0 h 28"/>
                <a:gd name="T14" fmla="*/ 2147483646 w 27"/>
                <a:gd name="T15" fmla="*/ 2147483646 h 28"/>
                <a:gd name="T16" fmla="*/ 0 w 27"/>
                <a:gd name="T17" fmla="*/ 2147483646 h 28"/>
                <a:gd name="T18" fmla="*/ 2147483646 w 27"/>
                <a:gd name="T19" fmla="*/ 2147483646 h 28"/>
                <a:gd name="T20" fmla="*/ 2147483646 w 27"/>
                <a:gd name="T21" fmla="*/ 2147483646 h 28"/>
                <a:gd name="T22" fmla="*/ 2147483646 w 27"/>
                <a:gd name="T23" fmla="*/ 2147483646 h 28"/>
                <a:gd name="T24" fmla="*/ 2147483646 w 27"/>
                <a:gd name="T25" fmla="*/ 2147483646 h 28"/>
                <a:gd name="T26" fmla="*/ 2147483646 w 27"/>
                <a:gd name="T27" fmla="*/ 2147483646 h 28"/>
                <a:gd name="T28" fmla="*/ 2147483646 w 27"/>
                <a:gd name="T29" fmla="*/ 2147483646 h 28"/>
                <a:gd name="T30" fmla="*/ 0 w 27"/>
                <a:gd name="T31" fmla="*/ 2147483646 h 28"/>
                <a:gd name="T32" fmla="*/ 2147483646 w 27"/>
                <a:gd name="T33" fmla="*/ 2147483646 h 28"/>
                <a:gd name="T34" fmla="*/ 2147483646 w 27"/>
                <a:gd name="T35" fmla="*/ 2147483646 h 28"/>
                <a:gd name="T36" fmla="*/ 2147483646 w 27"/>
                <a:gd name="T37" fmla="*/ 2147483646 h 28"/>
                <a:gd name="T38" fmla="*/ 2147483646 w 27"/>
                <a:gd name="T39" fmla="*/ 2147483646 h 28"/>
                <a:gd name="T40" fmla="*/ 2147483646 w 27"/>
                <a:gd name="T41" fmla="*/ 2147483646 h 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7" h="28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24" y="14"/>
                    <a:pt x="24" y="26"/>
                  </a:cubicBezTo>
                  <a:cubicBezTo>
                    <a:pt x="24" y="27"/>
                    <a:pt x="25" y="28"/>
                    <a:pt x="26" y="28"/>
                  </a:cubicBezTo>
                  <a:cubicBezTo>
                    <a:pt x="27" y="28"/>
                    <a:pt x="27" y="27"/>
                    <a:pt x="27" y="26"/>
                  </a:cubicBezTo>
                  <a:cubicBezTo>
                    <a:pt x="27" y="12"/>
                    <a:pt x="16" y="0"/>
                    <a:pt x="2" y="0"/>
                  </a:cubicBezTo>
                  <a:close/>
                  <a:moveTo>
                    <a:pt x="2" y="7"/>
                  </a:move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0"/>
                    <a:pt x="2" y="10"/>
                  </a:cubicBezTo>
                  <a:cubicBezTo>
                    <a:pt x="10" y="10"/>
                    <a:pt x="17" y="18"/>
                    <a:pt x="17" y="26"/>
                  </a:cubicBezTo>
                  <a:cubicBezTo>
                    <a:pt x="17" y="27"/>
                    <a:pt x="18" y="28"/>
                    <a:pt x="19" y="28"/>
                  </a:cubicBezTo>
                  <a:cubicBezTo>
                    <a:pt x="20" y="28"/>
                    <a:pt x="21" y="27"/>
                    <a:pt x="21" y="26"/>
                  </a:cubicBezTo>
                  <a:cubicBezTo>
                    <a:pt x="21" y="15"/>
                    <a:pt x="12" y="7"/>
                    <a:pt x="2" y="7"/>
                  </a:cubicBezTo>
                  <a:close/>
                  <a:moveTo>
                    <a:pt x="2" y="13"/>
                  </a:moveTo>
                  <a:cubicBezTo>
                    <a:pt x="1" y="13"/>
                    <a:pt x="0" y="14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7" y="17"/>
                    <a:pt x="11" y="21"/>
                    <a:pt x="11" y="26"/>
                  </a:cubicBezTo>
                  <a:cubicBezTo>
                    <a:pt x="11" y="27"/>
                    <a:pt x="12" y="28"/>
                    <a:pt x="13" y="28"/>
                  </a:cubicBezTo>
                  <a:cubicBezTo>
                    <a:pt x="14" y="28"/>
                    <a:pt x="15" y="27"/>
                    <a:pt x="15" y="26"/>
                  </a:cubicBezTo>
                  <a:cubicBezTo>
                    <a:pt x="15" y="19"/>
                    <a:pt x="9" y="13"/>
                    <a:pt x="2" y="13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2" name="Freeform 79"/>
            <p:cNvSpPr>
              <a:spLocks noEditPoints="1"/>
            </p:cNvSpPr>
            <p:nvPr/>
          </p:nvSpPr>
          <p:spPr bwMode="auto">
            <a:xfrm>
              <a:off x="4761997" y="4281781"/>
              <a:ext cx="204888" cy="302079"/>
            </a:xfrm>
            <a:custGeom>
              <a:avLst/>
              <a:gdLst>
                <a:gd name="T0" fmla="*/ 2147483646 w 66"/>
                <a:gd name="T1" fmla="*/ 0 h 97"/>
                <a:gd name="T2" fmla="*/ 2147483646 w 66"/>
                <a:gd name="T3" fmla="*/ 0 h 97"/>
                <a:gd name="T4" fmla="*/ 0 w 66"/>
                <a:gd name="T5" fmla="*/ 2147483646 h 97"/>
                <a:gd name="T6" fmla="*/ 0 w 66"/>
                <a:gd name="T7" fmla="*/ 2147483646 h 97"/>
                <a:gd name="T8" fmla="*/ 2147483646 w 66"/>
                <a:gd name="T9" fmla="*/ 2147483646 h 97"/>
                <a:gd name="T10" fmla="*/ 2147483646 w 66"/>
                <a:gd name="T11" fmla="*/ 2147483646 h 97"/>
                <a:gd name="T12" fmla="*/ 2147483646 w 66"/>
                <a:gd name="T13" fmla="*/ 2147483646 h 97"/>
                <a:gd name="T14" fmla="*/ 2147483646 w 66"/>
                <a:gd name="T15" fmla="*/ 2147483646 h 97"/>
                <a:gd name="T16" fmla="*/ 2147483646 w 66"/>
                <a:gd name="T17" fmla="*/ 0 h 97"/>
                <a:gd name="T18" fmla="*/ 2147483646 w 66"/>
                <a:gd name="T19" fmla="*/ 2147483646 h 97"/>
                <a:gd name="T20" fmla="*/ 2147483646 w 66"/>
                <a:gd name="T21" fmla="*/ 2147483646 h 97"/>
                <a:gd name="T22" fmla="*/ 2147483646 w 66"/>
                <a:gd name="T23" fmla="*/ 2147483646 h 97"/>
                <a:gd name="T24" fmla="*/ 2147483646 w 66"/>
                <a:gd name="T25" fmla="*/ 2147483646 h 97"/>
                <a:gd name="T26" fmla="*/ 2147483646 w 66"/>
                <a:gd name="T27" fmla="*/ 2147483646 h 97"/>
                <a:gd name="T28" fmla="*/ 2147483646 w 66"/>
                <a:gd name="T29" fmla="*/ 2147483646 h 97"/>
                <a:gd name="T30" fmla="*/ 2147483646 w 66"/>
                <a:gd name="T31" fmla="*/ 2147483646 h 97"/>
                <a:gd name="T32" fmla="*/ 2147483646 w 66"/>
                <a:gd name="T33" fmla="*/ 2147483646 h 97"/>
                <a:gd name="T34" fmla="*/ 2147483646 w 66"/>
                <a:gd name="T35" fmla="*/ 2147483646 h 97"/>
                <a:gd name="T36" fmla="*/ 2147483646 w 66"/>
                <a:gd name="T37" fmla="*/ 2147483646 h 9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97">
                  <a:moveTo>
                    <a:pt x="5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3"/>
                    <a:pt x="3" y="97"/>
                    <a:pt x="7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63" y="97"/>
                    <a:pt x="66" y="93"/>
                    <a:pt x="66" y="88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6" y="4"/>
                    <a:pt x="63" y="0"/>
                    <a:pt x="59" y="0"/>
                  </a:cubicBezTo>
                  <a:close/>
                  <a:moveTo>
                    <a:pt x="33" y="90"/>
                  </a:moveTo>
                  <a:cubicBezTo>
                    <a:pt x="30" y="90"/>
                    <a:pt x="27" y="87"/>
                    <a:pt x="27" y="84"/>
                  </a:cubicBezTo>
                  <a:cubicBezTo>
                    <a:pt x="27" y="81"/>
                    <a:pt x="30" y="78"/>
                    <a:pt x="33" y="78"/>
                  </a:cubicBezTo>
                  <a:cubicBezTo>
                    <a:pt x="36" y="78"/>
                    <a:pt x="38" y="81"/>
                    <a:pt x="38" y="84"/>
                  </a:cubicBezTo>
                  <a:cubicBezTo>
                    <a:pt x="38" y="87"/>
                    <a:pt x="36" y="90"/>
                    <a:pt x="33" y="90"/>
                  </a:cubicBezTo>
                  <a:close/>
                  <a:moveTo>
                    <a:pt x="56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56" y="10"/>
                    <a:pt x="56" y="10"/>
                    <a:pt x="56" y="10"/>
                  </a:cubicBezTo>
                  <a:lnTo>
                    <a:pt x="56" y="68"/>
                  </a:ln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900" name="组合 56"/>
          <p:cNvGrpSpPr/>
          <p:nvPr/>
        </p:nvGrpSpPr>
        <p:grpSpPr bwMode="auto">
          <a:xfrm>
            <a:off x="3246438" y="4351338"/>
            <a:ext cx="300037" cy="317500"/>
            <a:chOff x="6549514" y="4151755"/>
            <a:chExt cx="439983" cy="422912"/>
          </a:xfrm>
        </p:grpSpPr>
        <p:sp>
          <p:nvSpPr>
            <p:cNvPr id="37929" name="Freeform 80"/>
            <p:cNvSpPr>
              <a:spLocks noEditPoints="1"/>
            </p:cNvSpPr>
            <p:nvPr/>
          </p:nvSpPr>
          <p:spPr bwMode="auto">
            <a:xfrm>
              <a:off x="6549514" y="4266020"/>
              <a:ext cx="366435" cy="308647"/>
            </a:xfrm>
            <a:custGeom>
              <a:avLst/>
              <a:gdLst>
                <a:gd name="T0" fmla="*/ 2147483646 w 118"/>
                <a:gd name="T1" fmla="*/ 2147483646 h 99"/>
                <a:gd name="T2" fmla="*/ 2147483646 w 118"/>
                <a:gd name="T3" fmla="*/ 2147483646 h 99"/>
                <a:gd name="T4" fmla="*/ 2147483646 w 118"/>
                <a:gd name="T5" fmla="*/ 2147483646 h 99"/>
                <a:gd name="T6" fmla="*/ 2147483646 w 118"/>
                <a:gd name="T7" fmla="*/ 2147483646 h 99"/>
                <a:gd name="T8" fmla="*/ 2147483646 w 118"/>
                <a:gd name="T9" fmla="*/ 2147483646 h 99"/>
                <a:gd name="T10" fmla="*/ 2147483646 w 118"/>
                <a:gd name="T11" fmla="*/ 2147483646 h 99"/>
                <a:gd name="T12" fmla="*/ 2147483646 w 118"/>
                <a:gd name="T13" fmla="*/ 2147483646 h 99"/>
                <a:gd name="T14" fmla="*/ 2147483646 w 118"/>
                <a:gd name="T15" fmla="*/ 2147483646 h 99"/>
                <a:gd name="T16" fmla="*/ 2147483646 w 118"/>
                <a:gd name="T17" fmla="*/ 2147483646 h 99"/>
                <a:gd name="T18" fmla="*/ 2147483646 w 118"/>
                <a:gd name="T19" fmla="*/ 2147483646 h 99"/>
                <a:gd name="T20" fmla="*/ 2147483646 w 118"/>
                <a:gd name="T21" fmla="*/ 2147483646 h 99"/>
                <a:gd name="T22" fmla="*/ 2147483646 w 118"/>
                <a:gd name="T23" fmla="*/ 2147483646 h 99"/>
                <a:gd name="T24" fmla="*/ 2147483646 w 118"/>
                <a:gd name="T25" fmla="*/ 2147483646 h 99"/>
                <a:gd name="T26" fmla="*/ 2147483646 w 118"/>
                <a:gd name="T27" fmla="*/ 2147483646 h 99"/>
                <a:gd name="T28" fmla="*/ 2147483646 w 118"/>
                <a:gd name="T29" fmla="*/ 2147483646 h 99"/>
                <a:gd name="T30" fmla="*/ 2147483646 w 118"/>
                <a:gd name="T31" fmla="*/ 2147483646 h 99"/>
                <a:gd name="T32" fmla="*/ 2147483646 w 118"/>
                <a:gd name="T33" fmla="*/ 2147483646 h 99"/>
                <a:gd name="T34" fmla="*/ 2147483646 w 118"/>
                <a:gd name="T35" fmla="*/ 2147483646 h 99"/>
                <a:gd name="T36" fmla="*/ 2147483646 w 118"/>
                <a:gd name="T37" fmla="*/ 2147483646 h 99"/>
                <a:gd name="T38" fmla="*/ 2147483646 w 118"/>
                <a:gd name="T39" fmla="*/ 2147483646 h 99"/>
                <a:gd name="T40" fmla="*/ 2147483646 w 118"/>
                <a:gd name="T41" fmla="*/ 2147483646 h 99"/>
                <a:gd name="T42" fmla="*/ 2147483646 w 118"/>
                <a:gd name="T43" fmla="*/ 2147483646 h 99"/>
                <a:gd name="T44" fmla="*/ 2147483646 w 118"/>
                <a:gd name="T45" fmla="*/ 2147483646 h 99"/>
                <a:gd name="T46" fmla="*/ 2147483646 w 118"/>
                <a:gd name="T47" fmla="*/ 2147483646 h 99"/>
                <a:gd name="T48" fmla="*/ 2147483646 w 118"/>
                <a:gd name="T49" fmla="*/ 2147483646 h 99"/>
                <a:gd name="T50" fmla="*/ 2147483646 w 118"/>
                <a:gd name="T51" fmla="*/ 2147483646 h 99"/>
                <a:gd name="T52" fmla="*/ 2147483646 w 118"/>
                <a:gd name="T53" fmla="*/ 2147483646 h 99"/>
                <a:gd name="T54" fmla="*/ 2147483646 w 118"/>
                <a:gd name="T55" fmla="*/ 2147483646 h 99"/>
                <a:gd name="T56" fmla="*/ 2147483646 w 118"/>
                <a:gd name="T57" fmla="*/ 2147483646 h 99"/>
                <a:gd name="T58" fmla="*/ 2147483646 w 118"/>
                <a:gd name="T59" fmla="*/ 2147483646 h 99"/>
                <a:gd name="T60" fmla="*/ 2147483646 w 118"/>
                <a:gd name="T61" fmla="*/ 2147483646 h 99"/>
                <a:gd name="T62" fmla="*/ 2147483646 w 118"/>
                <a:gd name="T63" fmla="*/ 2147483646 h 99"/>
                <a:gd name="T64" fmla="*/ 2147483646 w 118"/>
                <a:gd name="T65" fmla="*/ 2147483646 h 99"/>
                <a:gd name="T66" fmla="*/ 2147483646 w 118"/>
                <a:gd name="T67" fmla="*/ 2147483646 h 99"/>
                <a:gd name="T68" fmla="*/ 2147483646 w 118"/>
                <a:gd name="T69" fmla="*/ 2147483646 h 99"/>
                <a:gd name="T70" fmla="*/ 2147483646 w 118"/>
                <a:gd name="T71" fmla="*/ 2147483646 h 99"/>
                <a:gd name="T72" fmla="*/ 2147483646 w 118"/>
                <a:gd name="T73" fmla="*/ 2147483646 h 99"/>
                <a:gd name="T74" fmla="*/ 2147483646 w 118"/>
                <a:gd name="T75" fmla="*/ 2147483646 h 99"/>
                <a:gd name="T76" fmla="*/ 2147483646 w 118"/>
                <a:gd name="T77" fmla="*/ 2147483646 h 99"/>
                <a:gd name="T78" fmla="*/ 2147483646 w 118"/>
                <a:gd name="T79" fmla="*/ 2147483646 h 99"/>
                <a:gd name="T80" fmla="*/ 2147483646 w 118"/>
                <a:gd name="T81" fmla="*/ 2147483646 h 99"/>
                <a:gd name="T82" fmla="*/ 2147483646 w 118"/>
                <a:gd name="T83" fmla="*/ 2147483646 h 99"/>
                <a:gd name="T84" fmla="*/ 2147483646 w 118"/>
                <a:gd name="T85" fmla="*/ 2147483646 h 99"/>
                <a:gd name="T86" fmla="*/ 2147483646 w 118"/>
                <a:gd name="T87" fmla="*/ 2147483646 h 99"/>
                <a:gd name="T88" fmla="*/ 2147483646 w 118"/>
                <a:gd name="T89" fmla="*/ 2147483646 h 99"/>
                <a:gd name="T90" fmla="*/ 2147483646 w 118"/>
                <a:gd name="T91" fmla="*/ 2147483646 h 99"/>
                <a:gd name="T92" fmla="*/ 2147483646 w 118"/>
                <a:gd name="T93" fmla="*/ 2147483646 h 99"/>
                <a:gd name="T94" fmla="*/ 2147483646 w 118"/>
                <a:gd name="T95" fmla="*/ 2147483646 h 99"/>
                <a:gd name="T96" fmla="*/ 2147483646 w 118"/>
                <a:gd name="T97" fmla="*/ 2147483646 h 99"/>
                <a:gd name="T98" fmla="*/ 2147483646 w 118"/>
                <a:gd name="T99" fmla="*/ 2147483646 h 99"/>
                <a:gd name="T100" fmla="*/ 2147483646 w 118"/>
                <a:gd name="T101" fmla="*/ 2147483646 h 99"/>
                <a:gd name="T102" fmla="*/ 2147483646 w 118"/>
                <a:gd name="T103" fmla="*/ 2147483646 h 99"/>
                <a:gd name="T104" fmla="*/ 2147483646 w 118"/>
                <a:gd name="T105" fmla="*/ 2147483646 h 99"/>
                <a:gd name="T106" fmla="*/ 2147483646 w 118"/>
                <a:gd name="T107" fmla="*/ 2147483646 h 99"/>
                <a:gd name="T108" fmla="*/ 2147483646 w 118"/>
                <a:gd name="T109" fmla="*/ 2147483646 h 99"/>
                <a:gd name="T110" fmla="*/ 2147483646 w 118"/>
                <a:gd name="T111" fmla="*/ 2147483646 h 99"/>
                <a:gd name="T112" fmla="*/ 2147483646 w 118"/>
                <a:gd name="T113" fmla="*/ 2147483646 h 99"/>
                <a:gd name="T114" fmla="*/ 2147483646 w 118"/>
                <a:gd name="T115" fmla="*/ 2147483646 h 99"/>
                <a:gd name="T116" fmla="*/ 2147483646 w 118"/>
                <a:gd name="T117" fmla="*/ 2147483646 h 99"/>
                <a:gd name="T118" fmla="*/ 2147483646 w 118"/>
                <a:gd name="T119" fmla="*/ 2147483646 h 99"/>
                <a:gd name="T120" fmla="*/ 2147483646 w 118"/>
                <a:gd name="T121" fmla="*/ 2147483646 h 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18" h="99">
                  <a:moveTo>
                    <a:pt x="59" y="0"/>
                  </a:moveTo>
                  <a:cubicBezTo>
                    <a:pt x="26" y="0"/>
                    <a:pt x="0" y="22"/>
                    <a:pt x="0" y="50"/>
                  </a:cubicBezTo>
                  <a:cubicBezTo>
                    <a:pt x="0" y="77"/>
                    <a:pt x="26" y="99"/>
                    <a:pt x="59" y="99"/>
                  </a:cubicBezTo>
                  <a:cubicBezTo>
                    <a:pt x="92" y="99"/>
                    <a:pt x="118" y="77"/>
                    <a:pt x="118" y="50"/>
                  </a:cubicBezTo>
                  <a:cubicBezTo>
                    <a:pt x="118" y="22"/>
                    <a:pt x="92" y="0"/>
                    <a:pt x="59" y="0"/>
                  </a:cubicBezTo>
                  <a:close/>
                  <a:moveTo>
                    <a:pt x="108" y="49"/>
                  </a:moveTo>
                  <a:cubicBezTo>
                    <a:pt x="108" y="50"/>
                    <a:pt x="108" y="50"/>
                    <a:pt x="108" y="50"/>
                  </a:cubicBezTo>
                  <a:cubicBezTo>
                    <a:pt x="102" y="49"/>
                    <a:pt x="95" y="48"/>
                    <a:pt x="87" y="47"/>
                  </a:cubicBezTo>
                  <a:cubicBezTo>
                    <a:pt x="87" y="38"/>
                    <a:pt x="86" y="30"/>
                    <a:pt x="83" y="22"/>
                  </a:cubicBezTo>
                  <a:cubicBezTo>
                    <a:pt x="88" y="21"/>
                    <a:pt x="92" y="19"/>
                    <a:pt x="96" y="17"/>
                  </a:cubicBezTo>
                  <a:cubicBezTo>
                    <a:pt x="104" y="25"/>
                    <a:pt x="108" y="37"/>
                    <a:pt x="108" y="49"/>
                  </a:cubicBezTo>
                  <a:close/>
                  <a:moveTo>
                    <a:pt x="61" y="1"/>
                  </a:moveTo>
                  <a:cubicBezTo>
                    <a:pt x="61" y="1"/>
                    <a:pt x="62" y="1"/>
                    <a:pt x="62" y="1"/>
                  </a:cubicBezTo>
                  <a:cubicBezTo>
                    <a:pt x="62" y="1"/>
                    <a:pt x="61" y="1"/>
                    <a:pt x="61" y="1"/>
                  </a:cubicBezTo>
                  <a:close/>
                  <a:moveTo>
                    <a:pt x="64" y="2"/>
                  </a:moveTo>
                  <a:cubicBezTo>
                    <a:pt x="64" y="2"/>
                    <a:pt x="64" y="2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lose/>
                  <a:moveTo>
                    <a:pt x="66" y="2"/>
                  </a:moveTo>
                  <a:cubicBezTo>
                    <a:pt x="66" y="2"/>
                    <a:pt x="67" y="2"/>
                    <a:pt x="67" y="2"/>
                  </a:cubicBezTo>
                  <a:cubicBezTo>
                    <a:pt x="67" y="2"/>
                    <a:pt x="66" y="2"/>
                    <a:pt x="66" y="2"/>
                  </a:cubicBezTo>
                  <a:close/>
                  <a:moveTo>
                    <a:pt x="69" y="2"/>
                  </a:move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lose/>
                  <a:moveTo>
                    <a:pt x="75" y="15"/>
                  </a:moveTo>
                  <a:cubicBezTo>
                    <a:pt x="76" y="16"/>
                    <a:pt x="77" y="18"/>
                    <a:pt x="77" y="19"/>
                  </a:cubicBezTo>
                  <a:cubicBezTo>
                    <a:pt x="72" y="20"/>
                    <a:pt x="67" y="21"/>
                    <a:pt x="61" y="21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7" y="3"/>
                    <a:pt x="71" y="8"/>
                    <a:pt x="75" y="15"/>
                  </a:cubicBezTo>
                  <a:close/>
                  <a:moveTo>
                    <a:pt x="61" y="78"/>
                  </a:moveTo>
                  <a:cubicBezTo>
                    <a:pt x="67" y="78"/>
                    <a:pt x="72" y="79"/>
                    <a:pt x="77" y="81"/>
                  </a:cubicBezTo>
                  <a:cubicBezTo>
                    <a:pt x="76" y="82"/>
                    <a:pt x="76" y="82"/>
                    <a:pt x="75" y="83"/>
                  </a:cubicBezTo>
                  <a:cubicBezTo>
                    <a:pt x="71" y="91"/>
                    <a:pt x="67" y="95"/>
                    <a:pt x="61" y="96"/>
                  </a:cubicBezTo>
                  <a:lnTo>
                    <a:pt x="61" y="78"/>
                  </a:lnTo>
                  <a:close/>
                  <a:moveTo>
                    <a:pt x="69" y="96"/>
                  </a:moveTo>
                  <a:cubicBezTo>
                    <a:pt x="69" y="96"/>
                    <a:pt x="69" y="96"/>
                    <a:pt x="69" y="96"/>
                  </a:cubicBezTo>
                  <a:cubicBezTo>
                    <a:pt x="69" y="96"/>
                    <a:pt x="69" y="96"/>
                    <a:pt x="69" y="96"/>
                  </a:cubicBezTo>
                  <a:close/>
                  <a:moveTo>
                    <a:pt x="67" y="96"/>
                  </a:moveTo>
                  <a:cubicBezTo>
                    <a:pt x="67" y="96"/>
                    <a:pt x="66" y="96"/>
                    <a:pt x="66" y="96"/>
                  </a:cubicBezTo>
                  <a:cubicBezTo>
                    <a:pt x="66" y="96"/>
                    <a:pt x="67" y="96"/>
                    <a:pt x="67" y="96"/>
                  </a:cubicBezTo>
                  <a:close/>
                  <a:moveTo>
                    <a:pt x="64" y="97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lose/>
                  <a:moveTo>
                    <a:pt x="62" y="97"/>
                  </a:moveTo>
                  <a:cubicBezTo>
                    <a:pt x="62" y="97"/>
                    <a:pt x="61" y="97"/>
                    <a:pt x="61" y="97"/>
                  </a:cubicBezTo>
                  <a:cubicBezTo>
                    <a:pt x="61" y="97"/>
                    <a:pt x="62" y="97"/>
                    <a:pt x="62" y="97"/>
                  </a:cubicBezTo>
                  <a:close/>
                  <a:moveTo>
                    <a:pt x="80" y="85"/>
                  </a:moveTo>
                  <a:cubicBezTo>
                    <a:pt x="80" y="84"/>
                    <a:pt x="80" y="84"/>
                    <a:pt x="81" y="83"/>
                  </a:cubicBezTo>
                  <a:cubicBezTo>
                    <a:pt x="84" y="84"/>
                    <a:pt x="86" y="86"/>
                    <a:pt x="89" y="87"/>
                  </a:cubicBezTo>
                  <a:cubicBezTo>
                    <a:pt x="84" y="91"/>
                    <a:pt x="78" y="93"/>
                    <a:pt x="72" y="95"/>
                  </a:cubicBezTo>
                  <a:cubicBezTo>
                    <a:pt x="75" y="93"/>
                    <a:pt x="77" y="89"/>
                    <a:pt x="80" y="85"/>
                  </a:cubicBezTo>
                  <a:close/>
                  <a:moveTo>
                    <a:pt x="72" y="95"/>
                  </a:moveTo>
                  <a:cubicBezTo>
                    <a:pt x="71" y="95"/>
                    <a:pt x="71" y="95"/>
                    <a:pt x="71" y="95"/>
                  </a:cubicBezTo>
                  <a:cubicBezTo>
                    <a:pt x="71" y="95"/>
                    <a:pt x="71" y="95"/>
                    <a:pt x="72" y="95"/>
                  </a:cubicBezTo>
                  <a:close/>
                  <a:moveTo>
                    <a:pt x="78" y="77"/>
                  </a:moveTo>
                  <a:cubicBezTo>
                    <a:pt x="73" y="75"/>
                    <a:pt x="67" y="73"/>
                    <a:pt x="61" y="73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9" y="51"/>
                    <a:pt x="76" y="51"/>
                    <a:pt x="83" y="52"/>
                  </a:cubicBezTo>
                  <a:cubicBezTo>
                    <a:pt x="83" y="61"/>
                    <a:pt x="81" y="69"/>
                    <a:pt x="78" y="77"/>
                  </a:cubicBezTo>
                  <a:close/>
                  <a:moveTo>
                    <a:pt x="61" y="46"/>
                  </a:moveTo>
                  <a:cubicBezTo>
                    <a:pt x="61" y="26"/>
                    <a:pt x="61" y="26"/>
                    <a:pt x="61" y="26"/>
                  </a:cubicBezTo>
                  <a:cubicBezTo>
                    <a:pt x="67" y="25"/>
                    <a:pt x="73" y="25"/>
                    <a:pt x="79" y="23"/>
                  </a:cubicBezTo>
                  <a:cubicBezTo>
                    <a:pt x="81" y="30"/>
                    <a:pt x="83" y="38"/>
                    <a:pt x="83" y="47"/>
                  </a:cubicBezTo>
                  <a:cubicBezTo>
                    <a:pt x="76" y="46"/>
                    <a:pt x="69" y="46"/>
                    <a:pt x="61" y="46"/>
                  </a:cubicBezTo>
                  <a:close/>
                  <a:moveTo>
                    <a:pt x="82" y="18"/>
                  </a:moveTo>
                  <a:cubicBezTo>
                    <a:pt x="81" y="16"/>
                    <a:pt x="80" y="14"/>
                    <a:pt x="80" y="13"/>
                  </a:cubicBezTo>
                  <a:cubicBezTo>
                    <a:pt x="77" y="9"/>
                    <a:pt x="75" y="6"/>
                    <a:pt x="72" y="3"/>
                  </a:cubicBezTo>
                  <a:cubicBezTo>
                    <a:pt x="80" y="5"/>
                    <a:pt x="86" y="9"/>
                    <a:pt x="92" y="14"/>
                  </a:cubicBezTo>
                  <a:cubicBezTo>
                    <a:pt x="89" y="15"/>
                    <a:pt x="85" y="17"/>
                    <a:pt x="82" y="18"/>
                  </a:cubicBezTo>
                  <a:close/>
                  <a:moveTo>
                    <a:pt x="71" y="3"/>
                  </a:moveTo>
                  <a:cubicBezTo>
                    <a:pt x="71" y="3"/>
                    <a:pt x="71" y="3"/>
                    <a:pt x="72" y="3"/>
                  </a:cubicBezTo>
                  <a:cubicBezTo>
                    <a:pt x="71" y="3"/>
                    <a:pt x="71" y="3"/>
                    <a:pt x="71" y="3"/>
                  </a:cubicBezTo>
                  <a:close/>
                  <a:moveTo>
                    <a:pt x="95" y="17"/>
                  </a:moveTo>
                  <a:cubicBezTo>
                    <a:pt x="95" y="16"/>
                    <a:pt x="94" y="16"/>
                    <a:pt x="94" y="15"/>
                  </a:cubicBezTo>
                  <a:cubicBezTo>
                    <a:pt x="94" y="16"/>
                    <a:pt x="95" y="16"/>
                    <a:pt x="95" y="17"/>
                  </a:cubicBezTo>
                  <a:close/>
                  <a:moveTo>
                    <a:pt x="92" y="14"/>
                  </a:moveTo>
                  <a:cubicBezTo>
                    <a:pt x="93" y="14"/>
                    <a:pt x="93" y="14"/>
                    <a:pt x="93" y="15"/>
                  </a:cubicBezTo>
                  <a:cubicBezTo>
                    <a:pt x="93" y="14"/>
                    <a:pt x="93" y="14"/>
                    <a:pt x="92" y="14"/>
                  </a:cubicBezTo>
                  <a:close/>
                  <a:moveTo>
                    <a:pt x="39" y="23"/>
                  </a:moveTo>
                  <a:cubicBezTo>
                    <a:pt x="45" y="25"/>
                    <a:pt x="50" y="25"/>
                    <a:pt x="57" y="2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49" y="46"/>
                    <a:pt x="42" y="46"/>
                    <a:pt x="35" y="47"/>
                  </a:cubicBezTo>
                  <a:cubicBezTo>
                    <a:pt x="35" y="38"/>
                    <a:pt x="37" y="30"/>
                    <a:pt x="39" y="23"/>
                  </a:cubicBezTo>
                  <a:close/>
                  <a:moveTo>
                    <a:pt x="26" y="14"/>
                  </a:moveTo>
                  <a:cubicBezTo>
                    <a:pt x="31" y="9"/>
                    <a:pt x="38" y="5"/>
                    <a:pt x="46" y="3"/>
                  </a:cubicBezTo>
                  <a:cubicBezTo>
                    <a:pt x="43" y="6"/>
                    <a:pt x="40" y="9"/>
                    <a:pt x="38" y="13"/>
                  </a:cubicBezTo>
                  <a:cubicBezTo>
                    <a:pt x="38" y="14"/>
                    <a:pt x="37" y="16"/>
                    <a:pt x="36" y="18"/>
                  </a:cubicBezTo>
                  <a:cubicBezTo>
                    <a:pt x="32" y="17"/>
                    <a:pt x="29" y="15"/>
                    <a:pt x="26" y="14"/>
                  </a:cubicBezTo>
                  <a:close/>
                  <a:moveTo>
                    <a:pt x="57" y="51"/>
                  </a:moveTo>
                  <a:cubicBezTo>
                    <a:pt x="57" y="73"/>
                    <a:pt x="57" y="73"/>
                    <a:pt x="57" y="73"/>
                  </a:cubicBezTo>
                  <a:cubicBezTo>
                    <a:pt x="51" y="73"/>
                    <a:pt x="45" y="75"/>
                    <a:pt x="40" y="77"/>
                  </a:cubicBezTo>
                  <a:cubicBezTo>
                    <a:pt x="37" y="69"/>
                    <a:pt x="35" y="61"/>
                    <a:pt x="35" y="52"/>
                  </a:cubicBezTo>
                  <a:cubicBezTo>
                    <a:pt x="42" y="51"/>
                    <a:pt x="49" y="51"/>
                    <a:pt x="57" y="51"/>
                  </a:cubicBezTo>
                  <a:close/>
                  <a:moveTo>
                    <a:pt x="57" y="78"/>
                  </a:moveTo>
                  <a:cubicBezTo>
                    <a:pt x="57" y="96"/>
                    <a:pt x="57" y="96"/>
                    <a:pt x="57" y="96"/>
                  </a:cubicBezTo>
                  <a:cubicBezTo>
                    <a:pt x="51" y="95"/>
                    <a:pt x="46" y="91"/>
                    <a:pt x="42" y="83"/>
                  </a:cubicBezTo>
                  <a:cubicBezTo>
                    <a:pt x="42" y="82"/>
                    <a:pt x="42" y="82"/>
                    <a:pt x="41" y="81"/>
                  </a:cubicBezTo>
                  <a:cubicBezTo>
                    <a:pt x="46" y="79"/>
                    <a:pt x="51" y="78"/>
                    <a:pt x="57" y="78"/>
                  </a:cubicBezTo>
                  <a:close/>
                  <a:moveTo>
                    <a:pt x="38" y="85"/>
                  </a:moveTo>
                  <a:cubicBezTo>
                    <a:pt x="40" y="89"/>
                    <a:pt x="43" y="93"/>
                    <a:pt x="46" y="95"/>
                  </a:cubicBezTo>
                  <a:cubicBezTo>
                    <a:pt x="40" y="93"/>
                    <a:pt x="34" y="91"/>
                    <a:pt x="29" y="87"/>
                  </a:cubicBezTo>
                  <a:cubicBezTo>
                    <a:pt x="32" y="86"/>
                    <a:pt x="34" y="84"/>
                    <a:pt x="37" y="83"/>
                  </a:cubicBezTo>
                  <a:cubicBezTo>
                    <a:pt x="37" y="84"/>
                    <a:pt x="38" y="84"/>
                    <a:pt x="38" y="85"/>
                  </a:cubicBezTo>
                  <a:close/>
                  <a:moveTo>
                    <a:pt x="47" y="95"/>
                  </a:moveTo>
                  <a:cubicBezTo>
                    <a:pt x="47" y="95"/>
                    <a:pt x="46" y="95"/>
                    <a:pt x="46" y="95"/>
                  </a:cubicBezTo>
                  <a:cubicBezTo>
                    <a:pt x="46" y="95"/>
                    <a:pt x="47" y="95"/>
                    <a:pt x="47" y="95"/>
                  </a:cubicBezTo>
                  <a:close/>
                  <a:moveTo>
                    <a:pt x="57" y="97"/>
                  </a:moveTo>
                  <a:cubicBezTo>
                    <a:pt x="56" y="97"/>
                    <a:pt x="56" y="97"/>
                    <a:pt x="56" y="97"/>
                  </a:cubicBezTo>
                  <a:cubicBezTo>
                    <a:pt x="56" y="97"/>
                    <a:pt x="56" y="97"/>
                    <a:pt x="57" y="97"/>
                  </a:cubicBezTo>
                  <a:close/>
                  <a:moveTo>
                    <a:pt x="54" y="97"/>
                  </a:moveTo>
                  <a:cubicBezTo>
                    <a:pt x="54" y="97"/>
                    <a:pt x="54" y="97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lose/>
                  <a:moveTo>
                    <a:pt x="52" y="96"/>
                  </a:move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2" y="96"/>
                  </a:cubicBezTo>
                  <a:close/>
                  <a:moveTo>
                    <a:pt x="49" y="96"/>
                  </a:moveTo>
                  <a:cubicBezTo>
                    <a:pt x="49" y="96"/>
                    <a:pt x="49" y="96"/>
                    <a:pt x="49" y="96"/>
                  </a:cubicBezTo>
                  <a:cubicBezTo>
                    <a:pt x="49" y="96"/>
                    <a:pt x="49" y="96"/>
                    <a:pt x="49" y="96"/>
                  </a:cubicBezTo>
                  <a:close/>
                  <a:moveTo>
                    <a:pt x="57" y="21"/>
                  </a:moveTo>
                  <a:cubicBezTo>
                    <a:pt x="51" y="21"/>
                    <a:pt x="46" y="20"/>
                    <a:pt x="41" y="19"/>
                  </a:cubicBezTo>
                  <a:cubicBezTo>
                    <a:pt x="41" y="18"/>
                    <a:pt x="42" y="16"/>
                    <a:pt x="42" y="15"/>
                  </a:cubicBezTo>
                  <a:cubicBezTo>
                    <a:pt x="46" y="8"/>
                    <a:pt x="51" y="3"/>
                    <a:pt x="57" y="2"/>
                  </a:cubicBezTo>
                  <a:lnTo>
                    <a:pt x="57" y="21"/>
                  </a:lnTo>
                  <a:close/>
                  <a:moveTo>
                    <a:pt x="46" y="3"/>
                  </a:moveTo>
                  <a:cubicBezTo>
                    <a:pt x="46" y="3"/>
                    <a:pt x="47" y="3"/>
                    <a:pt x="47" y="3"/>
                  </a:cubicBezTo>
                  <a:cubicBezTo>
                    <a:pt x="47" y="3"/>
                    <a:pt x="46" y="3"/>
                    <a:pt x="46" y="3"/>
                  </a:cubicBezTo>
                  <a:close/>
                  <a:moveTo>
                    <a:pt x="56" y="1"/>
                  </a:moveTo>
                  <a:cubicBezTo>
                    <a:pt x="56" y="1"/>
                    <a:pt x="56" y="1"/>
                    <a:pt x="57" y="1"/>
                  </a:cubicBezTo>
                  <a:cubicBezTo>
                    <a:pt x="56" y="1"/>
                    <a:pt x="56" y="1"/>
                    <a:pt x="56" y="1"/>
                  </a:cubicBezTo>
                  <a:close/>
                  <a:moveTo>
                    <a:pt x="49" y="2"/>
                  </a:move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2"/>
                    <a:pt x="49" y="2"/>
                  </a:cubicBezTo>
                  <a:close/>
                  <a:moveTo>
                    <a:pt x="51" y="2"/>
                  </a:moveTo>
                  <a:cubicBezTo>
                    <a:pt x="51" y="2"/>
                    <a:pt x="51" y="2"/>
                    <a:pt x="52" y="2"/>
                  </a:cubicBezTo>
                  <a:cubicBezTo>
                    <a:pt x="51" y="2"/>
                    <a:pt x="51" y="2"/>
                    <a:pt x="51" y="2"/>
                  </a:cubicBezTo>
                  <a:close/>
                  <a:moveTo>
                    <a:pt x="54" y="2"/>
                  </a:moveTo>
                  <a:cubicBezTo>
                    <a:pt x="54" y="2"/>
                    <a:pt x="54" y="2"/>
                    <a:pt x="54" y="2"/>
                  </a:cubicBezTo>
                  <a:cubicBezTo>
                    <a:pt x="54" y="2"/>
                    <a:pt x="54" y="2"/>
                    <a:pt x="54" y="2"/>
                  </a:cubicBezTo>
                  <a:close/>
                  <a:moveTo>
                    <a:pt x="26" y="14"/>
                  </a:moveTo>
                  <a:cubicBezTo>
                    <a:pt x="25" y="14"/>
                    <a:pt x="25" y="14"/>
                    <a:pt x="24" y="15"/>
                  </a:cubicBezTo>
                  <a:cubicBezTo>
                    <a:pt x="25" y="14"/>
                    <a:pt x="25" y="14"/>
                    <a:pt x="26" y="14"/>
                  </a:cubicBezTo>
                  <a:close/>
                  <a:moveTo>
                    <a:pt x="24" y="15"/>
                  </a:moveTo>
                  <a:cubicBezTo>
                    <a:pt x="23" y="16"/>
                    <a:pt x="23" y="16"/>
                    <a:pt x="22" y="17"/>
                  </a:cubicBezTo>
                  <a:cubicBezTo>
                    <a:pt x="23" y="16"/>
                    <a:pt x="23" y="16"/>
                    <a:pt x="24" y="15"/>
                  </a:cubicBezTo>
                  <a:close/>
                  <a:moveTo>
                    <a:pt x="22" y="17"/>
                  </a:moveTo>
                  <a:cubicBezTo>
                    <a:pt x="26" y="19"/>
                    <a:pt x="30" y="21"/>
                    <a:pt x="34" y="22"/>
                  </a:cubicBezTo>
                  <a:cubicBezTo>
                    <a:pt x="32" y="30"/>
                    <a:pt x="31" y="38"/>
                    <a:pt x="30" y="47"/>
                  </a:cubicBezTo>
                  <a:cubicBezTo>
                    <a:pt x="23" y="48"/>
                    <a:pt x="16" y="49"/>
                    <a:pt x="9" y="50"/>
                  </a:cubicBezTo>
                  <a:cubicBezTo>
                    <a:pt x="9" y="50"/>
                    <a:pt x="9" y="50"/>
                    <a:pt x="9" y="49"/>
                  </a:cubicBezTo>
                  <a:cubicBezTo>
                    <a:pt x="9" y="37"/>
                    <a:pt x="14" y="25"/>
                    <a:pt x="22" y="17"/>
                  </a:cubicBezTo>
                  <a:close/>
                  <a:moveTo>
                    <a:pt x="9" y="51"/>
                  </a:moveTo>
                  <a:cubicBezTo>
                    <a:pt x="9" y="51"/>
                    <a:pt x="9" y="52"/>
                    <a:pt x="9" y="52"/>
                  </a:cubicBezTo>
                  <a:cubicBezTo>
                    <a:pt x="9" y="52"/>
                    <a:pt x="9" y="51"/>
                    <a:pt x="9" y="51"/>
                  </a:cubicBezTo>
                  <a:close/>
                  <a:moveTo>
                    <a:pt x="10" y="53"/>
                  </a:moveTo>
                  <a:cubicBezTo>
                    <a:pt x="10" y="54"/>
                    <a:pt x="10" y="54"/>
                    <a:pt x="10" y="55"/>
                  </a:cubicBezTo>
                  <a:cubicBezTo>
                    <a:pt x="10" y="54"/>
                    <a:pt x="10" y="54"/>
                    <a:pt x="10" y="53"/>
                  </a:cubicBezTo>
                  <a:close/>
                  <a:moveTo>
                    <a:pt x="10" y="55"/>
                  </a:moveTo>
                  <a:cubicBezTo>
                    <a:pt x="16" y="54"/>
                    <a:pt x="23" y="53"/>
                    <a:pt x="30" y="52"/>
                  </a:cubicBezTo>
                  <a:cubicBezTo>
                    <a:pt x="31" y="62"/>
                    <a:pt x="32" y="71"/>
                    <a:pt x="35" y="78"/>
                  </a:cubicBezTo>
                  <a:cubicBezTo>
                    <a:pt x="32" y="80"/>
                    <a:pt x="29" y="82"/>
                    <a:pt x="25" y="84"/>
                  </a:cubicBezTo>
                  <a:cubicBezTo>
                    <a:pt x="17" y="77"/>
                    <a:pt x="11" y="67"/>
                    <a:pt x="10" y="55"/>
                  </a:cubicBezTo>
                  <a:close/>
                  <a:moveTo>
                    <a:pt x="29" y="87"/>
                  </a:moveTo>
                  <a:cubicBezTo>
                    <a:pt x="28" y="87"/>
                    <a:pt x="28" y="86"/>
                    <a:pt x="27" y="86"/>
                  </a:cubicBezTo>
                  <a:cubicBezTo>
                    <a:pt x="28" y="86"/>
                    <a:pt x="28" y="87"/>
                    <a:pt x="29" y="87"/>
                  </a:cubicBezTo>
                  <a:close/>
                  <a:moveTo>
                    <a:pt x="27" y="86"/>
                  </a:moveTo>
                  <a:cubicBezTo>
                    <a:pt x="26" y="85"/>
                    <a:pt x="26" y="85"/>
                    <a:pt x="26" y="84"/>
                  </a:cubicBezTo>
                  <a:cubicBezTo>
                    <a:pt x="26" y="85"/>
                    <a:pt x="26" y="85"/>
                    <a:pt x="27" y="86"/>
                  </a:cubicBezTo>
                  <a:close/>
                  <a:moveTo>
                    <a:pt x="89" y="87"/>
                  </a:moveTo>
                  <a:cubicBezTo>
                    <a:pt x="90" y="87"/>
                    <a:pt x="90" y="86"/>
                    <a:pt x="91" y="86"/>
                  </a:cubicBezTo>
                  <a:cubicBezTo>
                    <a:pt x="90" y="86"/>
                    <a:pt x="90" y="87"/>
                    <a:pt x="89" y="87"/>
                  </a:cubicBezTo>
                  <a:close/>
                  <a:moveTo>
                    <a:pt x="91" y="85"/>
                  </a:moveTo>
                  <a:cubicBezTo>
                    <a:pt x="91" y="85"/>
                    <a:pt x="92" y="85"/>
                    <a:pt x="92" y="84"/>
                  </a:cubicBezTo>
                  <a:cubicBezTo>
                    <a:pt x="92" y="85"/>
                    <a:pt x="91" y="85"/>
                    <a:pt x="91" y="85"/>
                  </a:cubicBezTo>
                  <a:close/>
                  <a:moveTo>
                    <a:pt x="92" y="84"/>
                  </a:moveTo>
                  <a:cubicBezTo>
                    <a:pt x="89" y="82"/>
                    <a:pt x="86" y="80"/>
                    <a:pt x="83" y="78"/>
                  </a:cubicBezTo>
                  <a:cubicBezTo>
                    <a:pt x="85" y="71"/>
                    <a:pt x="87" y="62"/>
                    <a:pt x="87" y="52"/>
                  </a:cubicBezTo>
                  <a:cubicBezTo>
                    <a:pt x="95" y="53"/>
                    <a:pt x="102" y="54"/>
                    <a:pt x="108" y="55"/>
                  </a:cubicBezTo>
                  <a:cubicBezTo>
                    <a:pt x="107" y="67"/>
                    <a:pt x="101" y="77"/>
                    <a:pt x="92" y="84"/>
                  </a:cubicBezTo>
                  <a:close/>
                  <a:moveTo>
                    <a:pt x="108" y="51"/>
                  </a:moveTo>
                  <a:cubicBezTo>
                    <a:pt x="108" y="51"/>
                    <a:pt x="108" y="52"/>
                    <a:pt x="108" y="52"/>
                  </a:cubicBezTo>
                  <a:cubicBezTo>
                    <a:pt x="108" y="52"/>
                    <a:pt x="108" y="51"/>
                    <a:pt x="108" y="51"/>
                  </a:cubicBezTo>
                  <a:close/>
                  <a:moveTo>
                    <a:pt x="108" y="53"/>
                  </a:moveTo>
                  <a:cubicBezTo>
                    <a:pt x="108" y="54"/>
                    <a:pt x="108" y="54"/>
                    <a:pt x="108" y="55"/>
                  </a:cubicBezTo>
                  <a:cubicBezTo>
                    <a:pt x="108" y="54"/>
                    <a:pt x="108" y="54"/>
                    <a:pt x="108" y="53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0" name="Freeform 81"/>
            <p:cNvSpPr/>
            <p:nvPr/>
          </p:nvSpPr>
          <p:spPr bwMode="auto">
            <a:xfrm>
              <a:off x="6866039" y="4151755"/>
              <a:ext cx="123458" cy="154980"/>
            </a:xfrm>
            <a:custGeom>
              <a:avLst/>
              <a:gdLst>
                <a:gd name="T0" fmla="*/ 2147483646 w 40"/>
                <a:gd name="T1" fmla="*/ 2147483646 h 50"/>
                <a:gd name="T2" fmla="*/ 2147483646 w 40"/>
                <a:gd name="T3" fmla="*/ 2147483646 h 50"/>
                <a:gd name="T4" fmla="*/ 2147483646 w 40"/>
                <a:gd name="T5" fmla="*/ 2147483646 h 50"/>
                <a:gd name="T6" fmla="*/ 2147483646 w 40"/>
                <a:gd name="T7" fmla="*/ 2147483646 h 50"/>
                <a:gd name="T8" fmla="*/ 2147483646 w 40"/>
                <a:gd name="T9" fmla="*/ 2147483646 h 50"/>
                <a:gd name="T10" fmla="*/ 2147483646 w 40"/>
                <a:gd name="T11" fmla="*/ 0 h 50"/>
                <a:gd name="T12" fmla="*/ 2147483646 w 40"/>
                <a:gd name="T13" fmla="*/ 2147483646 h 50"/>
                <a:gd name="T14" fmla="*/ 2147483646 w 40"/>
                <a:gd name="T15" fmla="*/ 2147483646 h 50"/>
                <a:gd name="T16" fmla="*/ 2147483646 w 40"/>
                <a:gd name="T17" fmla="*/ 2147483646 h 50"/>
                <a:gd name="T18" fmla="*/ 2147483646 w 40"/>
                <a:gd name="T19" fmla="*/ 2147483646 h 50"/>
                <a:gd name="T20" fmla="*/ 2147483646 w 40"/>
                <a:gd name="T21" fmla="*/ 2147483646 h 50"/>
                <a:gd name="T22" fmla="*/ 2147483646 w 40"/>
                <a:gd name="T23" fmla="*/ 2147483646 h 50"/>
                <a:gd name="T24" fmla="*/ 0 w 40"/>
                <a:gd name="T25" fmla="*/ 2147483646 h 50"/>
                <a:gd name="T26" fmla="*/ 2147483646 w 40"/>
                <a:gd name="T27" fmla="*/ 2147483646 h 5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0" h="50">
                  <a:moveTo>
                    <a:pt x="2" y="18"/>
                  </a:moveTo>
                  <a:cubicBezTo>
                    <a:pt x="5" y="20"/>
                    <a:pt x="13" y="27"/>
                    <a:pt x="16" y="30"/>
                  </a:cubicBezTo>
                  <a:cubicBezTo>
                    <a:pt x="17" y="29"/>
                    <a:pt x="17" y="28"/>
                    <a:pt x="18" y="26"/>
                  </a:cubicBezTo>
                  <a:cubicBezTo>
                    <a:pt x="20" y="23"/>
                    <a:pt x="22" y="20"/>
                    <a:pt x="24" y="17"/>
                  </a:cubicBezTo>
                  <a:cubicBezTo>
                    <a:pt x="26" y="14"/>
                    <a:pt x="28" y="11"/>
                    <a:pt x="31" y="8"/>
                  </a:cubicBezTo>
                  <a:cubicBezTo>
                    <a:pt x="33" y="5"/>
                    <a:pt x="35" y="2"/>
                    <a:pt x="38" y="0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8" y="5"/>
                    <a:pt x="36" y="8"/>
                    <a:pt x="35" y="11"/>
                  </a:cubicBezTo>
                  <a:cubicBezTo>
                    <a:pt x="33" y="14"/>
                    <a:pt x="31" y="17"/>
                    <a:pt x="29" y="20"/>
                  </a:cubicBezTo>
                  <a:cubicBezTo>
                    <a:pt x="28" y="23"/>
                    <a:pt x="26" y="27"/>
                    <a:pt x="25" y="30"/>
                  </a:cubicBezTo>
                  <a:cubicBezTo>
                    <a:pt x="21" y="38"/>
                    <a:pt x="17" y="50"/>
                    <a:pt x="17" y="50"/>
                  </a:cubicBezTo>
                  <a:cubicBezTo>
                    <a:pt x="17" y="50"/>
                    <a:pt x="11" y="37"/>
                    <a:pt x="7" y="30"/>
                  </a:cubicBezTo>
                  <a:cubicBezTo>
                    <a:pt x="5" y="27"/>
                    <a:pt x="2" y="23"/>
                    <a:pt x="0" y="20"/>
                  </a:cubicBezTo>
                  <a:lnTo>
                    <a:pt x="2" y="18"/>
                  </a:ln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901" name="组合 55"/>
          <p:cNvGrpSpPr/>
          <p:nvPr/>
        </p:nvGrpSpPr>
        <p:grpSpPr bwMode="auto">
          <a:xfrm>
            <a:off x="2160588" y="4391025"/>
            <a:ext cx="369887" cy="311150"/>
            <a:chOff x="5534267" y="4197724"/>
            <a:chExt cx="596277" cy="457059"/>
          </a:xfrm>
        </p:grpSpPr>
        <p:sp>
          <p:nvSpPr>
            <p:cNvPr id="37926" name="Freeform 82"/>
            <p:cNvSpPr/>
            <p:nvPr/>
          </p:nvSpPr>
          <p:spPr bwMode="auto">
            <a:xfrm>
              <a:off x="5727335" y="4300168"/>
              <a:ext cx="219336" cy="354615"/>
            </a:xfrm>
            <a:custGeom>
              <a:avLst/>
              <a:gdLst>
                <a:gd name="T0" fmla="*/ 2147483646 w 71"/>
                <a:gd name="T1" fmla="*/ 2147483646 h 114"/>
                <a:gd name="T2" fmla="*/ 2147483646 w 71"/>
                <a:gd name="T3" fmla="*/ 2147483646 h 114"/>
                <a:gd name="T4" fmla="*/ 2147483646 w 71"/>
                <a:gd name="T5" fmla="*/ 2147483646 h 114"/>
                <a:gd name="T6" fmla="*/ 2147483646 w 71"/>
                <a:gd name="T7" fmla="*/ 2147483646 h 114"/>
                <a:gd name="T8" fmla="*/ 2147483646 w 71"/>
                <a:gd name="T9" fmla="*/ 2147483646 h 114"/>
                <a:gd name="T10" fmla="*/ 2147483646 w 71"/>
                <a:gd name="T11" fmla="*/ 2147483646 h 114"/>
                <a:gd name="T12" fmla="*/ 2147483646 w 71"/>
                <a:gd name="T13" fmla="*/ 0 h 114"/>
                <a:gd name="T14" fmla="*/ 2147483646 w 71"/>
                <a:gd name="T15" fmla="*/ 2147483646 h 114"/>
                <a:gd name="T16" fmla="*/ 2147483646 w 71"/>
                <a:gd name="T17" fmla="*/ 2147483646 h 114"/>
                <a:gd name="T18" fmla="*/ 2147483646 w 71"/>
                <a:gd name="T19" fmla="*/ 2147483646 h 114"/>
                <a:gd name="T20" fmla="*/ 2147483646 w 71"/>
                <a:gd name="T21" fmla="*/ 2147483646 h 114"/>
                <a:gd name="T22" fmla="*/ 2147483646 w 71"/>
                <a:gd name="T23" fmla="*/ 2147483646 h 114"/>
                <a:gd name="T24" fmla="*/ 0 w 71"/>
                <a:gd name="T25" fmla="*/ 2147483646 h 114"/>
                <a:gd name="T26" fmla="*/ 0 w 71"/>
                <a:gd name="T27" fmla="*/ 2147483646 h 114"/>
                <a:gd name="T28" fmla="*/ 2147483646 w 71"/>
                <a:gd name="T29" fmla="*/ 2147483646 h 114"/>
                <a:gd name="T30" fmla="*/ 2147483646 w 71"/>
                <a:gd name="T31" fmla="*/ 2147483646 h 114"/>
                <a:gd name="T32" fmla="*/ 2147483646 w 71"/>
                <a:gd name="T33" fmla="*/ 2147483646 h 114"/>
                <a:gd name="T34" fmla="*/ 2147483646 w 71"/>
                <a:gd name="T35" fmla="*/ 2147483646 h 114"/>
                <a:gd name="T36" fmla="*/ 2147483646 w 71"/>
                <a:gd name="T37" fmla="*/ 2147483646 h 114"/>
                <a:gd name="T38" fmla="*/ 2147483646 w 71"/>
                <a:gd name="T39" fmla="*/ 2147483646 h 114"/>
                <a:gd name="T40" fmla="*/ 2147483646 w 71"/>
                <a:gd name="T41" fmla="*/ 2147483646 h 114"/>
                <a:gd name="T42" fmla="*/ 2147483646 w 71"/>
                <a:gd name="T43" fmla="*/ 2147483646 h 114"/>
                <a:gd name="T44" fmla="*/ 2147483646 w 71"/>
                <a:gd name="T45" fmla="*/ 2147483646 h 114"/>
                <a:gd name="T46" fmla="*/ 2147483646 w 71"/>
                <a:gd name="T47" fmla="*/ 2147483646 h 114"/>
                <a:gd name="T48" fmla="*/ 2147483646 w 71"/>
                <a:gd name="T49" fmla="*/ 2147483646 h 114"/>
                <a:gd name="T50" fmla="*/ 2147483646 w 71"/>
                <a:gd name="T51" fmla="*/ 2147483646 h 114"/>
                <a:gd name="T52" fmla="*/ 2147483646 w 71"/>
                <a:gd name="T53" fmla="*/ 2147483646 h 114"/>
                <a:gd name="T54" fmla="*/ 2147483646 w 71"/>
                <a:gd name="T55" fmla="*/ 2147483646 h 114"/>
                <a:gd name="T56" fmla="*/ 2147483646 w 71"/>
                <a:gd name="T57" fmla="*/ 2147483646 h 114"/>
                <a:gd name="T58" fmla="*/ 2147483646 w 71"/>
                <a:gd name="T59" fmla="*/ 2147483646 h 114"/>
                <a:gd name="T60" fmla="*/ 2147483646 w 71"/>
                <a:gd name="T61" fmla="*/ 2147483646 h 114"/>
                <a:gd name="T62" fmla="*/ 2147483646 w 71"/>
                <a:gd name="T63" fmla="*/ 2147483646 h 114"/>
                <a:gd name="T64" fmla="*/ 2147483646 w 71"/>
                <a:gd name="T65" fmla="*/ 2147483646 h 114"/>
                <a:gd name="T66" fmla="*/ 2147483646 w 71"/>
                <a:gd name="T67" fmla="*/ 2147483646 h 114"/>
                <a:gd name="T68" fmla="*/ 2147483646 w 71"/>
                <a:gd name="T69" fmla="*/ 2147483646 h 114"/>
                <a:gd name="T70" fmla="*/ 2147483646 w 71"/>
                <a:gd name="T71" fmla="*/ 2147483646 h 114"/>
                <a:gd name="T72" fmla="*/ 2147483646 w 71"/>
                <a:gd name="T73" fmla="*/ 2147483646 h 114"/>
                <a:gd name="T74" fmla="*/ 2147483646 w 71"/>
                <a:gd name="T75" fmla="*/ 2147483646 h 114"/>
                <a:gd name="T76" fmla="*/ 2147483646 w 71"/>
                <a:gd name="T77" fmla="*/ 2147483646 h 114"/>
                <a:gd name="T78" fmla="*/ 2147483646 w 71"/>
                <a:gd name="T79" fmla="*/ 2147483646 h 114"/>
                <a:gd name="T80" fmla="*/ 2147483646 w 71"/>
                <a:gd name="T81" fmla="*/ 2147483646 h 11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1" h="114">
                  <a:moveTo>
                    <a:pt x="71" y="65"/>
                  </a:moveTo>
                  <a:cubicBezTo>
                    <a:pt x="70" y="62"/>
                    <a:pt x="70" y="63"/>
                    <a:pt x="68" y="52"/>
                  </a:cubicBezTo>
                  <a:cubicBezTo>
                    <a:pt x="66" y="42"/>
                    <a:pt x="61" y="35"/>
                    <a:pt x="56" y="30"/>
                  </a:cubicBezTo>
                  <a:cubicBezTo>
                    <a:pt x="51" y="25"/>
                    <a:pt x="48" y="24"/>
                    <a:pt x="43" y="21"/>
                  </a:cubicBezTo>
                  <a:cubicBezTo>
                    <a:pt x="41" y="20"/>
                    <a:pt x="42" y="17"/>
                    <a:pt x="43" y="15"/>
                  </a:cubicBezTo>
                  <a:cubicBezTo>
                    <a:pt x="44" y="13"/>
                    <a:pt x="45" y="12"/>
                    <a:pt x="45" y="10"/>
                  </a:cubicBezTo>
                  <a:cubicBezTo>
                    <a:pt x="45" y="4"/>
                    <a:pt x="41" y="0"/>
                    <a:pt x="35" y="0"/>
                  </a:cubicBezTo>
                  <a:cubicBezTo>
                    <a:pt x="30" y="0"/>
                    <a:pt x="26" y="4"/>
                    <a:pt x="26" y="10"/>
                  </a:cubicBezTo>
                  <a:cubicBezTo>
                    <a:pt x="26" y="12"/>
                    <a:pt x="26" y="13"/>
                    <a:pt x="27" y="15"/>
                  </a:cubicBezTo>
                  <a:cubicBezTo>
                    <a:pt x="29" y="17"/>
                    <a:pt x="29" y="20"/>
                    <a:pt x="27" y="21"/>
                  </a:cubicBezTo>
                  <a:cubicBezTo>
                    <a:pt x="23" y="24"/>
                    <a:pt x="19" y="25"/>
                    <a:pt x="15" y="30"/>
                  </a:cubicBezTo>
                  <a:cubicBezTo>
                    <a:pt x="10" y="35"/>
                    <a:pt x="5" y="42"/>
                    <a:pt x="3" y="52"/>
                  </a:cubicBezTo>
                  <a:cubicBezTo>
                    <a:pt x="0" y="63"/>
                    <a:pt x="1" y="62"/>
                    <a:pt x="0" y="65"/>
                  </a:cubicBezTo>
                  <a:cubicBezTo>
                    <a:pt x="0" y="66"/>
                    <a:pt x="0" y="67"/>
                    <a:pt x="0" y="67"/>
                  </a:cubicBezTo>
                  <a:cubicBezTo>
                    <a:pt x="0" y="70"/>
                    <a:pt x="2" y="73"/>
                    <a:pt x="6" y="73"/>
                  </a:cubicBezTo>
                  <a:cubicBezTo>
                    <a:pt x="9" y="73"/>
                    <a:pt x="12" y="70"/>
                    <a:pt x="12" y="67"/>
                  </a:cubicBezTo>
                  <a:cubicBezTo>
                    <a:pt x="12" y="67"/>
                    <a:pt x="11" y="66"/>
                    <a:pt x="11" y="66"/>
                  </a:cubicBezTo>
                  <a:cubicBezTo>
                    <a:pt x="11" y="59"/>
                    <a:pt x="12" y="52"/>
                    <a:pt x="14" y="46"/>
                  </a:cubicBezTo>
                  <a:cubicBezTo>
                    <a:pt x="15" y="42"/>
                    <a:pt x="20" y="38"/>
                    <a:pt x="22" y="44"/>
                  </a:cubicBezTo>
                  <a:cubicBezTo>
                    <a:pt x="20" y="45"/>
                    <a:pt x="16" y="49"/>
                    <a:pt x="16" y="58"/>
                  </a:cubicBezTo>
                  <a:cubicBezTo>
                    <a:pt x="16" y="66"/>
                    <a:pt x="16" y="100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11"/>
                    <a:pt x="18" y="114"/>
                    <a:pt x="21" y="114"/>
                  </a:cubicBezTo>
                  <a:cubicBezTo>
                    <a:pt x="25" y="114"/>
                    <a:pt x="28" y="111"/>
                    <a:pt x="28" y="107"/>
                  </a:cubicBezTo>
                  <a:cubicBezTo>
                    <a:pt x="28" y="107"/>
                    <a:pt x="28" y="106"/>
                    <a:pt x="28" y="106"/>
                  </a:cubicBezTo>
                  <a:cubicBezTo>
                    <a:pt x="27" y="98"/>
                    <a:pt x="27" y="87"/>
                    <a:pt x="28" y="80"/>
                  </a:cubicBezTo>
                  <a:cubicBezTo>
                    <a:pt x="28" y="76"/>
                    <a:pt x="29" y="61"/>
                    <a:pt x="35" y="61"/>
                  </a:cubicBezTo>
                  <a:cubicBezTo>
                    <a:pt x="42" y="61"/>
                    <a:pt x="42" y="76"/>
                    <a:pt x="43" y="80"/>
                  </a:cubicBezTo>
                  <a:cubicBezTo>
                    <a:pt x="43" y="87"/>
                    <a:pt x="44" y="98"/>
                    <a:pt x="43" y="106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11"/>
                    <a:pt x="46" y="114"/>
                    <a:pt x="49" y="114"/>
                  </a:cubicBezTo>
                  <a:cubicBezTo>
                    <a:pt x="53" y="114"/>
                    <a:pt x="56" y="111"/>
                    <a:pt x="56" y="107"/>
                  </a:cubicBezTo>
                  <a:cubicBezTo>
                    <a:pt x="56" y="107"/>
                    <a:pt x="56" y="106"/>
                    <a:pt x="56" y="106"/>
                  </a:cubicBezTo>
                  <a:cubicBezTo>
                    <a:pt x="54" y="100"/>
                    <a:pt x="55" y="66"/>
                    <a:pt x="55" y="58"/>
                  </a:cubicBezTo>
                  <a:cubicBezTo>
                    <a:pt x="55" y="49"/>
                    <a:pt x="51" y="45"/>
                    <a:pt x="49" y="44"/>
                  </a:cubicBezTo>
                  <a:cubicBezTo>
                    <a:pt x="51" y="38"/>
                    <a:pt x="55" y="42"/>
                    <a:pt x="57" y="46"/>
                  </a:cubicBezTo>
                  <a:cubicBezTo>
                    <a:pt x="59" y="52"/>
                    <a:pt x="60" y="59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70"/>
                    <a:pt x="62" y="73"/>
                    <a:pt x="65" y="73"/>
                  </a:cubicBezTo>
                  <a:cubicBezTo>
                    <a:pt x="68" y="73"/>
                    <a:pt x="71" y="70"/>
                    <a:pt x="71" y="67"/>
                  </a:cubicBezTo>
                  <a:cubicBezTo>
                    <a:pt x="71" y="67"/>
                    <a:pt x="71" y="66"/>
                    <a:pt x="71" y="65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27" name="Freeform 83"/>
            <p:cNvSpPr/>
            <p:nvPr/>
          </p:nvSpPr>
          <p:spPr bwMode="auto">
            <a:xfrm>
              <a:off x="5909895" y="4197724"/>
              <a:ext cx="220649" cy="354615"/>
            </a:xfrm>
            <a:custGeom>
              <a:avLst/>
              <a:gdLst>
                <a:gd name="T0" fmla="*/ 2147483646 w 71"/>
                <a:gd name="T1" fmla="*/ 2147483646 h 114"/>
                <a:gd name="T2" fmla="*/ 2147483646 w 71"/>
                <a:gd name="T3" fmla="*/ 2147483646 h 114"/>
                <a:gd name="T4" fmla="*/ 2147483646 w 71"/>
                <a:gd name="T5" fmla="*/ 2147483646 h 114"/>
                <a:gd name="T6" fmla="*/ 2147483646 w 71"/>
                <a:gd name="T7" fmla="*/ 2147483646 h 114"/>
                <a:gd name="T8" fmla="*/ 2147483646 w 71"/>
                <a:gd name="T9" fmla="*/ 2147483646 h 114"/>
                <a:gd name="T10" fmla="*/ 2147483646 w 71"/>
                <a:gd name="T11" fmla="*/ 2147483646 h 114"/>
                <a:gd name="T12" fmla="*/ 2147483646 w 71"/>
                <a:gd name="T13" fmla="*/ 0 h 114"/>
                <a:gd name="T14" fmla="*/ 2147483646 w 71"/>
                <a:gd name="T15" fmla="*/ 2147483646 h 114"/>
                <a:gd name="T16" fmla="*/ 2147483646 w 71"/>
                <a:gd name="T17" fmla="*/ 2147483646 h 114"/>
                <a:gd name="T18" fmla="*/ 2147483646 w 71"/>
                <a:gd name="T19" fmla="*/ 2147483646 h 114"/>
                <a:gd name="T20" fmla="*/ 2147483646 w 71"/>
                <a:gd name="T21" fmla="*/ 2147483646 h 114"/>
                <a:gd name="T22" fmla="*/ 2147483646 w 71"/>
                <a:gd name="T23" fmla="*/ 2147483646 h 114"/>
                <a:gd name="T24" fmla="*/ 0 w 71"/>
                <a:gd name="T25" fmla="*/ 2147483646 h 114"/>
                <a:gd name="T26" fmla="*/ 0 w 71"/>
                <a:gd name="T27" fmla="*/ 2147483646 h 114"/>
                <a:gd name="T28" fmla="*/ 2147483646 w 71"/>
                <a:gd name="T29" fmla="*/ 2147483646 h 114"/>
                <a:gd name="T30" fmla="*/ 2147483646 w 71"/>
                <a:gd name="T31" fmla="*/ 2147483646 h 114"/>
                <a:gd name="T32" fmla="*/ 2147483646 w 71"/>
                <a:gd name="T33" fmla="*/ 2147483646 h 114"/>
                <a:gd name="T34" fmla="*/ 2147483646 w 71"/>
                <a:gd name="T35" fmla="*/ 2147483646 h 114"/>
                <a:gd name="T36" fmla="*/ 2147483646 w 71"/>
                <a:gd name="T37" fmla="*/ 2147483646 h 114"/>
                <a:gd name="T38" fmla="*/ 2147483646 w 71"/>
                <a:gd name="T39" fmla="*/ 2147483646 h 114"/>
                <a:gd name="T40" fmla="*/ 2147483646 w 71"/>
                <a:gd name="T41" fmla="*/ 2147483646 h 114"/>
                <a:gd name="T42" fmla="*/ 2147483646 w 71"/>
                <a:gd name="T43" fmla="*/ 2147483646 h 114"/>
                <a:gd name="T44" fmla="*/ 2147483646 w 71"/>
                <a:gd name="T45" fmla="*/ 2147483646 h 114"/>
                <a:gd name="T46" fmla="*/ 2147483646 w 71"/>
                <a:gd name="T47" fmla="*/ 2147483646 h 114"/>
                <a:gd name="T48" fmla="*/ 2147483646 w 71"/>
                <a:gd name="T49" fmla="*/ 2147483646 h 114"/>
                <a:gd name="T50" fmla="*/ 2147483646 w 71"/>
                <a:gd name="T51" fmla="*/ 2147483646 h 114"/>
                <a:gd name="T52" fmla="*/ 2147483646 w 71"/>
                <a:gd name="T53" fmla="*/ 2147483646 h 114"/>
                <a:gd name="T54" fmla="*/ 2147483646 w 71"/>
                <a:gd name="T55" fmla="*/ 2147483646 h 114"/>
                <a:gd name="T56" fmla="*/ 2147483646 w 71"/>
                <a:gd name="T57" fmla="*/ 2147483646 h 114"/>
                <a:gd name="T58" fmla="*/ 2147483646 w 71"/>
                <a:gd name="T59" fmla="*/ 2147483646 h 114"/>
                <a:gd name="T60" fmla="*/ 2147483646 w 71"/>
                <a:gd name="T61" fmla="*/ 2147483646 h 114"/>
                <a:gd name="T62" fmla="*/ 2147483646 w 71"/>
                <a:gd name="T63" fmla="*/ 2147483646 h 114"/>
                <a:gd name="T64" fmla="*/ 2147483646 w 71"/>
                <a:gd name="T65" fmla="*/ 2147483646 h 114"/>
                <a:gd name="T66" fmla="*/ 2147483646 w 71"/>
                <a:gd name="T67" fmla="*/ 2147483646 h 114"/>
                <a:gd name="T68" fmla="*/ 2147483646 w 71"/>
                <a:gd name="T69" fmla="*/ 2147483646 h 114"/>
                <a:gd name="T70" fmla="*/ 2147483646 w 71"/>
                <a:gd name="T71" fmla="*/ 2147483646 h 114"/>
                <a:gd name="T72" fmla="*/ 2147483646 w 71"/>
                <a:gd name="T73" fmla="*/ 2147483646 h 114"/>
                <a:gd name="T74" fmla="*/ 2147483646 w 71"/>
                <a:gd name="T75" fmla="*/ 2147483646 h 114"/>
                <a:gd name="T76" fmla="*/ 2147483646 w 71"/>
                <a:gd name="T77" fmla="*/ 2147483646 h 114"/>
                <a:gd name="T78" fmla="*/ 2147483646 w 71"/>
                <a:gd name="T79" fmla="*/ 2147483646 h 11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1" h="114">
                  <a:moveTo>
                    <a:pt x="71" y="65"/>
                  </a:moveTo>
                  <a:cubicBezTo>
                    <a:pt x="70" y="61"/>
                    <a:pt x="70" y="62"/>
                    <a:pt x="68" y="52"/>
                  </a:cubicBezTo>
                  <a:cubicBezTo>
                    <a:pt x="66" y="42"/>
                    <a:pt x="61" y="35"/>
                    <a:pt x="56" y="30"/>
                  </a:cubicBezTo>
                  <a:cubicBezTo>
                    <a:pt x="51" y="25"/>
                    <a:pt x="48" y="24"/>
                    <a:pt x="43" y="21"/>
                  </a:cubicBezTo>
                  <a:cubicBezTo>
                    <a:pt x="42" y="20"/>
                    <a:pt x="42" y="17"/>
                    <a:pt x="44" y="15"/>
                  </a:cubicBezTo>
                  <a:cubicBezTo>
                    <a:pt x="45" y="13"/>
                    <a:pt x="45" y="11"/>
                    <a:pt x="45" y="9"/>
                  </a:cubicBezTo>
                  <a:cubicBezTo>
                    <a:pt x="45" y="4"/>
                    <a:pt x="41" y="0"/>
                    <a:pt x="35" y="0"/>
                  </a:cubicBezTo>
                  <a:cubicBezTo>
                    <a:pt x="30" y="0"/>
                    <a:pt x="26" y="4"/>
                    <a:pt x="26" y="9"/>
                  </a:cubicBezTo>
                  <a:cubicBezTo>
                    <a:pt x="26" y="11"/>
                    <a:pt x="26" y="13"/>
                    <a:pt x="27" y="15"/>
                  </a:cubicBezTo>
                  <a:cubicBezTo>
                    <a:pt x="29" y="17"/>
                    <a:pt x="29" y="20"/>
                    <a:pt x="28" y="21"/>
                  </a:cubicBezTo>
                  <a:cubicBezTo>
                    <a:pt x="23" y="24"/>
                    <a:pt x="20" y="25"/>
                    <a:pt x="15" y="30"/>
                  </a:cubicBezTo>
                  <a:cubicBezTo>
                    <a:pt x="10" y="35"/>
                    <a:pt x="5" y="42"/>
                    <a:pt x="3" y="52"/>
                  </a:cubicBezTo>
                  <a:cubicBezTo>
                    <a:pt x="1" y="62"/>
                    <a:pt x="1" y="61"/>
                    <a:pt x="0" y="65"/>
                  </a:cubicBezTo>
                  <a:cubicBezTo>
                    <a:pt x="0" y="66"/>
                    <a:pt x="0" y="66"/>
                    <a:pt x="0" y="67"/>
                  </a:cubicBezTo>
                  <a:cubicBezTo>
                    <a:pt x="0" y="70"/>
                    <a:pt x="2" y="73"/>
                    <a:pt x="6" y="73"/>
                  </a:cubicBezTo>
                  <a:cubicBezTo>
                    <a:pt x="9" y="73"/>
                    <a:pt x="12" y="70"/>
                    <a:pt x="12" y="67"/>
                  </a:cubicBezTo>
                  <a:cubicBezTo>
                    <a:pt x="12" y="67"/>
                    <a:pt x="12" y="66"/>
                    <a:pt x="11" y="66"/>
                  </a:cubicBezTo>
                  <a:cubicBezTo>
                    <a:pt x="11" y="59"/>
                    <a:pt x="12" y="52"/>
                    <a:pt x="14" y="46"/>
                  </a:cubicBezTo>
                  <a:cubicBezTo>
                    <a:pt x="15" y="42"/>
                    <a:pt x="20" y="37"/>
                    <a:pt x="22" y="44"/>
                  </a:cubicBezTo>
                  <a:cubicBezTo>
                    <a:pt x="20" y="45"/>
                    <a:pt x="16" y="49"/>
                    <a:pt x="16" y="58"/>
                  </a:cubicBezTo>
                  <a:cubicBezTo>
                    <a:pt x="16" y="66"/>
                    <a:pt x="16" y="99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11"/>
                    <a:pt x="18" y="114"/>
                    <a:pt x="21" y="114"/>
                  </a:cubicBezTo>
                  <a:cubicBezTo>
                    <a:pt x="25" y="114"/>
                    <a:pt x="28" y="111"/>
                    <a:pt x="28" y="107"/>
                  </a:cubicBezTo>
                  <a:cubicBezTo>
                    <a:pt x="28" y="107"/>
                    <a:pt x="28" y="106"/>
                    <a:pt x="28" y="105"/>
                  </a:cubicBezTo>
                  <a:cubicBezTo>
                    <a:pt x="27" y="98"/>
                    <a:pt x="28" y="87"/>
                    <a:pt x="28" y="80"/>
                  </a:cubicBezTo>
                  <a:cubicBezTo>
                    <a:pt x="28" y="75"/>
                    <a:pt x="43" y="75"/>
                    <a:pt x="43" y="80"/>
                  </a:cubicBezTo>
                  <a:cubicBezTo>
                    <a:pt x="43" y="87"/>
                    <a:pt x="44" y="98"/>
                    <a:pt x="43" y="105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11"/>
                    <a:pt x="46" y="114"/>
                    <a:pt x="50" y="114"/>
                  </a:cubicBezTo>
                  <a:cubicBezTo>
                    <a:pt x="53" y="114"/>
                    <a:pt x="56" y="111"/>
                    <a:pt x="56" y="107"/>
                  </a:cubicBezTo>
                  <a:cubicBezTo>
                    <a:pt x="56" y="107"/>
                    <a:pt x="56" y="106"/>
                    <a:pt x="56" y="106"/>
                  </a:cubicBezTo>
                  <a:cubicBezTo>
                    <a:pt x="54" y="99"/>
                    <a:pt x="55" y="66"/>
                    <a:pt x="55" y="58"/>
                  </a:cubicBezTo>
                  <a:cubicBezTo>
                    <a:pt x="55" y="49"/>
                    <a:pt x="51" y="45"/>
                    <a:pt x="49" y="44"/>
                  </a:cubicBezTo>
                  <a:cubicBezTo>
                    <a:pt x="51" y="37"/>
                    <a:pt x="56" y="42"/>
                    <a:pt x="57" y="46"/>
                  </a:cubicBezTo>
                  <a:cubicBezTo>
                    <a:pt x="59" y="52"/>
                    <a:pt x="60" y="59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70"/>
                    <a:pt x="62" y="73"/>
                    <a:pt x="65" y="73"/>
                  </a:cubicBezTo>
                  <a:cubicBezTo>
                    <a:pt x="69" y="73"/>
                    <a:pt x="71" y="70"/>
                    <a:pt x="71" y="67"/>
                  </a:cubicBezTo>
                  <a:cubicBezTo>
                    <a:pt x="71" y="66"/>
                    <a:pt x="71" y="66"/>
                    <a:pt x="71" y="65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28" name="Freeform 84"/>
            <p:cNvSpPr/>
            <p:nvPr/>
          </p:nvSpPr>
          <p:spPr bwMode="auto">
            <a:xfrm>
              <a:off x="5534267" y="4197724"/>
              <a:ext cx="223275" cy="363809"/>
            </a:xfrm>
            <a:custGeom>
              <a:avLst/>
              <a:gdLst>
                <a:gd name="T0" fmla="*/ 2147483646 w 72"/>
                <a:gd name="T1" fmla="*/ 2147483646 h 117"/>
                <a:gd name="T2" fmla="*/ 2147483646 w 72"/>
                <a:gd name="T3" fmla="*/ 2147483646 h 117"/>
                <a:gd name="T4" fmla="*/ 2147483646 w 72"/>
                <a:gd name="T5" fmla="*/ 2147483646 h 117"/>
                <a:gd name="T6" fmla="*/ 2147483646 w 72"/>
                <a:gd name="T7" fmla="*/ 2147483646 h 117"/>
                <a:gd name="T8" fmla="*/ 2147483646 w 72"/>
                <a:gd name="T9" fmla="*/ 2147483646 h 117"/>
                <a:gd name="T10" fmla="*/ 2147483646 w 72"/>
                <a:gd name="T11" fmla="*/ 2147483646 h 117"/>
                <a:gd name="T12" fmla="*/ 2147483646 w 72"/>
                <a:gd name="T13" fmla="*/ 2147483646 h 117"/>
                <a:gd name="T14" fmla="*/ 2147483646 w 72"/>
                <a:gd name="T15" fmla="*/ 2147483646 h 117"/>
                <a:gd name="T16" fmla="*/ 2147483646 w 72"/>
                <a:gd name="T17" fmla="*/ 0 h 117"/>
                <a:gd name="T18" fmla="*/ 2147483646 w 72"/>
                <a:gd name="T19" fmla="*/ 2147483646 h 117"/>
                <a:gd name="T20" fmla="*/ 2147483646 w 72"/>
                <a:gd name="T21" fmla="*/ 2147483646 h 117"/>
                <a:gd name="T22" fmla="*/ 2147483646 w 72"/>
                <a:gd name="T23" fmla="*/ 2147483646 h 117"/>
                <a:gd name="T24" fmla="*/ 2147483646 w 72"/>
                <a:gd name="T25" fmla="*/ 2147483646 h 117"/>
                <a:gd name="T26" fmla="*/ 2147483646 w 72"/>
                <a:gd name="T27" fmla="*/ 2147483646 h 117"/>
                <a:gd name="T28" fmla="*/ 2147483646 w 72"/>
                <a:gd name="T29" fmla="*/ 2147483646 h 117"/>
                <a:gd name="T30" fmla="*/ 2147483646 w 72"/>
                <a:gd name="T31" fmla="*/ 2147483646 h 117"/>
                <a:gd name="T32" fmla="*/ 2147483646 w 72"/>
                <a:gd name="T33" fmla="*/ 2147483646 h 117"/>
                <a:gd name="T34" fmla="*/ 0 w 72"/>
                <a:gd name="T35" fmla="*/ 2147483646 h 117"/>
                <a:gd name="T36" fmla="*/ 2147483646 w 72"/>
                <a:gd name="T37" fmla="*/ 2147483646 h 117"/>
                <a:gd name="T38" fmla="*/ 2147483646 w 72"/>
                <a:gd name="T39" fmla="*/ 2147483646 h 117"/>
                <a:gd name="T40" fmla="*/ 2147483646 w 72"/>
                <a:gd name="T41" fmla="*/ 2147483646 h 117"/>
                <a:gd name="T42" fmla="*/ 2147483646 w 72"/>
                <a:gd name="T43" fmla="*/ 2147483646 h 117"/>
                <a:gd name="T44" fmla="*/ 2147483646 w 72"/>
                <a:gd name="T45" fmla="*/ 2147483646 h 117"/>
                <a:gd name="T46" fmla="*/ 2147483646 w 72"/>
                <a:gd name="T47" fmla="*/ 2147483646 h 117"/>
                <a:gd name="T48" fmla="*/ 2147483646 w 72"/>
                <a:gd name="T49" fmla="*/ 2147483646 h 117"/>
                <a:gd name="T50" fmla="*/ 2147483646 w 72"/>
                <a:gd name="T51" fmla="*/ 2147483646 h 117"/>
                <a:gd name="T52" fmla="*/ 2147483646 w 72"/>
                <a:gd name="T53" fmla="*/ 2147483646 h 117"/>
                <a:gd name="T54" fmla="*/ 2147483646 w 72"/>
                <a:gd name="T55" fmla="*/ 2147483646 h 117"/>
                <a:gd name="T56" fmla="*/ 2147483646 w 72"/>
                <a:gd name="T57" fmla="*/ 2147483646 h 117"/>
                <a:gd name="T58" fmla="*/ 2147483646 w 72"/>
                <a:gd name="T59" fmla="*/ 2147483646 h 117"/>
                <a:gd name="T60" fmla="*/ 2147483646 w 72"/>
                <a:gd name="T61" fmla="*/ 2147483646 h 117"/>
                <a:gd name="T62" fmla="*/ 2147483646 w 72"/>
                <a:gd name="T63" fmla="*/ 2147483646 h 117"/>
                <a:gd name="T64" fmla="*/ 2147483646 w 72"/>
                <a:gd name="T65" fmla="*/ 2147483646 h 117"/>
                <a:gd name="T66" fmla="*/ 2147483646 w 72"/>
                <a:gd name="T67" fmla="*/ 2147483646 h 117"/>
                <a:gd name="T68" fmla="*/ 2147483646 w 72"/>
                <a:gd name="T69" fmla="*/ 2147483646 h 117"/>
                <a:gd name="T70" fmla="*/ 2147483646 w 72"/>
                <a:gd name="T71" fmla="*/ 2147483646 h 117"/>
                <a:gd name="T72" fmla="*/ 2147483646 w 72"/>
                <a:gd name="T73" fmla="*/ 2147483646 h 117"/>
                <a:gd name="T74" fmla="*/ 2147483646 w 72"/>
                <a:gd name="T75" fmla="*/ 2147483646 h 117"/>
                <a:gd name="T76" fmla="*/ 2147483646 w 72"/>
                <a:gd name="T77" fmla="*/ 2147483646 h 117"/>
                <a:gd name="T78" fmla="*/ 2147483646 w 72"/>
                <a:gd name="T79" fmla="*/ 2147483646 h 117"/>
                <a:gd name="T80" fmla="*/ 2147483646 w 72"/>
                <a:gd name="T81" fmla="*/ 2147483646 h 117"/>
                <a:gd name="T82" fmla="*/ 2147483646 w 72"/>
                <a:gd name="T83" fmla="*/ 2147483646 h 117"/>
                <a:gd name="T84" fmla="*/ 2147483646 w 72"/>
                <a:gd name="T85" fmla="*/ 2147483646 h 117"/>
                <a:gd name="T86" fmla="*/ 2147483646 w 72"/>
                <a:gd name="T87" fmla="*/ 2147483646 h 117"/>
                <a:gd name="T88" fmla="*/ 2147483646 w 72"/>
                <a:gd name="T89" fmla="*/ 2147483646 h 11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72" h="117">
                  <a:moveTo>
                    <a:pt x="72" y="71"/>
                  </a:moveTo>
                  <a:cubicBezTo>
                    <a:pt x="71" y="67"/>
                    <a:pt x="70" y="65"/>
                    <a:pt x="69" y="55"/>
                  </a:cubicBezTo>
                  <a:cubicBezTo>
                    <a:pt x="68" y="42"/>
                    <a:pt x="64" y="34"/>
                    <a:pt x="58" y="29"/>
                  </a:cubicBezTo>
                  <a:cubicBezTo>
                    <a:pt x="54" y="26"/>
                    <a:pt x="51" y="25"/>
                    <a:pt x="47" y="23"/>
                  </a:cubicBezTo>
                  <a:cubicBezTo>
                    <a:pt x="46" y="22"/>
                    <a:pt x="46" y="22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3" y="20"/>
                    <a:pt x="43" y="17"/>
                    <a:pt x="44" y="15"/>
                  </a:cubicBezTo>
                  <a:cubicBezTo>
                    <a:pt x="45" y="13"/>
                    <a:pt x="46" y="11"/>
                    <a:pt x="46" y="9"/>
                  </a:cubicBezTo>
                  <a:cubicBezTo>
                    <a:pt x="46" y="4"/>
                    <a:pt x="41" y="0"/>
                    <a:pt x="36" y="0"/>
                  </a:cubicBezTo>
                  <a:cubicBezTo>
                    <a:pt x="31" y="0"/>
                    <a:pt x="26" y="4"/>
                    <a:pt x="26" y="9"/>
                  </a:cubicBezTo>
                  <a:cubicBezTo>
                    <a:pt x="26" y="11"/>
                    <a:pt x="27" y="13"/>
                    <a:pt x="28" y="15"/>
                  </a:cubicBezTo>
                  <a:cubicBezTo>
                    <a:pt x="30" y="17"/>
                    <a:pt x="29" y="20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2"/>
                    <a:pt x="26" y="22"/>
                    <a:pt x="25" y="23"/>
                  </a:cubicBezTo>
                  <a:cubicBezTo>
                    <a:pt x="22" y="25"/>
                    <a:pt x="19" y="26"/>
                    <a:pt x="14" y="29"/>
                  </a:cubicBezTo>
                  <a:cubicBezTo>
                    <a:pt x="9" y="34"/>
                    <a:pt x="5" y="42"/>
                    <a:pt x="4" y="55"/>
                  </a:cubicBezTo>
                  <a:cubicBezTo>
                    <a:pt x="3" y="65"/>
                    <a:pt x="2" y="67"/>
                    <a:pt x="1" y="71"/>
                  </a:cubicBezTo>
                  <a:cubicBezTo>
                    <a:pt x="0" y="71"/>
                    <a:pt x="0" y="72"/>
                    <a:pt x="0" y="73"/>
                  </a:cubicBezTo>
                  <a:cubicBezTo>
                    <a:pt x="0" y="76"/>
                    <a:pt x="3" y="79"/>
                    <a:pt x="6" y="79"/>
                  </a:cubicBezTo>
                  <a:cubicBezTo>
                    <a:pt x="10" y="79"/>
                    <a:pt x="12" y="76"/>
                    <a:pt x="12" y="73"/>
                  </a:cubicBezTo>
                  <a:cubicBezTo>
                    <a:pt x="12" y="72"/>
                    <a:pt x="12" y="72"/>
                    <a:pt x="12" y="71"/>
                  </a:cubicBezTo>
                  <a:cubicBezTo>
                    <a:pt x="11" y="65"/>
                    <a:pt x="12" y="56"/>
                    <a:pt x="14" y="49"/>
                  </a:cubicBezTo>
                  <a:cubicBezTo>
                    <a:pt x="15" y="43"/>
                    <a:pt x="18" y="41"/>
                    <a:pt x="19" y="44"/>
                  </a:cubicBezTo>
                  <a:cubicBezTo>
                    <a:pt x="18" y="49"/>
                    <a:pt x="16" y="52"/>
                    <a:pt x="16" y="58"/>
                  </a:cubicBezTo>
                  <a:cubicBezTo>
                    <a:pt x="16" y="67"/>
                    <a:pt x="17" y="102"/>
                    <a:pt x="16" y="108"/>
                  </a:cubicBezTo>
                  <a:cubicBezTo>
                    <a:pt x="16" y="109"/>
                    <a:pt x="15" y="109"/>
                    <a:pt x="15" y="110"/>
                  </a:cubicBezTo>
                  <a:cubicBezTo>
                    <a:pt x="15" y="114"/>
                    <a:pt x="18" y="117"/>
                    <a:pt x="22" y="117"/>
                  </a:cubicBezTo>
                  <a:cubicBezTo>
                    <a:pt x="26" y="117"/>
                    <a:pt x="29" y="114"/>
                    <a:pt x="29" y="110"/>
                  </a:cubicBezTo>
                  <a:cubicBezTo>
                    <a:pt x="29" y="109"/>
                    <a:pt x="29" y="109"/>
                    <a:pt x="28" y="108"/>
                  </a:cubicBezTo>
                  <a:cubicBezTo>
                    <a:pt x="28" y="101"/>
                    <a:pt x="28" y="90"/>
                    <a:pt x="29" y="83"/>
                  </a:cubicBezTo>
                  <a:cubicBezTo>
                    <a:pt x="29" y="78"/>
                    <a:pt x="30" y="64"/>
                    <a:pt x="36" y="64"/>
                  </a:cubicBezTo>
                  <a:cubicBezTo>
                    <a:pt x="43" y="64"/>
                    <a:pt x="43" y="78"/>
                    <a:pt x="44" y="83"/>
                  </a:cubicBezTo>
                  <a:cubicBezTo>
                    <a:pt x="44" y="90"/>
                    <a:pt x="44" y="101"/>
                    <a:pt x="44" y="108"/>
                  </a:cubicBezTo>
                  <a:cubicBezTo>
                    <a:pt x="44" y="109"/>
                    <a:pt x="44" y="109"/>
                    <a:pt x="44" y="110"/>
                  </a:cubicBezTo>
                  <a:cubicBezTo>
                    <a:pt x="44" y="114"/>
                    <a:pt x="47" y="117"/>
                    <a:pt x="50" y="117"/>
                  </a:cubicBezTo>
                  <a:cubicBezTo>
                    <a:pt x="54" y="117"/>
                    <a:pt x="57" y="114"/>
                    <a:pt x="57" y="110"/>
                  </a:cubicBezTo>
                  <a:cubicBezTo>
                    <a:pt x="57" y="109"/>
                    <a:pt x="57" y="109"/>
                    <a:pt x="57" y="108"/>
                  </a:cubicBezTo>
                  <a:cubicBezTo>
                    <a:pt x="55" y="102"/>
                    <a:pt x="56" y="67"/>
                    <a:pt x="56" y="58"/>
                  </a:cubicBezTo>
                  <a:cubicBezTo>
                    <a:pt x="56" y="52"/>
                    <a:pt x="54" y="49"/>
                    <a:pt x="53" y="44"/>
                  </a:cubicBezTo>
                  <a:cubicBezTo>
                    <a:pt x="54" y="41"/>
                    <a:pt x="57" y="43"/>
                    <a:pt x="59" y="49"/>
                  </a:cubicBezTo>
                  <a:cubicBezTo>
                    <a:pt x="61" y="56"/>
                    <a:pt x="61" y="65"/>
                    <a:pt x="60" y="71"/>
                  </a:cubicBezTo>
                  <a:cubicBezTo>
                    <a:pt x="60" y="72"/>
                    <a:pt x="60" y="72"/>
                    <a:pt x="60" y="73"/>
                  </a:cubicBezTo>
                  <a:cubicBezTo>
                    <a:pt x="60" y="76"/>
                    <a:pt x="63" y="79"/>
                    <a:pt x="66" y="79"/>
                  </a:cubicBezTo>
                  <a:cubicBezTo>
                    <a:pt x="69" y="79"/>
                    <a:pt x="72" y="76"/>
                    <a:pt x="72" y="73"/>
                  </a:cubicBezTo>
                  <a:cubicBezTo>
                    <a:pt x="72" y="72"/>
                    <a:pt x="72" y="71"/>
                    <a:pt x="72" y="71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902" name="组合 4"/>
          <p:cNvGrpSpPr/>
          <p:nvPr/>
        </p:nvGrpSpPr>
        <p:grpSpPr bwMode="auto">
          <a:xfrm>
            <a:off x="2484438" y="1646238"/>
            <a:ext cx="1811337" cy="2495550"/>
            <a:chOff x="2483768" y="1646405"/>
            <a:chExt cx="1811300" cy="2496077"/>
          </a:xfrm>
        </p:grpSpPr>
        <p:pic>
          <p:nvPicPr>
            <p:cNvPr id="37924" name="Picture 59"/>
            <p:cNvPicPr>
              <a:picLocks noChangeAspect="1" noChangeArrowheads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5452" y="1646405"/>
              <a:ext cx="993775" cy="2496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2" name="TextBox 231"/>
            <p:cNvSpPr txBox="1"/>
            <p:nvPr/>
          </p:nvSpPr>
          <p:spPr>
            <a:xfrm>
              <a:off x="2483768" y="3616908"/>
              <a:ext cx="1811300" cy="46206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4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sp>
        <p:nvSpPr>
          <p:cNvPr id="234" name="椭圆 233"/>
          <p:cNvSpPr/>
          <p:nvPr/>
        </p:nvSpPr>
        <p:spPr>
          <a:xfrm rot="16200000" flipV="1">
            <a:off x="783431" y="469662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5" name="椭圆 234"/>
          <p:cNvSpPr/>
          <p:nvPr/>
        </p:nvSpPr>
        <p:spPr>
          <a:xfrm rot="16200000" flipV="1">
            <a:off x="783431" y="4629945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6" name="椭圆 235"/>
          <p:cNvSpPr/>
          <p:nvPr/>
        </p:nvSpPr>
        <p:spPr>
          <a:xfrm rot="16200000" flipV="1">
            <a:off x="783431" y="4561682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7" name="椭圆 236"/>
          <p:cNvSpPr/>
          <p:nvPr/>
        </p:nvSpPr>
        <p:spPr>
          <a:xfrm rot="16200000" flipV="1">
            <a:off x="782637" y="4492626"/>
            <a:ext cx="36513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grpSp>
        <p:nvGrpSpPr>
          <p:cNvPr id="37907" name="组合 2"/>
          <p:cNvGrpSpPr/>
          <p:nvPr/>
        </p:nvGrpSpPr>
        <p:grpSpPr bwMode="auto">
          <a:xfrm>
            <a:off x="452438" y="2881313"/>
            <a:ext cx="1811337" cy="1260475"/>
            <a:chOff x="452748" y="2882008"/>
            <a:chExt cx="1811300" cy="1260475"/>
          </a:xfrm>
        </p:grpSpPr>
        <p:pic>
          <p:nvPicPr>
            <p:cNvPr id="37922" name="Picture 67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360" y="2882008"/>
              <a:ext cx="984250" cy="1260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TextBox 116"/>
            <p:cNvSpPr txBox="1"/>
            <p:nvPr/>
          </p:nvSpPr>
          <p:spPr>
            <a:xfrm>
              <a:off x="452748" y="3617020"/>
              <a:ext cx="1811300" cy="4619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2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grpSp>
        <p:nvGrpSpPr>
          <p:cNvPr id="37908" name="组合 5"/>
          <p:cNvGrpSpPr/>
          <p:nvPr/>
        </p:nvGrpSpPr>
        <p:grpSpPr bwMode="auto">
          <a:xfrm>
            <a:off x="1450975" y="2362200"/>
            <a:ext cx="1811338" cy="1779588"/>
            <a:chOff x="1450380" y="2362895"/>
            <a:chExt cx="1811300" cy="1779588"/>
          </a:xfrm>
        </p:grpSpPr>
        <p:pic>
          <p:nvPicPr>
            <p:cNvPr id="37920" name="Picture 6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2786" y="2362895"/>
              <a:ext cx="979488" cy="1779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6" name="TextBox 115"/>
            <p:cNvSpPr txBox="1"/>
            <p:nvPr/>
          </p:nvSpPr>
          <p:spPr>
            <a:xfrm>
              <a:off x="1450380" y="3617020"/>
              <a:ext cx="1811300" cy="4619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3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pic>
        <p:nvPicPr>
          <p:cNvPr id="37909" name="Picture 68" descr="E:\2013.3.28\2014\箭头01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5" b="12386"/>
          <a:stretch>
            <a:fillRect/>
          </a:stretch>
        </p:blipFill>
        <p:spPr bwMode="auto">
          <a:xfrm>
            <a:off x="688975" y="1717675"/>
            <a:ext cx="3248025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椭圆 76"/>
          <p:cNvSpPr/>
          <p:nvPr/>
        </p:nvSpPr>
        <p:spPr>
          <a:xfrm rot="16200000" flipV="1">
            <a:off x="5154613" y="4144963"/>
            <a:ext cx="34925" cy="34925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78" name="椭圆 77"/>
          <p:cNvSpPr/>
          <p:nvPr/>
        </p:nvSpPr>
        <p:spPr>
          <a:xfrm rot="16200000" flipV="1">
            <a:off x="5091906" y="414417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79" name="椭圆 78"/>
          <p:cNvSpPr/>
          <p:nvPr/>
        </p:nvSpPr>
        <p:spPr>
          <a:xfrm rot="16200000" flipV="1">
            <a:off x="5029994" y="4144169"/>
            <a:ext cx="34925" cy="36513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80" name="椭圆 79"/>
          <p:cNvSpPr/>
          <p:nvPr/>
        </p:nvSpPr>
        <p:spPr>
          <a:xfrm rot="16200000" flipV="1">
            <a:off x="4968081" y="414417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grpSp>
        <p:nvGrpSpPr>
          <p:cNvPr id="37914" name="组合 80"/>
          <p:cNvGrpSpPr/>
          <p:nvPr/>
        </p:nvGrpSpPr>
        <p:grpSpPr bwMode="auto">
          <a:xfrm flipH="1">
            <a:off x="4284663" y="1139825"/>
            <a:ext cx="382587" cy="342900"/>
            <a:chOff x="8509794" y="1701850"/>
            <a:chExt cx="382688" cy="114756"/>
          </a:xfrm>
        </p:grpSpPr>
        <p:sp>
          <p:nvSpPr>
            <p:cNvPr id="82" name="矩形 81"/>
            <p:cNvSpPr/>
            <p:nvPr/>
          </p:nvSpPr>
          <p:spPr>
            <a:xfrm>
              <a:off x="8509794" y="1701850"/>
              <a:ext cx="92099" cy="114756"/>
            </a:xfrm>
            <a:prstGeom prst="rect">
              <a:avLst/>
            </a:prstGeom>
            <a:solidFill>
              <a:srgbClr val="C00000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82"/>
            <p:cNvSpPr/>
            <p:nvPr/>
          </p:nvSpPr>
          <p:spPr>
            <a:xfrm>
              <a:off x="8655883" y="1734258"/>
              <a:ext cx="90511" cy="82348"/>
            </a:xfrm>
            <a:prstGeom prst="rect">
              <a:avLst/>
            </a:prstGeom>
            <a:solidFill>
              <a:srgbClr val="C00000">
                <a:alpha val="6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4" name="矩形 83"/>
            <p:cNvSpPr/>
            <p:nvPr/>
          </p:nvSpPr>
          <p:spPr>
            <a:xfrm>
              <a:off x="8800383" y="1770916"/>
              <a:ext cx="92099" cy="4569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4721225" y="901700"/>
            <a:ext cx="2960688" cy="768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di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谢谢观看</a:t>
            </a:r>
            <a:endParaRPr lang="zh-CN" altLang="en-US" sz="4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TextBox 22"/>
          <p:cNvSpPr txBox="1">
            <a:spLocks noChangeArrowheads="1"/>
          </p:cNvSpPr>
          <p:nvPr/>
        </p:nvSpPr>
        <p:spPr bwMode="auto">
          <a:xfrm>
            <a:off x="4781550" y="1651000"/>
            <a:ext cx="2900363" cy="40005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zh-CN"/>
            </a:defPPr>
            <a:lvl1pPr algn="dist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dirty="0">
                <a:solidFill>
                  <a:prstClr val="white"/>
                </a:solidFill>
              </a:rPr>
              <a:t>THANK YOU !</a:t>
            </a:r>
            <a:endParaRPr lang="zh-CN" altLang="en-US" sz="2000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8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 bwMode="auto">
          <a:xfrm>
            <a:off x="1614488" y="1025525"/>
            <a:ext cx="1357312" cy="1216025"/>
            <a:chOff x="1614026" y="1025798"/>
            <a:chExt cx="1357106" cy="1215927"/>
          </a:xfrm>
        </p:grpSpPr>
        <p:sp>
          <p:nvSpPr>
            <p:cNvPr id="26" name="矩形 25"/>
            <p:cNvSpPr/>
            <p:nvPr/>
          </p:nvSpPr>
          <p:spPr>
            <a:xfrm>
              <a:off x="1614026" y="1025798"/>
              <a:ext cx="1357106" cy="1215927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1322" name="组合 90"/>
            <p:cNvGrpSpPr/>
            <p:nvPr/>
          </p:nvGrpSpPr>
          <p:grpSpPr bwMode="auto">
            <a:xfrm>
              <a:off x="1917901" y="1261289"/>
              <a:ext cx="746326" cy="744945"/>
              <a:chOff x="-2017713" y="6483350"/>
              <a:chExt cx="2576513" cy="2571751"/>
            </a:xfrm>
          </p:grpSpPr>
          <p:sp>
            <p:nvSpPr>
              <p:cNvPr id="92" name="Freeform 12"/>
              <p:cNvSpPr/>
              <p:nvPr/>
            </p:nvSpPr>
            <p:spPr bwMode="auto">
              <a:xfrm>
                <a:off x="-2020160" y="6481417"/>
                <a:ext cx="2580911" cy="2575617"/>
              </a:xfrm>
              <a:custGeom>
                <a:avLst/>
                <a:gdLst>
                  <a:gd name="T0" fmla="*/ 687 w 687"/>
                  <a:gd name="T1" fmla="*/ 624 h 686"/>
                  <a:gd name="T2" fmla="*/ 624 w 687"/>
                  <a:gd name="T3" fmla="*/ 686 h 686"/>
                  <a:gd name="T4" fmla="*/ 62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2 w 687"/>
                  <a:gd name="T11" fmla="*/ 0 h 686"/>
                  <a:gd name="T12" fmla="*/ 624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4" y="686"/>
                    </a:cubicBezTo>
                    <a:cubicBezTo>
                      <a:pt x="62" y="686"/>
                      <a:pt x="62" y="686"/>
                      <a:pt x="62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324" name="Freeform 13"/>
              <p:cNvSpPr/>
              <p:nvPr/>
            </p:nvSpPr>
            <p:spPr bwMode="auto">
              <a:xfrm>
                <a:off x="-1624013" y="6802438"/>
                <a:ext cx="2182813" cy="2252663"/>
              </a:xfrm>
              <a:custGeom>
                <a:avLst/>
                <a:gdLst>
                  <a:gd name="T0" fmla="*/ 2147483646 w 582"/>
                  <a:gd name="T1" fmla="*/ 2147483646 h 601"/>
                  <a:gd name="T2" fmla="*/ 2147483646 w 582"/>
                  <a:gd name="T3" fmla="*/ 2147483646 h 601"/>
                  <a:gd name="T4" fmla="*/ 2147483646 w 582"/>
                  <a:gd name="T5" fmla="*/ 2147483646 h 601"/>
                  <a:gd name="T6" fmla="*/ 2147483646 w 582"/>
                  <a:gd name="T7" fmla="*/ 2147483646 h 601"/>
                  <a:gd name="T8" fmla="*/ 2147483646 w 582"/>
                  <a:gd name="T9" fmla="*/ 2147483646 h 601"/>
                  <a:gd name="T10" fmla="*/ 2147483646 w 582"/>
                  <a:gd name="T11" fmla="*/ 2147483646 h 601"/>
                  <a:gd name="T12" fmla="*/ 2147483646 w 582"/>
                  <a:gd name="T13" fmla="*/ 2147483646 h 601"/>
                  <a:gd name="T14" fmla="*/ 2147483646 w 582"/>
                  <a:gd name="T15" fmla="*/ 2147483646 h 601"/>
                  <a:gd name="T16" fmla="*/ 2147483646 w 582"/>
                  <a:gd name="T17" fmla="*/ 2147483646 h 601"/>
                  <a:gd name="T18" fmla="*/ 2147483646 w 582"/>
                  <a:gd name="T19" fmla="*/ 2147483646 h 601"/>
                  <a:gd name="T20" fmla="*/ 2147483646 w 582"/>
                  <a:gd name="T21" fmla="*/ 2147483646 h 601"/>
                  <a:gd name="T22" fmla="*/ 2147483646 w 582"/>
                  <a:gd name="T23" fmla="*/ 2147483646 h 601"/>
                  <a:gd name="T24" fmla="*/ 2147483646 w 582"/>
                  <a:gd name="T25" fmla="*/ 2147483646 h 601"/>
                  <a:gd name="T26" fmla="*/ 2147483646 w 582"/>
                  <a:gd name="T27" fmla="*/ 2147483646 h 601"/>
                  <a:gd name="T28" fmla="*/ 2147483646 w 582"/>
                  <a:gd name="T29" fmla="*/ 2147483646 h 601"/>
                  <a:gd name="T30" fmla="*/ 2147483646 w 582"/>
                  <a:gd name="T31" fmla="*/ 2147483646 h 601"/>
                  <a:gd name="T32" fmla="*/ 2147483646 w 582"/>
                  <a:gd name="T33" fmla="*/ 2147483646 h 601"/>
                  <a:gd name="T34" fmla="*/ 2147483646 w 582"/>
                  <a:gd name="T35" fmla="*/ 2147483646 h 601"/>
                  <a:gd name="T36" fmla="*/ 2147483646 w 582"/>
                  <a:gd name="T37" fmla="*/ 2147483646 h 601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582" h="601">
                    <a:moveTo>
                      <a:pt x="384" y="107"/>
                    </a:moveTo>
                    <a:cubicBezTo>
                      <a:pt x="410" y="133"/>
                      <a:pt x="410" y="133"/>
                      <a:pt x="410" y="133"/>
                    </a:cubicBezTo>
                    <a:cubicBezTo>
                      <a:pt x="423" y="224"/>
                      <a:pt x="423" y="224"/>
                      <a:pt x="423" y="224"/>
                    </a:cubicBezTo>
                    <a:cubicBezTo>
                      <a:pt x="324" y="125"/>
                      <a:pt x="324" y="125"/>
                      <a:pt x="324" y="125"/>
                    </a:cubicBezTo>
                    <a:cubicBezTo>
                      <a:pt x="304" y="145"/>
                      <a:pt x="304" y="145"/>
                      <a:pt x="304" y="145"/>
                    </a:cubicBezTo>
                    <a:cubicBezTo>
                      <a:pt x="331" y="172"/>
                      <a:pt x="331" y="172"/>
                      <a:pt x="331" y="172"/>
                    </a:cubicBezTo>
                    <a:cubicBezTo>
                      <a:pt x="329" y="199"/>
                      <a:pt x="329" y="199"/>
                      <a:pt x="329" y="199"/>
                    </a:cubicBezTo>
                    <a:cubicBezTo>
                      <a:pt x="170" y="41"/>
                      <a:pt x="170" y="41"/>
                      <a:pt x="170" y="41"/>
                    </a:cubicBezTo>
                    <a:cubicBezTo>
                      <a:pt x="162" y="48"/>
                      <a:pt x="162" y="48"/>
                      <a:pt x="162" y="48"/>
                    </a:cubicBezTo>
                    <a:cubicBezTo>
                      <a:pt x="145" y="21"/>
                      <a:pt x="118" y="0"/>
                      <a:pt x="80" y="21"/>
                    </a:cubicBezTo>
                    <a:cubicBezTo>
                      <a:pt x="0" y="65"/>
                      <a:pt x="68" y="231"/>
                      <a:pt x="88" y="353"/>
                    </a:cubicBezTo>
                    <a:cubicBezTo>
                      <a:pt x="92" y="375"/>
                      <a:pt x="105" y="397"/>
                      <a:pt x="124" y="419"/>
                    </a:cubicBezTo>
                    <a:cubicBezTo>
                      <a:pt x="121" y="422"/>
                      <a:pt x="121" y="422"/>
                      <a:pt x="121" y="422"/>
                    </a:cubicBezTo>
                    <a:cubicBezTo>
                      <a:pt x="300" y="601"/>
                      <a:pt x="300" y="601"/>
                      <a:pt x="300" y="601"/>
                    </a:cubicBezTo>
                    <a:cubicBezTo>
                      <a:pt x="519" y="601"/>
                      <a:pt x="519" y="601"/>
                      <a:pt x="519" y="601"/>
                    </a:cubicBezTo>
                    <a:cubicBezTo>
                      <a:pt x="554" y="601"/>
                      <a:pt x="582" y="574"/>
                      <a:pt x="582" y="539"/>
                    </a:cubicBezTo>
                    <a:cubicBezTo>
                      <a:pt x="582" y="256"/>
                      <a:pt x="582" y="256"/>
                      <a:pt x="582" y="256"/>
                    </a:cubicBezTo>
                    <a:cubicBezTo>
                      <a:pt x="408" y="83"/>
                      <a:pt x="408" y="83"/>
                      <a:pt x="408" y="83"/>
                    </a:cubicBezTo>
                    <a:lnTo>
                      <a:pt x="384" y="107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5" name="Freeform 14"/>
              <p:cNvSpPr/>
              <p:nvPr/>
            </p:nvSpPr>
            <p:spPr bwMode="auto">
              <a:xfrm>
                <a:off x="-1365250" y="6756400"/>
                <a:ext cx="552450" cy="663575"/>
              </a:xfrm>
              <a:custGeom>
                <a:avLst/>
                <a:gdLst>
                  <a:gd name="T0" fmla="*/ 2147483646 w 147"/>
                  <a:gd name="T1" fmla="*/ 2147483646 h 177"/>
                  <a:gd name="T2" fmla="*/ 2147483646 w 147"/>
                  <a:gd name="T3" fmla="*/ 2147483646 h 177"/>
                  <a:gd name="T4" fmla="*/ 2147483646 w 147"/>
                  <a:gd name="T5" fmla="*/ 2147483646 h 177"/>
                  <a:gd name="T6" fmla="*/ 2147483646 w 147"/>
                  <a:gd name="T7" fmla="*/ 2147483646 h 177"/>
                  <a:gd name="T8" fmla="*/ 2147483646 w 147"/>
                  <a:gd name="T9" fmla="*/ 2147483646 h 177"/>
                  <a:gd name="T10" fmla="*/ 0 w 147"/>
                  <a:gd name="T11" fmla="*/ 2147483646 h 177"/>
                  <a:gd name="T12" fmla="*/ 2147483646 w 147"/>
                  <a:gd name="T13" fmla="*/ 2147483646 h 177"/>
                  <a:gd name="T14" fmla="*/ 2147483646 w 147"/>
                  <a:gd name="T15" fmla="*/ 2147483646 h 17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7" h="177">
                    <a:moveTo>
                      <a:pt x="71" y="55"/>
                    </a:moveTo>
                    <a:cubicBezTo>
                      <a:pt x="112" y="105"/>
                      <a:pt x="113" y="176"/>
                      <a:pt x="113" y="176"/>
                    </a:cubicBezTo>
                    <a:cubicBezTo>
                      <a:pt x="108" y="177"/>
                      <a:pt x="108" y="177"/>
                      <a:pt x="108" y="177"/>
                    </a:cubicBezTo>
                    <a:cubicBezTo>
                      <a:pt x="121" y="175"/>
                      <a:pt x="130" y="174"/>
                      <a:pt x="130" y="174"/>
                    </a:cubicBezTo>
                    <a:cubicBezTo>
                      <a:pt x="147" y="138"/>
                      <a:pt x="130" y="85"/>
                      <a:pt x="98" y="42"/>
                    </a:cubicBezTo>
                    <a:cubicBezTo>
                      <a:pt x="65" y="0"/>
                      <a:pt x="11" y="29"/>
                      <a:pt x="0" y="37"/>
                    </a:cubicBezTo>
                    <a:cubicBezTo>
                      <a:pt x="0" y="37"/>
                      <a:pt x="0" y="40"/>
                      <a:pt x="1" y="44"/>
                    </a:cubicBezTo>
                    <a:cubicBezTo>
                      <a:pt x="18" y="23"/>
                      <a:pt x="41" y="19"/>
                      <a:pt x="71" y="5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6" name="Freeform 15"/>
              <p:cNvSpPr/>
              <p:nvPr/>
            </p:nvSpPr>
            <p:spPr bwMode="auto">
              <a:xfrm>
                <a:off x="-1577975" y="6577013"/>
                <a:ext cx="1296988" cy="2408238"/>
              </a:xfrm>
              <a:custGeom>
                <a:avLst/>
                <a:gdLst>
                  <a:gd name="T0" fmla="*/ 2147483646 w 346"/>
                  <a:gd name="T1" fmla="*/ 2147483646 h 642"/>
                  <a:gd name="T2" fmla="*/ 2147483646 w 346"/>
                  <a:gd name="T3" fmla="*/ 2147483646 h 642"/>
                  <a:gd name="T4" fmla="*/ 2147483646 w 346"/>
                  <a:gd name="T5" fmla="*/ 2147483646 h 642"/>
                  <a:gd name="T6" fmla="*/ 2147483646 w 346"/>
                  <a:gd name="T7" fmla="*/ 2147483646 h 642"/>
                  <a:gd name="T8" fmla="*/ 2147483646 w 346"/>
                  <a:gd name="T9" fmla="*/ 2147483646 h 642"/>
                  <a:gd name="T10" fmla="*/ 2147483646 w 346"/>
                  <a:gd name="T11" fmla="*/ 2147483646 h 642"/>
                  <a:gd name="T12" fmla="*/ 2147483646 w 346"/>
                  <a:gd name="T13" fmla="*/ 2147483646 h 642"/>
                  <a:gd name="T14" fmla="*/ 2147483646 w 346"/>
                  <a:gd name="T15" fmla="*/ 2147483646 h 642"/>
                  <a:gd name="T16" fmla="*/ 2147483646 w 346"/>
                  <a:gd name="T17" fmla="*/ 2147483646 h 642"/>
                  <a:gd name="T18" fmla="*/ 2147483646 w 346"/>
                  <a:gd name="T19" fmla="*/ 2147483646 h 642"/>
                  <a:gd name="T20" fmla="*/ 2147483646 w 346"/>
                  <a:gd name="T21" fmla="*/ 2147483646 h 642"/>
                  <a:gd name="T22" fmla="*/ 2147483646 w 346"/>
                  <a:gd name="T23" fmla="*/ 2147483646 h 642"/>
                  <a:gd name="T24" fmla="*/ 2147483646 w 346"/>
                  <a:gd name="T25" fmla="*/ 2147483646 h 64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6" h="642">
                    <a:moveTo>
                      <a:pt x="316" y="509"/>
                    </a:moveTo>
                    <a:cubicBezTo>
                      <a:pt x="301" y="446"/>
                      <a:pt x="245" y="402"/>
                      <a:pt x="245" y="402"/>
                    </a:cubicBezTo>
                    <a:cubicBezTo>
                      <a:pt x="191" y="442"/>
                      <a:pt x="191" y="442"/>
                      <a:pt x="191" y="442"/>
                    </a:cubicBezTo>
                    <a:cubicBezTo>
                      <a:pt x="191" y="442"/>
                      <a:pt x="129" y="424"/>
                      <a:pt x="102" y="349"/>
                    </a:cubicBezTo>
                    <a:cubicBezTo>
                      <a:pt x="75" y="274"/>
                      <a:pt x="93" y="245"/>
                      <a:pt x="93" y="245"/>
                    </a:cubicBezTo>
                    <a:cubicBezTo>
                      <a:pt x="157" y="226"/>
                      <a:pt x="157" y="226"/>
                      <a:pt x="157" y="226"/>
                    </a:cubicBezTo>
                    <a:cubicBezTo>
                      <a:pt x="157" y="226"/>
                      <a:pt x="156" y="155"/>
                      <a:pt x="115" y="105"/>
                    </a:cubicBezTo>
                    <a:cubicBezTo>
                      <a:pt x="27" y="0"/>
                      <a:pt x="5" y="231"/>
                      <a:pt x="5" y="231"/>
                    </a:cubicBezTo>
                    <a:cubicBezTo>
                      <a:pt x="5" y="231"/>
                      <a:pt x="0" y="268"/>
                      <a:pt x="6" y="315"/>
                    </a:cubicBezTo>
                    <a:cubicBezTo>
                      <a:pt x="6" y="346"/>
                      <a:pt x="15" y="375"/>
                      <a:pt x="28" y="400"/>
                    </a:cubicBezTo>
                    <a:cubicBezTo>
                      <a:pt x="40" y="426"/>
                      <a:pt x="57" y="450"/>
                      <a:pt x="82" y="469"/>
                    </a:cubicBezTo>
                    <a:cubicBezTo>
                      <a:pt x="116" y="502"/>
                      <a:pt x="148" y="521"/>
                      <a:pt x="148" y="521"/>
                    </a:cubicBezTo>
                    <a:cubicBezTo>
                      <a:pt x="148" y="521"/>
                      <a:pt x="346" y="642"/>
                      <a:pt x="316" y="50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7" name="Freeform 16"/>
              <p:cNvSpPr/>
              <p:nvPr/>
            </p:nvSpPr>
            <p:spPr bwMode="auto">
              <a:xfrm>
                <a:off x="-633413" y="8016875"/>
                <a:ext cx="438150" cy="701675"/>
              </a:xfrm>
              <a:custGeom>
                <a:avLst/>
                <a:gdLst>
                  <a:gd name="T0" fmla="*/ 2147483646 w 117"/>
                  <a:gd name="T1" fmla="*/ 2147483646 h 187"/>
                  <a:gd name="T2" fmla="*/ 2147483646 w 117"/>
                  <a:gd name="T3" fmla="*/ 2147483646 h 187"/>
                  <a:gd name="T4" fmla="*/ 0 w 117"/>
                  <a:gd name="T5" fmla="*/ 2147483646 h 187"/>
                  <a:gd name="T6" fmla="*/ 2147483646 w 117"/>
                  <a:gd name="T7" fmla="*/ 0 h 187"/>
                  <a:gd name="T8" fmla="*/ 2147483646 w 117"/>
                  <a:gd name="T9" fmla="*/ 2147483646 h 187"/>
                  <a:gd name="T10" fmla="*/ 2147483646 w 117"/>
                  <a:gd name="T11" fmla="*/ 2147483646 h 187"/>
                  <a:gd name="T12" fmla="*/ 2147483646 w 117"/>
                  <a:gd name="T13" fmla="*/ 2147483646 h 187"/>
                  <a:gd name="T14" fmla="*/ 2147483646 w 117"/>
                  <a:gd name="T15" fmla="*/ 2147483646 h 18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17" h="187">
                    <a:moveTo>
                      <a:pt x="76" y="119"/>
                    </a:moveTo>
                    <a:cubicBezTo>
                      <a:pt x="60" y="56"/>
                      <a:pt x="4" y="13"/>
                      <a:pt x="4" y="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9" y="7"/>
                      <a:pt x="15" y="0"/>
                      <a:pt x="15" y="0"/>
                    </a:cubicBezTo>
                    <a:cubicBezTo>
                      <a:pt x="54" y="9"/>
                      <a:pt x="88" y="54"/>
                      <a:pt x="102" y="105"/>
                    </a:cubicBezTo>
                    <a:cubicBezTo>
                      <a:pt x="117" y="157"/>
                      <a:pt x="61" y="183"/>
                      <a:pt x="48" y="187"/>
                    </a:cubicBezTo>
                    <a:cubicBezTo>
                      <a:pt x="48" y="187"/>
                      <a:pt x="46" y="185"/>
                      <a:pt x="44" y="182"/>
                    </a:cubicBezTo>
                    <a:cubicBezTo>
                      <a:pt x="70" y="181"/>
                      <a:pt x="87" y="165"/>
                      <a:pt x="76" y="1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8" name="Freeform 17"/>
              <p:cNvSpPr/>
              <p:nvPr/>
            </p:nvSpPr>
            <p:spPr bwMode="auto">
              <a:xfrm>
                <a:off x="-614363" y="7199313"/>
                <a:ext cx="385763" cy="558800"/>
              </a:xfrm>
              <a:custGeom>
                <a:avLst/>
                <a:gdLst>
                  <a:gd name="T0" fmla="*/ 2147483646 w 103"/>
                  <a:gd name="T1" fmla="*/ 2147483646 h 149"/>
                  <a:gd name="T2" fmla="*/ 2147483646 w 103"/>
                  <a:gd name="T3" fmla="*/ 2147483646 h 149"/>
                  <a:gd name="T4" fmla="*/ 2147483646 w 103"/>
                  <a:gd name="T5" fmla="*/ 2147483646 h 149"/>
                  <a:gd name="T6" fmla="*/ 2147483646 w 103"/>
                  <a:gd name="T7" fmla="*/ 2147483646 h 149"/>
                  <a:gd name="T8" fmla="*/ 2147483646 w 103"/>
                  <a:gd name="T9" fmla="*/ 2147483646 h 149"/>
                  <a:gd name="T10" fmla="*/ 2147483646 w 103"/>
                  <a:gd name="T11" fmla="*/ 2147483646 h 149"/>
                  <a:gd name="T12" fmla="*/ 2147483646 w 103"/>
                  <a:gd name="T13" fmla="*/ 2147483646 h 149"/>
                  <a:gd name="T14" fmla="*/ 2147483646 w 103"/>
                  <a:gd name="T15" fmla="*/ 2147483646 h 1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03" h="149">
                    <a:moveTo>
                      <a:pt x="4" y="17"/>
                    </a:moveTo>
                    <a:cubicBezTo>
                      <a:pt x="0" y="28"/>
                      <a:pt x="5" y="39"/>
                      <a:pt x="16" y="43"/>
                    </a:cubicBezTo>
                    <a:cubicBezTo>
                      <a:pt x="49" y="53"/>
                      <a:pt x="66" y="88"/>
                      <a:pt x="53" y="120"/>
                    </a:cubicBezTo>
                    <a:cubicBezTo>
                      <a:pt x="49" y="131"/>
                      <a:pt x="54" y="142"/>
                      <a:pt x="66" y="146"/>
                    </a:cubicBezTo>
                    <a:cubicBezTo>
                      <a:pt x="77" y="149"/>
                      <a:pt x="89" y="144"/>
                      <a:pt x="93" y="133"/>
                    </a:cubicBezTo>
                    <a:cubicBezTo>
                      <a:pt x="103" y="107"/>
                      <a:pt x="103" y="79"/>
                      <a:pt x="91" y="54"/>
                    </a:cubicBezTo>
                    <a:cubicBezTo>
                      <a:pt x="79" y="30"/>
                      <a:pt x="58" y="12"/>
                      <a:pt x="32" y="4"/>
                    </a:cubicBezTo>
                    <a:cubicBezTo>
                      <a:pt x="20" y="0"/>
                      <a:pt x="8" y="6"/>
                      <a:pt x="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9" name="Freeform 18"/>
              <p:cNvSpPr/>
              <p:nvPr/>
            </p:nvSpPr>
            <p:spPr bwMode="auto">
              <a:xfrm>
                <a:off x="-495300" y="6896100"/>
                <a:ext cx="611188" cy="963613"/>
              </a:xfrm>
              <a:custGeom>
                <a:avLst/>
                <a:gdLst>
                  <a:gd name="T0" fmla="*/ 2147483646 w 163"/>
                  <a:gd name="T1" fmla="*/ 2147483646 h 257"/>
                  <a:gd name="T2" fmla="*/ 2147483646 w 163"/>
                  <a:gd name="T3" fmla="*/ 2147483646 h 257"/>
                  <a:gd name="T4" fmla="*/ 2147483646 w 163"/>
                  <a:gd name="T5" fmla="*/ 2147483646 h 257"/>
                  <a:gd name="T6" fmla="*/ 2147483646 w 163"/>
                  <a:gd name="T7" fmla="*/ 2147483646 h 257"/>
                  <a:gd name="T8" fmla="*/ 2147483646 w 163"/>
                  <a:gd name="T9" fmla="*/ 2147483646 h 257"/>
                  <a:gd name="T10" fmla="*/ 2147483646 w 163"/>
                  <a:gd name="T11" fmla="*/ 2147483646 h 257"/>
                  <a:gd name="T12" fmla="*/ 2147483646 w 163"/>
                  <a:gd name="T13" fmla="*/ 2147483646 h 257"/>
                  <a:gd name="T14" fmla="*/ 2147483646 w 163"/>
                  <a:gd name="T15" fmla="*/ 2147483646 h 257"/>
                  <a:gd name="T16" fmla="*/ 2147483646 w 163"/>
                  <a:gd name="T17" fmla="*/ 2147483646 h 25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3" h="257">
                    <a:moveTo>
                      <a:pt x="4" y="17"/>
                    </a:moveTo>
                    <a:cubicBezTo>
                      <a:pt x="0" y="27"/>
                      <a:pt x="5" y="39"/>
                      <a:pt x="16" y="42"/>
                    </a:cubicBezTo>
                    <a:cubicBezTo>
                      <a:pt x="54" y="54"/>
                      <a:pt x="85" y="80"/>
                      <a:pt x="101" y="115"/>
                    </a:cubicBezTo>
                    <a:cubicBezTo>
                      <a:pt x="118" y="150"/>
                      <a:pt x="119" y="190"/>
                      <a:pt x="105" y="227"/>
                    </a:cubicBezTo>
                    <a:cubicBezTo>
                      <a:pt x="100" y="238"/>
                      <a:pt x="106" y="250"/>
                      <a:pt x="117" y="253"/>
                    </a:cubicBezTo>
                    <a:cubicBezTo>
                      <a:pt x="128" y="257"/>
                      <a:pt x="140" y="251"/>
                      <a:pt x="145" y="240"/>
                    </a:cubicBezTo>
                    <a:cubicBezTo>
                      <a:pt x="163" y="192"/>
                      <a:pt x="162" y="141"/>
                      <a:pt x="141" y="96"/>
                    </a:cubicBezTo>
                    <a:cubicBezTo>
                      <a:pt x="119" y="52"/>
                      <a:pt x="81" y="19"/>
                      <a:pt x="31" y="3"/>
                    </a:cubicBezTo>
                    <a:cubicBezTo>
                      <a:pt x="20" y="0"/>
                      <a:pt x="8" y="6"/>
                      <a:pt x="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29" name="矩形 28"/>
          <p:cNvSpPr/>
          <p:nvPr/>
        </p:nvSpPr>
        <p:spPr>
          <a:xfrm>
            <a:off x="8178800" y="1025525"/>
            <a:ext cx="641350" cy="1216025"/>
          </a:xfrm>
          <a:prstGeom prst="rect">
            <a:avLst/>
          </a:prstGeom>
          <a:solidFill>
            <a:srgbClr val="2B7EA3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8178800" y="2297113"/>
            <a:ext cx="641350" cy="1216025"/>
          </a:xfrm>
          <a:prstGeom prst="rect">
            <a:avLst/>
          </a:prstGeom>
          <a:solidFill>
            <a:srgbClr val="2B7EA3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8178800" y="3570288"/>
            <a:ext cx="641350" cy="1214437"/>
          </a:xfrm>
          <a:prstGeom prst="rect">
            <a:avLst/>
          </a:prstGeom>
          <a:solidFill>
            <a:srgbClr val="2B7EA3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9" name="组合 8"/>
          <p:cNvGrpSpPr/>
          <p:nvPr/>
        </p:nvGrpSpPr>
        <p:grpSpPr bwMode="auto">
          <a:xfrm>
            <a:off x="3059113" y="1025525"/>
            <a:ext cx="5184775" cy="1216025"/>
            <a:chOff x="3059832" y="1025798"/>
            <a:chExt cx="5184576" cy="1215927"/>
          </a:xfrm>
        </p:grpSpPr>
        <p:sp>
          <p:nvSpPr>
            <p:cNvPr id="52" name="矩形 51"/>
            <p:cNvSpPr/>
            <p:nvPr/>
          </p:nvSpPr>
          <p:spPr>
            <a:xfrm>
              <a:off x="3059832" y="1025798"/>
              <a:ext cx="5184576" cy="1215927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320" name="矩形 38"/>
            <p:cNvSpPr>
              <a:spLocks noChangeArrowheads="1"/>
            </p:cNvSpPr>
            <p:nvPr/>
          </p:nvSpPr>
          <p:spPr bwMode="auto">
            <a:xfrm>
              <a:off x="3372068" y="1309069"/>
              <a:ext cx="4572000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组合 9"/>
          <p:cNvGrpSpPr/>
          <p:nvPr/>
        </p:nvGrpSpPr>
        <p:grpSpPr bwMode="auto">
          <a:xfrm>
            <a:off x="3059113" y="2303463"/>
            <a:ext cx="5184775" cy="1216025"/>
            <a:chOff x="3059832" y="2303699"/>
            <a:chExt cx="5184576" cy="1215927"/>
          </a:xfrm>
        </p:grpSpPr>
        <p:sp>
          <p:nvSpPr>
            <p:cNvPr id="53" name="矩形 52"/>
            <p:cNvSpPr/>
            <p:nvPr/>
          </p:nvSpPr>
          <p:spPr>
            <a:xfrm>
              <a:off x="3059832" y="2303699"/>
              <a:ext cx="5184576" cy="1215927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318" name="矩形 39"/>
            <p:cNvSpPr>
              <a:spLocks noChangeArrowheads="1"/>
            </p:cNvSpPr>
            <p:nvPr/>
          </p:nvSpPr>
          <p:spPr bwMode="auto">
            <a:xfrm>
              <a:off x="3372068" y="2588716"/>
              <a:ext cx="4572000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" name="组合 11"/>
          <p:cNvGrpSpPr/>
          <p:nvPr/>
        </p:nvGrpSpPr>
        <p:grpSpPr bwMode="auto">
          <a:xfrm>
            <a:off x="3059113" y="3570288"/>
            <a:ext cx="5184775" cy="1214437"/>
            <a:chOff x="3059832" y="3569494"/>
            <a:chExt cx="5184576" cy="1215927"/>
          </a:xfrm>
        </p:grpSpPr>
        <p:sp>
          <p:nvSpPr>
            <p:cNvPr id="54" name="矩形 53"/>
            <p:cNvSpPr/>
            <p:nvPr/>
          </p:nvSpPr>
          <p:spPr>
            <a:xfrm>
              <a:off x="3059832" y="3569494"/>
              <a:ext cx="5184576" cy="121592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316" name="矩形 40"/>
            <p:cNvSpPr>
              <a:spLocks noChangeArrowheads="1"/>
            </p:cNvSpPr>
            <p:nvPr/>
          </p:nvSpPr>
          <p:spPr bwMode="auto">
            <a:xfrm>
              <a:off x="3378016" y="3868364"/>
              <a:ext cx="4572000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组合 10"/>
          <p:cNvGrpSpPr/>
          <p:nvPr/>
        </p:nvGrpSpPr>
        <p:grpSpPr bwMode="auto">
          <a:xfrm>
            <a:off x="8364538" y="1501775"/>
            <a:ext cx="327025" cy="284163"/>
            <a:chOff x="3108980" y="1413397"/>
            <a:chExt cx="516304" cy="449589"/>
          </a:xfrm>
        </p:grpSpPr>
        <p:sp>
          <p:nvSpPr>
            <p:cNvPr id="55" name="TextBox 54"/>
            <p:cNvSpPr txBox="1"/>
            <p:nvPr/>
          </p:nvSpPr>
          <p:spPr>
            <a:xfrm>
              <a:off x="3131536" y="1413397"/>
              <a:ext cx="493748" cy="44205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1</a:t>
              </a:r>
              <a:endParaRPr lang="zh-CN" altLang="en-US" sz="1600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sp>
          <p:nvSpPr>
            <p:cNvPr id="6" name="椭圆 5"/>
            <p:cNvSpPr/>
            <p:nvPr/>
          </p:nvSpPr>
          <p:spPr>
            <a:xfrm>
              <a:off x="3108980" y="1430979"/>
              <a:ext cx="431089" cy="432007"/>
            </a:xfrm>
            <a:prstGeom prst="ellipse">
              <a:avLst/>
            </a:prstGeom>
            <a:noFill/>
            <a:ln w="3175">
              <a:solidFill>
                <a:srgbClr val="FFFFFF">
                  <a:alpha val="7098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6" name="Freeform 51"/>
          <p:cNvSpPr>
            <a:spLocks noEditPoints="1"/>
          </p:cNvSpPr>
          <p:nvPr/>
        </p:nvSpPr>
        <p:spPr bwMode="auto">
          <a:xfrm flipH="1">
            <a:off x="8005763" y="1555750"/>
            <a:ext cx="173037" cy="157163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65" name="组合 64"/>
          <p:cNvGrpSpPr/>
          <p:nvPr/>
        </p:nvGrpSpPr>
        <p:grpSpPr bwMode="auto">
          <a:xfrm>
            <a:off x="8364538" y="2824163"/>
            <a:ext cx="334962" cy="338137"/>
            <a:chOff x="3108980" y="1413397"/>
            <a:chExt cx="528309" cy="533399"/>
          </a:xfrm>
        </p:grpSpPr>
        <p:sp>
          <p:nvSpPr>
            <p:cNvPr id="66" name="TextBox 65"/>
            <p:cNvSpPr txBox="1"/>
            <p:nvPr/>
          </p:nvSpPr>
          <p:spPr>
            <a:xfrm>
              <a:off x="3144034" y="1413397"/>
              <a:ext cx="493255" cy="53339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2</a:t>
              </a:r>
              <a:endParaRPr lang="zh-CN" altLang="en-US" sz="1600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sp>
          <p:nvSpPr>
            <p:cNvPr id="67" name="椭圆 66"/>
            <p:cNvSpPr/>
            <p:nvPr/>
          </p:nvSpPr>
          <p:spPr>
            <a:xfrm>
              <a:off x="3108980" y="1430926"/>
              <a:ext cx="433163" cy="433232"/>
            </a:xfrm>
            <a:prstGeom prst="ellipse">
              <a:avLst/>
            </a:prstGeom>
            <a:noFill/>
            <a:ln w="3175">
              <a:solidFill>
                <a:srgbClr val="FFFFFF">
                  <a:alpha val="7098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8" name="Freeform 51"/>
          <p:cNvSpPr>
            <a:spLocks noEditPoints="1"/>
          </p:cNvSpPr>
          <p:nvPr/>
        </p:nvSpPr>
        <p:spPr bwMode="auto">
          <a:xfrm flipH="1">
            <a:off x="8005763" y="2833688"/>
            <a:ext cx="173037" cy="157162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69" name="组合 68"/>
          <p:cNvGrpSpPr/>
          <p:nvPr/>
        </p:nvGrpSpPr>
        <p:grpSpPr bwMode="auto">
          <a:xfrm>
            <a:off x="8364538" y="4035425"/>
            <a:ext cx="334962" cy="338138"/>
            <a:chOff x="3108980" y="1413397"/>
            <a:chExt cx="528306" cy="533399"/>
          </a:xfrm>
        </p:grpSpPr>
        <p:sp>
          <p:nvSpPr>
            <p:cNvPr id="70" name="TextBox 69"/>
            <p:cNvSpPr txBox="1"/>
            <p:nvPr/>
          </p:nvSpPr>
          <p:spPr>
            <a:xfrm>
              <a:off x="3144034" y="1413397"/>
              <a:ext cx="493252" cy="53339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3</a:t>
              </a:r>
              <a:endParaRPr lang="zh-CN" altLang="en-US" sz="1600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sp>
          <p:nvSpPr>
            <p:cNvPr id="71" name="椭圆 70"/>
            <p:cNvSpPr/>
            <p:nvPr/>
          </p:nvSpPr>
          <p:spPr>
            <a:xfrm>
              <a:off x="3108980" y="1430927"/>
              <a:ext cx="433161" cy="433229"/>
            </a:xfrm>
            <a:prstGeom prst="ellipse">
              <a:avLst/>
            </a:prstGeom>
            <a:noFill/>
            <a:ln w="3175">
              <a:solidFill>
                <a:srgbClr val="FFFFFF">
                  <a:alpha val="7098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2" name="Freeform 51"/>
          <p:cNvSpPr>
            <a:spLocks noEditPoints="1"/>
          </p:cNvSpPr>
          <p:nvPr/>
        </p:nvSpPr>
        <p:spPr bwMode="auto">
          <a:xfrm flipH="1">
            <a:off x="8005763" y="4098925"/>
            <a:ext cx="173037" cy="157163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4" name="矩形 73"/>
          <p:cNvSpPr/>
          <p:nvPr/>
        </p:nvSpPr>
        <p:spPr>
          <a:xfrm>
            <a:off x="0" y="195263"/>
            <a:ext cx="2771775" cy="431800"/>
          </a:xfrm>
          <a:prstGeom prst="rect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TextBox 3"/>
          <p:cNvSpPr txBox="1">
            <a:spLocks noChangeArrowheads="1"/>
          </p:cNvSpPr>
          <p:nvPr/>
        </p:nvSpPr>
        <p:spPr bwMode="auto">
          <a:xfrm>
            <a:off x="395288" y="242888"/>
            <a:ext cx="16779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rPr>
              <a:t>点击添加标题</a:t>
            </a:r>
            <a:endParaRPr lang="zh-CN" altLang="en-US" sz="1600" spc="3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经典特黑简" panose="02010609010101010101" pitchFamily="49" charset="-122"/>
              <a:ea typeface="经典特黑简" panose="02010609010101010101" pitchFamily="49" charset="-122"/>
              <a:cs typeface="经典特黑简" panose="02010609010101010101" pitchFamily="49" charset="-122"/>
            </a:endParaRPr>
          </a:p>
        </p:txBody>
      </p:sp>
      <p:grpSp>
        <p:nvGrpSpPr>
          <p:cNvPr id="11281" name="组合 75"/>
          <p:cNvGrpSpPr/>
          <p:nvPr/>
        </p:nvGrpSpPr>
        <p:grpSpPr bwMode="auto">
          <a:xfrm>
            <a:off x="2073275" y="296863"/>
            <a:ext cx="266700" cy="268287"/>
            <a:chOff x="3548270" y="395455"/>
            <a:chExt cx="391102" cy="391102"/>
          </a:xfrm>
        </p:grpSpPr>
        <p:sp>
          <p:nvSpPr>
            <p:cNvPr id="11307" name="Freeform 79"/>
            <p:cNvSpPr>
              <a:spLocks noEditPoints="1"/>
            </p:cNvSpPr>
            <p:nvPr/>
          </p:nvSpPr>
          <p:spPr bwMode="auto">
            <a:xfrm>
              <a:off x="3598766" y="470751"/>
              <a:ext cx="293901" cy="248965"/>
            </a:xfrm>
            <a:custGeom>
              <a:avLst/>
              <a:gdLst>
                <a:gd name="T0" fmla="*/ 2147483646 w 80"/>
                <a:gd name="T1" fmla="*/ 2147483646 h 82"/>
                <a:gd name="T2" fmla="*/ 2147483646 w 80"/>
                <a:gd name="T3" fmla="*/ 2147483646 h 82"/>
                <a:gd name="T4" fmla="*/ 2147483646 w 80"/>
                <a:gd name="T5" fmla="*/ 2147483646 h 82"/>
                <a:gd name="T6" fmla="*/ 2147483646 w 80"/>
                <a:gd name="T7" fmla="*/ 2147483646 h 82"/>
                <a:gd name="T8" fmla="*/ 0 w 80"/>
                <a:gd name="T9" fmla="*/ 2147483646 h 82"/>
                <a:gd name="T10" fmla="*/ 0 w 80"/>
                <a:gd name="T11" fmla="*/ 2147483646 h 82"/>
                <a:gd name="T12" fmla="*/ 2147483646 w 80"/>
                <a:gd name="T13" fmla="*/ 2147483646 h 82"/>
                <a:gd name="T14" fmla="*/ 2147483646 w 80"/>
                <a:gd name="T15" fmla="*/ 2147483646 h 82"/>
                <a:gd name="T16" fmla="*/ 2147483646 w 80"/>
                <a:gd name="T17" fmla="*/ 0 h 82"/>
                <a:gd name="T18" fmla="*/ 2147483646 w 80"/>
                <a:gd name="T19" fmla="*/ 2147483646 h 82"/>
                <a:gd name="T20" fmla="*/ 2147483646 w 80"/>
                <a:gd name="T21" fmla="*/ 2147483646 h 82"/>
                <a:gd name="T22" fmla="*/ 0 w 80"/>
                <a:gd name="T23" fmla="*/ 2147483646 h 82"/>
                <a:gd name="T24" fmla="*/ 2147483646 w 80"/>
                <a:gd name="T25" fmla="*/ 2147483646 h 82"/>
                <a:gd name="T26" fmla="*/ 2147483646 w 80"/>
                <a:gd name="T27" fmla="*/ 2147483646 h 82"/>
                <a:gd name="T28" fmla="*/ 2147483646 w 80"/>
                <a:gd name="T29" fmla="*/ 2147483646 h 82"/>
                <a:gd name="T30" fmla="*/ 2147483646 w 80"/>
                <a:gd name="T31" fmla="*/ 2147483646 h 82"/>
                <a:gd name="T32" fmla="*/ 2147483646 w 80"/>
                <a:gd name="T33" fmla="*/ 2147483646 h 82"/>
                <a:gd name="T34" fmla="*/ 2147483646 w 80"/>
                <a:gd name="T35" fmla="*/ 2147483646 h 82"/>
                <a:gd name="T36" fmla="*/ 2147483646 w 80"/>
                <a:gd name="T37" fmla="*/ 2147483646 h 82"/>
                <a:gd name="T38" fmla="*/ 2147483646 w 80"/>
                <a:gd name="T39" fmla="*/ 2147483646 h 82"/>
                <a:gd name="T40" fmla="*/ 2147483646 w 80"/>
                <a:gd name="T41" fmla="*/ 2147483646 h 82"/>
                <a:gd name="T42" fmla="*/ 2147483646 w 80"/>
                <a:gd name="T43" fmla="*/ 2147483646 h 82"/>
                <a:gd name="T44" fmla="*/ 2147483646 w 80"/>
                <a:gd name="T45" fmla="*/ 2147483646 h 82"/>
                <a:gd name="T46" fmla="*/ 2147483646 w 80"/>
                <a:gd name="T47" fmla="*/ 2147483646 h 82"/>
                <a:gd name="T48" fmla="*/ 2147483646 w 80"/>
                <a:gd name="T49" fmla="*/ 2147483646 h 82"/>
                <a:gd name="T50" fmla="*/ 2147483646 w 80"/>
                <a:gd name="T51" fmla="*/ 2147483646 h 82"/>
                <a:gd name="T52" fmla="*/ 2147483646 w 80"/>
                <a:gd name="T53" fmla="*/ 2147483646 h 82"/>
                <a:gd name="T54" fmla="*/ 2147483646 w 80"/>
                <a:gd name="T55" fmla="*/ 2147483646 h 82"/>
                <a:gd name="T56" fmla="*/ 2147483646 w 80"/>
                <a:gd name="T57" fmla="*/ 2147483646 h 82"/>
                <a:gd name="T58" fmla="*/ 2147483646 w 80"/>
                <a:gd name="T59" fmla="*/ 2147483646 h 82"/>
                <a:gd name="T60" fmla="*/ 2147483646 w 80"/>
                <a:gd name="T61" fmla="*/ 2147483646 h 82"/>
                <a:gd name="T62" fmla="*/ 2147483646 w 80"/>
                <a:gd name="T63" fmla="*/ 2147483646 h 82"/>
                <a:gd name="T64" fmla="*/ 2147483646 w 80"/>
                <a:gd name="T65" fmla="*/ 2147483646 h 82"/>
                <a:gd name="T66" fmla="*/ 2147483646 w 80"/>
                <a:gd name="T67" fmla="*/ 2147483646 h 82"/>
                <a:gd name="T68" fmla="*/ 2147483646 w 80"/>
                <a:gd name="T69" fmla="*/ 2147483646 h 82"/>
                <a:gd name="T70" fmla="*/ 2147483646 w 80"/>
                <a:gd name="T71" fmla="*/ 2147483646 h 82"/>
                <a:gd name="T72" fmla="*/ 2147483646 w 80"/>
                <a:gd name="T73" fmla="*/ 2147483646 h 8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80" h="82">
                  <a:moveTo>
                    <a:pt x="61" y="33"/>
                  </a:moveTo>
                  <a:lnTo>
                    <a:pt x="61" y="71"/>
                  </a:lnTo>
                  <a:lnTo>
                    <a:pt x="66" y="71"/>
                  </a:lnTo>
                  <a:lnTo>
                    <a:pt x="66" y="28"/>
                  </a:lnTo>
                  <a:lnTo>
                    <a:pt x="61" y="33"/>
                  </a:lnTo>
                  <a:close/>
                  <a:moveTo>
                    <a:pt x="0" y="75"/>
                  </a:moveTo>
                  <a:lnTo>
                    <a:pt x="80" y="75"/>
                  </a:lnTo>
                  <a:lnTo>
                    <a:pt x="80" y="82"/>
                  </a:lnTo>
                  <a:lnTo>
                    <a:pt x="0" y="82"/>
                  </a:lnTo>
                  <a:lnTo>
                    <a:pt x="0" y="75"/>
                  </a:lnTo>
                  <a:close/>
                  <a:moveTo>
                    <a:pt x="0" y="52"/>
                  </a:moveTo>
                  <a:lnTo>
                    <a:pt x="25" y="26"/>
                  </a:lnTo>
                  <a:lnTo>
                    <a:pt x="37" y="37"/>
                  </a:lnTo>
                  <a:lnTo>
                    <a:pt x="68" y="7"/>
                  </a:lnTo>
                  <a:lnTo>
                    <a:pt x="61" y="0"/>
                  </a:lnTo>
                  <a:lnTo>
                    <a:pt x="80" y="0"/>
                  </a:lnTo>
                  <a:lnTo>
                    <a:pt x="80" y="19"/>
                  </a:lnTo>
                  <a:lnTo>
                    <a:pt x="75" y="14"/>
                  </a:lnTo>
                  <a:lnTo>
                    <a:pt x="37" y="52"/>
                  </a:lnTo>
                  <a:lnTo>
                    <a:pt x="25" y="40"/>
                  </a:lnTo>
                  <a:lnTo>
                    <a:pt x="0" y="66"/>
                  </a:lnTo>
                  <a:lnTo>
                    <a:pt x="0" y="52"/>
                  </a:lnTo>
                  <a:close/>
                  <a:moveTo>
                    <a:pt x="70" y="23"/>
                  </a:moveTo>
                  <a:lnTo>
                    <a:pt x="70" y="71"/>
                  </a:lnTo>
                  <a:lnTo>
                    <a:pt x="75" y="71"/>
                  </a:lnTo>
                  <a:lnTo>
                    <a:pt x="75" y="21"/>
                  </a:lnTo>
                  <a:lnTo>
                    <a:pt x="70" y="23"/>
                  </a:lnTo>
                  <a:close/>
                  <a:moveTo>
                    <a:pt x="7" y="66"/>
                  </a:moveTo>
                  <a:lnTo>
                    <a:pt x="7" y="71"/>
                  </a:lnTo>
                  <a:lnTo>
                    <a:pt x="11" y="71"/>
                  </a:lnTo>
                  <a:lnTo>
                    <a:pt x="11" y="61"/>
                  </a:lnTo>
                  <a:lnTo>
                    <a:pt x="7" y="66"/>
                  </a:lnTo>
                  <a:close/>
                  <a:moveTo>
                    <a:pt x="14" y="56"/>
                  </a:moveTo>
                  <a:lnTo>
                    <a:pt x="14" y="71"/>
                  </a:lnTo>
                  <a:lnTo>
                    <a:pt x="18" y="71"/>
                  </a:lnTo>
                  <a:lnTo>
                    <a:pt x="18" y="54"/>
                  </a:lnTo>
                  <a:lnTo>
                    <a:pt x="14" y="56"/>
                  </a:lnTo>
                  <a:close/>
                  <a:moveTo>
                    <a:pt x="23" y="49"/>
                  </a:moveTo>
                  <a:lnTo>
                    <a:pt x="23" y="71"/>
                  </a:lnTo>
                  <a:lnTo>
                    <a:pt x="28" y="71"/>
                  </a:lnTo>
                  <a:lnTo>
                    <a:pt x="28" y="47"/>
                  </a:lnTo>
                  <a:lnTo>
                    <a:pt x="25" y="47"/>
                  </a:lnTo>
                  <a:lnTo>
                    <a:pt x="23" y="49"/>
                  </a:lnTo>
                  <a:close/>
                  <a:moveTo>
                    <a:pt x="30" y="52"/>
                  </a:moveTo>
                  <a:lnTo>
                    <a:pt x="30" y="71"/>
                  </a:lnTo>
                  <a:lnTo>
                    <a:pt x="35" y="71"/>
                  </a:lnTo>
                  <a:lnTo>
                    <a:pt x="35" y="56"/>
                  </a:lnTo>
                  <a:lnTo>
                    <a:pt x="33" y="52"/>
                  </a:lnTo>
                  <a:lnTo>
                    <a:pt x="30" y="52"/>
                  </a:lnTo>
                  <a:close/>
                  <a:moveTo>
                    <a:pt x="37" y="56"/>
                  </a:moveTo>
                  <a:lnTo>
                    <a:pt x="37" y="71"/>
                  </a:lnTo>
                  <a:lnTo>
                    <a:pt x="42" y="71"/>
                  </a:lnTo>
                  <a:lnTo>
                    <a:pt x="42" y="52"/>
                  </a:lnTo>
                  <a:lnTo>
                    <a:pt x="37" y="56"/>
                  </a:lnTo>
                  <a:close/>
                  <a:moveTo>
                    <a:pt x="47" y="47"/>
                  </a:moveTo>
                  <a:lnTo>
                    <a:pt x="47" y="71"/>
                  </a:lnTo>
                  <a:lnTo>
                    <a:pt x="51" y="71"/>
                  </a:lnTo>
                  <a:lnTo>
                    <a:pt x="51" y="45"/>
                  </a:lnTo>
                  <a:lnTo>
                    <a:pt x="47" y="47"/>
                  </a:lnTo>
                  <a:close/>
                  <a:moveTo>
                    <a:pt x="54" y="40"/>
                  </a:moveTo>
                  <a:lnTo>
                    <a:pt x="54" y="71"/>
                  </a:lnTo>
                  <a:lnTo>
                    <a:pt x="59" y="71"/>
                  </a:lnTo>
                  <a:lnTo>
                    <a:pt x="59" y="35"/>
                  </a:lnTo>
                  <a:lnTo>
                    <a:pt x="54" y="40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8" name="矩形 77"/>
            <p:cNvSpPr/>
            <p:nvPr/>
          </p:nvSpPr>
          <p:spPr>
            <a:xfrm>
              <a:off x="3548270" y="395455"/>
              <a:ext cx="391102" cy="391102"/>
            </a:xfrm>
            <a:prstGeom prst="rect">
              <a:avLst/>
            </a:prstGeom>
            <a:noFill/>
            <a:ln w="9525">
              <a:solidFill>
                <a:schemeClr val="bg1">
                  <a:alpha val="76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" name="组合 3"/>
          <p:cNvGrpSpPr/>
          <p:nvPr/>
        </p:nvGrpSpPr>
        <p:grpSpPr bwMode="auto">
          <a:xfrm>
            <a:off x="1614488" y="2297113"/>
            <a:ext cx="1357312" cy="1216025"/>
            <a:chOff x="1614026" y="2297647"/>
            <a:chExt cx="1357106" cy="1215927"/>
          </a:xfrm>
        </p:grpSpPr>
        <p:sp>
          <p:nvSpPr>
            <p:cNvPr id="27" name="矩形 26"/>
            <p:cNvSpPr/>
            <p:nvPr/>
          </p:nvSpPr>
          <p:spPr>
            <a:xfrm>
              <a:off x="1614026" y="2297647"/>
              <a:ext cx="1357106" cy="1215927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1300" name="组合 63"/>
            <p:cNvGrpSpPr/>
            <p:nvPr/>
          </p:nvGrpSpPr>
          <p:grpSpPr bwMode="auto">
            <a:xfrm>
              <a:off x="1917901" y="2532448"/>
              <a:ext cx="746326" cy="746325"/>
              <a:chOff x="-2017713" y="-3908425"/>
              <a:chExt cx="2576513" cy="2576513"/>
            </a:xfrm>
          </p:grpSpPr>
          <p:sp>
            <p:nvSpPr>
              <p:cNvPr id="85" name="Freeform 6"/>
              <p:cNvSpPr/>
              <p:nvPr/>
            </p:nvSpPr>
            <p:spPr bwMode="auto">
              <a:xfrm>
                <a:off x="-2020160" y="-3907976"/>
                <a:ext cx="2580911" cy="2575615"/>
              </a:xfrm>
              <a:custGeom>
                <a:avLst/>
                <a:gdLst>
                  <a:gd name="T0" fmla="*/ 687 w 687"/>
                  <a:gd name="T1" fmla="*/ 625 h 687"/>
                  <a:gd name="T2" fmla="*/ 624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4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302" name="Freeform 7"/>
              <p:cNvSpPr/>
              <p:nvPr/>
            </p:nvSpPr>
            <p:spPr bwMode="auto">
              <a:xfrm>
                <a:off x="-1398588" y="-3559175"/>
                <a:ext cx="1957388" cy="2227263"/>
              </a:xfrm>
              <a:custGeom>
                <a:avLst/>
                <a:gdLst>
                  <a:gd name="T0" fmla="*/ 2147483646 w 522"/>
                  <a:gd name="T1" fmla="*/ 2147483646 h 594"/>
                  <a:gd name="T2" fmla="*/ 2147483646 w 522"/>
                  <a:gd name="T3" fmla="*/ 2147483646 h 594"/>
                  <a:gd name="T4" fmla="*/ 2147483646 w 522"/>
                  <a:gd name="T5" fmla="*/ 2147483646 h 594"/>
                  <a:gd name="T6" fmla="*/ 2147483646 w 522"/>
                  <a:gd name="T7" fmla="*/ 2147483646 h 594"/>
                  <a:gd name="T8" fmla="*/ 2147483646 w 522"/>
                  <a:gd name="T9" fmla="*/ 0 h 594"/>
                  <a:gd name="T10" fmla="*/ 2147483646 w 522"/>
                  <a:gd name="T11" fmla="*/ 2147483646 h 594"/>
                  <a:gd name="T12" fmla="*/ 0 w 522"/>
                  <a:gd name="T13" fmla="*/ 2147483646 h 594"/>
                  <a:gd name="T14" fmla="*/ 2147483646 w 522"/>
                  <a:gd name="T15" fmla="*/ 2147483646 h 594"/>
                  <a:gd name="T16" fmla="*/ 2147483646 w 522"/>
                  <a:gd name="T17" fmla="*/ 2147483646 h 594"/>
                  <a:gd name="T18" fmla="*/ 2147483646 w 522"/>
                  <a:gd name="T19" fmla="*/ 2147483646 h 59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22" h="594">
                    <a:moveTo>
                      <a:pt x="522" y="532"/>
                    </a:moveTo>
                    <a:cubicBezTo>
                      <a:pt x="522" y="161"/>
                      <a:pt x="522" y="161"/>
                      <a:pt x="522" y="161"/>
                    </a:cubicBezTo>
                    <a:cubicBezTo>
                      <a:pt x="373" y="12"/>
                      <a:pt x="373" y="12"/>
                      <a:pt x="373" y="12"/>
                    </a:cubicBezTo>
                    <a:cubicBezTo>
                      <a:pt x="273" y="29"/>
                      <a:pt x="273" y="29"/>
                      <a:pt x="273" y="29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0" y="475"/>
                      <a:pt x="0" y="475"/>
                      <a:pt x="0" y="475"/>
                    </a:cubicBezTo>
                    <a:cubicBezTo>
                      <a:pt x="119" y="594"/>
                      <a:pt x="119" y="594"/>
                      <a:pt x="119" y="594"/>
                    </a:cubicBezTo>
                    <a:cubicBezTo>
                      <a:pt x="459" y="594"/>
                      <a:pt x="459" y="594"/>
                      <a:pt x="459" y="594"/>
                    </a:cubicBezTo>
                    <a:cubicBezTo>
                      <a:pt x="494" y="594"/>
                      <a:pt x="522" y="566"/>
                      <a:pt x="522" y="532"/>
                    </a:cubicBez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03" name="Freeform 8"/>
              <p:cNvSpPr>
                <a:spLocks noEditPoints="1"/>
              </p:cNvSpPr>
              <p:nvPr/>
            </p:nvSpPr>
            <p:spPr bwMode="auto">
              <a:xfrm>
                <a:off x="-484188" y="-3570288"/>
                <a:ext cx="671513" cy="671513"/>
              </a:xfrm>
              <a:custGeom>
                <a:avLst/>
                <a:gdLst>
                  <a:gd name="T0" fmla="*/ 2147483646 w 179"/>
                  <a:gd name="T1" fmla="*/ 0 h 179"/>
                  <a:gd name="T2" fmla="*/ 0 w 179"/>
                  <a:gd name="T3" fmla="*/ 2147483646 h 179"/>
                  <a:gd name="T4" fmla="*/ 2147483646 w 179"/>
                  <a:gd name="T5" fmla="*/ 2147483646 h 179"/>
                  <a:gd name="T6" fmla="*/ 2147483646 w 179"/>
                  <a:gd name="T7" fmla="*/ 2147483646 h 179"/>
                  <a:gd name="T8" fmla="*/ 2147483646 w 179"/>
                  <a:gd name="T9" fmla="*/ 0 h 179"/>
                  <a:gd name="T10" fmla="*/ 2147483646 w 179"/>
                  <a:gd name="T11" fmla="*/ 2147483646 h 179"/>
                  <a:gd name="T12" fmla="*/ 2147483646 w 179"/>
                  <a:gd name="T13" fmla="*/ 2147483646 h 179"/>
                  <a:gd name="T14" fmla="*/ 2147483646 w 179"/>
                  <a:gd name="T15" fmla="*/ 2147483646 h 179"/>
                  <a:gd name="T16" fmla="*/ 2147483646 w 179"/>
                  <a:gd name="T17" fmla="*/ 2147483646 h 179"/>
                  <a:gd name="T18" fmla="*/ 2147483646 w 179"/>
                  <a:gd name="T19" fmla="*/ 2147483646 h 17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9" h="179">
                    <a:moveTo>
                      <a:pt x="89" y="0"/>
                    </a:moveTo>
                    <a:cubicBezTo>
                      <a:pt x="40" y="0"/>
                      <a:pt x="0" y="40"/>
                      <a:pt x="0" y="90"/>
                    </a:cubicBezTo>
                    <a:cubicBezTo>
                      <a:pt x="0" y="139"/>
                      <a:pt x="40" y="179"/>
                      <a:pt x="89" y="179"/>
                    </a:cubicBezTo>
                    <a:cubicBezTo>
                      <a:pt x="139" y="179"/>
                      <a:pt x="179" y="139"/>
                      <a:pt x="179" y="90"/>
                    </a:cubicBezTo>
                    <a:cubicBezTo>
                      <a:pt x="179" y="40"/>
                      <a:pt x="139" y="0"/>
                      <a:pt x="89" y="0"/>
                    </a:cubicBezTo>
                    <a:close/>
                    <a:moveTo>
                      <a:pt x="88" y="158"/>
                    </a:moveTo>
                    <a:cubicBezTo>
                      <a:pt x="50" y="158"/>
                      <a:pt x="19" y="127"/>
                      <a:pt x="19" y="88"/>
                    </a:cubicBezTo>
                    <a:cubicBezTo>
                      <a:pt x="19" y="50"/>
                      <a:pt x="50" y="19"/>
                      <a:pt x="88" y="19"/>
                    </a:cubicBezTo>
                    <a:cubicBezTo>
                      <a:pt x="126" y="19"/>
                      <a:pt x="157" y="50"/>
                      <a:pt x="157" y="88"/>
                    </a:cubicBezTo>
                    <a:cubicBezTo>
                      <a:pt x="157" y="127"/>
                      <a:pt x="126" y="158"/>
                      <a:pt x="88" y="15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04" name="Freeform 9"/>
              <p:cNvSpPr>
                <a:spLocks noEditPoints="1"/>
              </p:cNvSpPr>
              <p:nvPr/>
            </p:nvSpPr>
            <p:spPr bwMode="auto">
              <a:xfrm>
                <a:off x="-1443038" y="-3570288"/>
                <a:ext cx="1349375" cy="1841500"/>
              </a:xfrm>
              <a:custGeom>
                <a:avLst/>
                <a:gdLst>
                  <a:gd name="T0" fmla="*/ 2147483646 w 360"/>
                  <a:gd name="T1" fmla="*/ 2147483646 h 491"/>
                  <a:gd name="T2" fmla="*/ 2147483646 w 360"/>
                  <a:gd name="T3" fmla="*/ 2147483646 h 491"/>
                  <a:gd name="T4" fmla="*/ 2147483646 w 360"/>
                  <a:gd name="T5" fmla="*/ 2147483646 h 491"/>
                  <a:gd name="T6" fmla="*/ 2147483646 w 360"/>
                  <a:gd name="T7" fmla="*/ 2147483646 h 491"/>
                  <a:gd name="T8" fmla="*/ 2147483646 w 360"/>
                  <a:gd name="T9" fmla="*/ 2147483646 h 491"/>
                  <a:gd name="T10" fmla="*/ 2147483646 w 360"/>
                  <a:gd name="T11" fmla="*/ 2147483646 h 491"/>
                  <a:gd name="T12" fmla="*/ 2147483646 w 360"/>
                  <a:gd name="T13" fmla="*/ 2147483646 h 491"/>
                  <a:gd name="T14" fmla="*/ 2147483646 w 360"/>
                  <a:gd name="T15" fmla="*/ 2147483646 h 491"/>
                  <a:gd name="T16" fmla="*/ 2147483646 w 360"/>
                  <a:gd name="T17" fmla="*/ 2147483646 h 491"/>
                  <a:gd name="T18" fmla="*/ 2147483646 w 360"/>
                  <a:gd name="T19" fmla="*/ 0 h 491"/>
                  <a:gd name="T20" fmla="*/ 2147483646 w 360"/>
                  <a:gd name="T21" fmla="*/ 0 h 491"/>
                  <a:gd name="T22" fmla="*/ 0 w 360"/>
                  <a:gd name="T23" fmla="*/ 2147483646 h 491"/>
                  <a:gd name="T24" fmla="*/ 0 w 360"/>
                  <a:gd name="T25" fmla="*/ 2147483646 h 491"/>
                  <a:gd name="T26" fmla="*/ 2147483646 w 360"/>
                  <a:gd name="T27" fmla="*/ 2147483646 h 491"/>
                  <a:gd name="T28" fmla="*/ 2147483646 w 360"/>
                  <a:gd name="T29" fmla="*/ 2147483646 h 491"/>
                  <a:gd name="T30" fmla="*/ 2147483646 w 360"/>
                  <a:gd name="T31" fmla="*/ 2147483646 h 491"/>
                  <a:gd name="T32" fmla="*/ 2147483646 w 360"/>
                  <a:gd name="T33" fmla="*/ 2147483646 h 491"/>
                  <a:gd name="T34" fmla="*/ 2147483646 w 360"/>
                  <a:gd name="T35" fmla="*/ 2147483646 h 491"/>
                  <a:gd name="T36" fmla="*/ 2147483646 w 360"/>
                  <a:gd name="T37" fmla="*/ 2147483646 h 491"/>
                  <a:gd name="T38" fmla="*/ 2147483646 w 360"/>
                  <a:gd name="T39" fmla="*/ 2147483646 h 491"/>
                  <a:gd name="T40" fmla="*/ 2147483646 w 360"/>
                  <a:gd name="T41" fmla="*/ 2147483646 h 491"/>
                  <a:gd name="T42" fmla="*/ 2147483646 w 360"/>
                  <a:gd name="T43" fmla="*/ 2147483646 h 491"/>
                  <a:gd name="T44" fmla="*/ 2147483646 w 360"/>
                  <a:gd name="T45" fmla="*/ 2147483646 h 49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60" h="491">
                    <a:moveTo>
                      <a:pt x="345" y="222"/>
                    </a:moveTo>
                    <a:cubicBezTo>
                      <a:pt x="333" y="222"/>
                      <a:pt x="321" y="220"/>
                      <a:pt x="310" y="217"/>
                    </a:cubicBezTo>
                    <a:cubicBezTo>
                      <a:pt x="310" y="378"/>
                      <a:pt x="310" y="378"/>
                      <a:pt x="310" y="378"/>
                    </a:cubicBezTo>
                    <a:cubicBezTo>
                      <a:pt x="310" y="389"/>
                      <a:pt x="301" y="398"/>
                      <a:pt x="290" y="398"/>
                    </a:cubicBezTo>
                    <a:cubicBezTo>
                      <a:pt x="69" y="398"/>
                      <a:pt x="69" y="398"/>
                      <a:pt x="69" y="398"/>
                    </a:cubicBezTo>
                    <a:cubicBezTo>
                      <a:pt x="58" y="398"/>
                      <a:pt x="49" y="389"/>
                      <a:pt x="49" y="378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9" y="47"/>
                      <a:pt x="58" y="38"/>
                      <a:pt x="69" y="38"/>
                    </a:cubicBezTo>
                    <a:cubicBezTo>
                      <a:pt x="232" y="38"/>
                      <a:pt x="232" y="38"/>
                      <a:pt x="232" y="38"/>
                    </a:cubicBezTo>
                    <a:cubicBezTo>
                      <a:pt x="240" y="23"/>
                      <a:pt x="249" y="11"/>
                      <a:pt x="261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471"/>
                      <a:pt x="0" y="471"/>
                      <a:pt x="0" y="471"/>
                    </a:cubicBezTo>
                    <a:cubicBezTo>
                      <a:pt x="0" y="482"/>
                      <a:pt x="9" y="491"/>
                      <a:pt x="20" y="491"/>
                    </a:cubicBezTo>
                    <a:cubicBezTo>
                      <a:pt x="340" y="491"/>
                      <a:pt x="340" y="491"/>
                      <a:pt x="340" y="491"/>
                    </a:cubicBezTo>
                    <a:cubicBezTo>
                      <a:pt x="351" y="491"/>
                      <a:pt x="360" y="482"/>
                      <a:pt x="360" y="471"/>
                    </a:cubicBezTo>
                    <a:cubicBezTo>
                      <a:pt x="360" y="221"/>
                      <a:pt x="360" y="221"/>
                      <a:pt x="360" y="221"/>
                    </a:cubicBezTo>
                    <a:cubicBezTo>
                      <a:pt x="355" y="221"/>
                      <a:pt x="350" y="222"/>
                      <a:pt x="345" y="222"/>
                    </a:cubicBezTo>
                    <a:close/>
                    <a:moveTo>
                      <a:pt x="180" y="478"/>
                    </a:moveTo>
                    <a:cubicBezTo>
                      <a:pt x="163" y="478"/>
                      <a:pt x="150" y="463"/>
                      <a:pt x="150" y="446"/>
                    </a:cubicBezTo>
                    <a:cubicBezTo>
                      <a:pt x="150" y="428"/>
                      <a:pt x="163" y="414"/>
                      <a:pt x="180" y="414"/>
                    </a:cubicBezTo>
                    <a:cubicBezTo>
                      <a:pt x="196" y="414"/>
                      <a:pt x="209" y="428"/>
                      <a:pt x="209" y="446"/>
                    </a:cubicBezTo>
                    <a:cubicBezTo>
                      <a:pt x="209" y="463"/>
                      <a:pt x="196" y="478"/>
                      <a:pt x="180" y="47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05" name="Freeform 10"/>
              <p:cNvSpPr/>
              <p:nvPr/>
            </p:nvSpPr>
            <p:spPr bwMode="auto">
              <a:xfrm>
                <a:off x="-236538" y="-3421063"/>
                <a:ext cx="206375" cy="327025"/>
              </a:xfrm>
              <a:custGeom>
                <a:avLst/>
                <a:gdLst>
                  <a:gd name="T0" fmla="*/ 0 w 55"/>
                  <a:gd name="T1" fmla="*/ 2147483646 h 87"/>
                  <a:gd name="T2" fmla="*/ 0 w 55"/>
                  <a:gd name="T3" fmla="*/ 2147483646 h 87"/>
                  <a:gd name="T4" fmla="*/ 2147483646 w 55"/>
                  <a:gd name="T5" fmla="*/ 2147483646 h 87"/>
                  <a:gd name="T6" fmla="*/ 2147483646 w 55"/>
                  <a:gd name="T7" fmla="*/ 2147483646 h 87"/>
                  <a:gd name="T8" fmla="*/ 2147483646 w 55"/>
                  <a:gd name="T9" fmla="*/ 2147483646 h 87"/>
                  <a:gd name="T10" fmla="*/ 2147483646 w 55"/>
                  <a:gd name="T11" fmla="*/ 2147483646 h 87"/>
                  <a:gd name="T12" fmla="*/ 2147483646 w 55"/>
                  <a:gd name="T13" fmla="*/ 2147483646 h 87"/>
                  <a:gd name="T14" fmla="*/ 2147483646 w 55"/>
                  <a:gd name="T15" fmla="*/ 0 h 87"/>
                  <a:gd name="T16" fmla="*/ 2147483646 w 55"/>
                  <a:gd name="T17" fmla="*/ 2147483646 h 87"/>
                  <a:gd name="T18" fmla="*/ 2147483646 w 55"/>
                  <a:gd name="T19" fmla="*/ 2147483646 h 87"/>
                  <a:gd name="T20" fmla="*/ 2147483646 w 55"/>
                  <a:gd name="T21" fmla="*/ 2147483646 h 87"/>
                  <a:gd name="T22" fmla="*/ 2147483646 w 55"/>
                  <a:gd name="T23" fmla="*/ 2147483646 h 87"/>
                  <a:gd name="T24" fmla="*/ 2147483646 w 55"/>
                  <a:gd name="T25" fmla="*/ 2147483646 h 87"/>
                  <a:gd name="T26" fmla="*/ 2147483646 w 55"/>
                  <a:gd name="T27" fmla="*/ 2147483646 h 87"/>
                  <a:gd name="T28" fmla="*/ 0 w 55"/>
                  <a:gd name="T29" fmla="*/ 2147483646 h 8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5" h="87">
                    <a:moveTo>
                      <a:pt x="0" y="87"/>
                    </a:moveTo>
                    <a:cubicBezTo>
                      <a:pt x="0" y="80"/>
                      <a:pt x="0" y="80"/>
                      <a:pt x="0" y="80"/>
                    </a:cubicBezTo>
                    <a:cubicBezTo>
                      <a:pt x="9" y="71"/>
                      <a:pt x="9" y="71"/>
                      <a:pt x="9" y="71"/>
                    </a:cubicBezTo>
                    <a:cubicBezTo>
                      <a:pt x="31" y="50"/>
                      <a:pt x="41" y="39"/>
                      <a:pt x="41" y="27"/>
                    </a:cubicBezTo>
                    <a:cubicBezTo>
                      <a:pt x="41" y="18"/>
                      <a:pt x="37" y="10"/>
                      <a:pt x="24" y="10"/>
                    </a:cubicBezTo>
                    <a:cubicBezTo>
                      <a:pt x="16" y="10"/>
                      <a:pt x="10" y="14"/>
                      <a:pt x="6" y="1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4"/>
                      <a:pt x="17" y="0"/>
                      <a:pt x="26" y="0"/>
                    </a:cubicBezTo>
                    <a:cubicBezTo>
                      <a:pt x="45" y="0"/>
                      <a:pt x="52" y="13"/>
                      <a:pt x="52" y="25"/>
                    </a:cubicBezTo>
                    <a:cubicBezTo>
                      <a:pt x="52" y="41"/>
                      <a:pt x="41" y="53"/>
                      <a:pt x="23" y="71"/>
                    </a:cubicBezTo>
                    <a:cubicBezTo>
                      <a:pt x="16" y="77"/>
                      <a:pt x="16" y="77"/>
                      <a:pt x="16" y="77"/>
                    </a:cubicBezTo>
                    <a:cubicBezTo>
                      <a:pt x="16" y="77"/>
                      <a:pt x="16" y="77"/>
                      <a:pt x="16" y="77"/>
                    </a:cubicBezTo>
                    <a:cubicBezTo>
                      <a:pt x="55" y="77"/>
                      <a:pt x="55" y="77"/>
                      <a:pt x="55" y="77"/>
                    </a:cubicBezTo>
                    <a:cubicBezTo>
                      <a:pt x="55" y="87"/>
                      <a:pt x="55" y="87"/>
                      <a:pt x="55" y="87"/>
                    </a:cubicBez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06" name="Freeform 11"/>
              <p:cNvSpPr/>
              <p:nvPr/>
            </p:nvSpPr>
            <p:spPr bwMode="auto">
              <a:xfrm>
                <a:off x="-603250" y="-3068638"/>
                <a:ext cx="300038" cy="307975"/>
              </a:xfrm>
              <a:custGeom>
                <a:avLst/>
                <a:gdLst>
                  <a:gd name="T0" fmla="*/ 2147483646 w 80"/>
                  <a:gd name="T1" fmla="*/ 0 h 82"/>
                  <a:gd name="T2" fmla="*/ 0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0 h 8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0" h="82">
                    <a:moveTo>
                      <a:pt x="51" y="0"/>
                    </a:moveTo>
                    <a:cubicBezTo>
                      <a:pt x="51" y="0"/>
                      <a:pt x="59" y="58"/>
                      <a:pt x="0" y="82"/>
                    </a:cubicBezTo>
                    <a:cubicBezTo>
                      <a:pt x="0" y="82"/>
                      <a:pt x="72" y="72"/>
                      <a:pt x="80" y="37"/>
                    </a:cubicBez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" name="组合 4"/>
          <p:cNvGrpSpPr/>
          <p:nvPr/>
        </p:nvGrpSpPr>
        <p:grpSpPr bwMode="auto">
          <a:xfrm>
            <a:off x="1614488" y="3570288"/>
            <a:ext cx="1357312" cy="1214437"/>
            <a:chOff x="1614026" y="3569495"/>
            <a:chExt cx="1357106" cy="1215927"/>
          </a:xfrm>
        </p:grpSpPr>
        <p:sp>
          <p:nvSpPr>
            <p:cNvPr id="28" name="矩形 27"/>
            <p:cNvSpPr/>
            <p:nvPr/>
          </p:nvSpPr>
          <p:spPr>
            <a:xfrm>
              <a:off x="1614026" y="3569495"/>
              <a:ext cx="1357106" cy="1215927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1294" name="组合 98"/>
            <p:cNvGrpSpPr/>
            <p:nvPr/>
          </p:nvGrpSpPr>
          <p:grpSpPr bwMode="auto">
            <a:xfrm>
              <a:off x="1917901" y="3804986"/>
              <a:ext cx="746326" cy="744945"/>
              <a:chOff x="8591550" y="6483350"/>
              <a:chExt cx="2576513" cy="2571751"/>
            </a:xfrm>
          </p:grpSpPr>
          <p:sp>
            <p:nvSpPr>
              <p:cNvPr id="100" name="Freeform 19"/>
              <p:cNvSpPr/>
              <p:nvPr/>
            </p:nvSpPr>
            <p:spPr bwMode="auto">
              <a:xfrm>
                <a:off x="8589103" y="6482479"/>
                <a:ext cx="2580911" cy="2573497"/>
              </a:xfrm>
              <a:custGeom>
                <a:avLst/>
                <a:gdLst>
                  <a:gd name="T0" fmla="*/ 687 w 687"/>
                  <a:gd name="T1" fmla="*/ 624 h 686"/>
                  <a:gd name="T2" fmla="*/ 625 w 687"/>
                  <a:gd name="T3" fmla="*/ 686 h 686"/>
                  <a:gd name="T4" fmla="*/ 63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3 w 687"/>
                  <a:gd name="T11" fmla="*/ 0 h 686"/>
                  <a:gd name="T12" fmla="*/ 625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5" y="686"/>
                    </a:cubicBezTo>
                    <a:cubicBezTo>
                      <a:pt x="63" y="686"/>
                      <a:pt x="63" y="686"/>
                      <a:pt x="63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296" name="Freeform 20"/>
              <p:cNvSpPr/>
              <p:nvPr/>
            </p:nvSpPr>
            <p:spPr bwMode="auto">
              <a:xfrm>
                <a:off x="8943975" y="6742113"/>
                <a:ext cx="2224088" cy="2312988"/>
              </a:xfrm>
              <a:custGeom>
                <a:avLst/>
                <a:gdLst>
                  <a:gd name="T0" fmla="*/ 2147483646 w 593"/>
                  <a:gd name="T1" fmla="*/ 2147483646 h 617"/>
                  <a:gd name="T2" fmla="*/ 2147483646 w 593"/>
                  <a:gd name="T3" fmla="*/ 2147483646 h 617"/>
                  <a:gd name="T4" fmla="*/ 2147483646 w 593"/>
                  <a:gd name="T5" fmla="*/ 2147483646 h 617"/>
                  <a:gd name="T6" fmla="*/ 2147483646 w 593"/>
                  <a:gd name="T7" fmla="*/ 2147483646 h 617"/>
                  <a:gd name="T8" fmla="*/ 2147483646 w 593"/>
                  <a:gd name="T9" fmla="*/ 2147483646 h 617"/>
                  <a:gd name="T10" fmla="*/ 2147483646 w 593"/>
                  <a:gd name="T11" fmla="*/ 2147483646 h 617"/>
                  <a:gd name="T12" fmla="*/ 2147483646 w 593"/>
                  <a:gd name="T13" fmla="*/ 2147483646 h 617"/>
                  <a:gd name="T14" fmla="*/ 0 w 593"/>
                  <a:gd name="T15" fmla="*/ 2147483646 h 617"/>
                  <a:gd name="T16" fmla="*/ 2147483646 w 593"/>
                  <a:gd name="T17" fmla="*/ 2147483646 h 617"/>
                  <a:gd name="T18" fmla="*/ 2147483646 w 593"/>
                  <a:gd name="T19" fmla="*/ 2147483646 h 617"/>
                  <a:gd name="T20" fmla="*/ 2147483646 w 593"/>
                  <a:gd name="T21" fmla="*/ 2147483646 h 617"/>
                  <a:gd name="T22" fmla="*/ 2147483646 w 593"/>
                  <a:gd name="T23" fmla="*/ 2147483646 h 617"/>
                  <a:gd name="T24" fmla="*/ 2147483646 w 593"/>
                  <a:gd name="T25" fmla="*/ 2147483646 h 61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93" h="617">
                    <a:moveTo>
                      <a:pt x="333" y="27"/>
                    </a:moveTo>
                    <a:cubicBezTo>
                      <a:pt x="333" y="27"/>
                      <a:pt x="177" y="0"/>
                      <a:pt x="139" y="80"/>
                    </a:cubicBezTo>
                    <a:cubicBezTo>
                      <a:pt x="100" y="159"/>
                      <a:pt x="78" y="282"/>
                      <a:pt x="78" y="282"/>
                    </a:cubicBezTo>
                    <a:cubicBezTo>
                      <a:pt x="268" y="472"/>
                      <a:pt x="268" y="472"/>
                      <a:pt x="268" y="472"/>
                    </a:cubicBezTo>
                    <a:cubicBezTo>
                      <a:pt x="224" y="516"/>
                      <a:pt x="224" y="516"/>
                      <a:pt x="224" y="516"/>
                    </a:cubicBezTo>
                    <a:cubicBezTo>
                      <a:pt x="225" y="517"/>
                      <a:pt x="225" y="517"/>
                      <a:pt x="225" y="517"/>
                    </a:cubicBezTo>
                    <a:cubicBezTo>
                      <a:pt x="204" y="521"/>
                      <a:pt x="184" y="528"/>
                      <a:pt x="165" y="537"/>
                    </a:cubicBezTo>
                    <a:cubicBezTo>
                      <a:pt x="40" y="450"/>
                      <a:pt x="0" y="490"/>
                      <a:pt x="0" y="490"/>
                    </a:cubicBezTo>
                    <a:cubicBezTo>
                      <a:pt x="128" y="617"/>
                      <a:pt x="128" y="617"/>
                      <a:pt x="128" y="617"/>
                    </a:cubicBezTo>
                    <a:cubicBezTo>
                      <a:pt x="531" y="617"/>
                      <a:pt x="531" y="617"/>
                      <a:pt x="531" y="617"/>
                    </a:cubicBezTo>
                    <a:cubicBezTo>
                      <a:pt x="565" y="617"/>
                      <a:pt x="593" y="590"/>
                      <a:pt x="593" y="555"/>
                    </a:cubicBezTo>
                    <a:cubicBezTo>
                      <a:pt x="593" y="288"/>
                      <a:pt x="593" y="288"/>
                      <a:pt x="593" y="288"/>
                    </a:cubicBezTo>
                    <a:lnTo>
                      <a:pt x="333" y="27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297" name="Freeform 21"/>
              <p:cNvSpPr>
                <a:spLocks noEditPoints="1"/>
              </p:cNvSpPr>
              <p:nvPr/>
            </p:nvSpPr>
            <p:spPr bwMode="auto">
              <a:xfrm>
                <a:off x="9218613" y="6734175"/>
                <a:ext cx="1365250" cy="1844675"/>
              </a:xfrm>
              <a:custGeom>
                <a:avLst/>
                <a:gdLst>
                  <a:gd name="T0" fmla="*/ 2147483646 w 364"/>
                  <a:gd name="T1" fmla="*/ 0 h 492"/>
                  <a:gd name="T2" fmla="*/ 0 w 364"/>
                  <a:gd name="T3" fmla="*/ 2147483646 h 492"/>
                  <a:gd name="T4" fmla="*/ 2147483646 w 364"/>
                  <a:gd name="T5" fmla="*/ 2147483646 h 492"/>
                  <a:gd name="T6" fmla="*/ 2147483646 w 364"/>
                  <a:gd name="T7" fmla="*/ 2147483646 h 492"/>
                  <a:gd name="T8" fmla="*/ 2147483646 w 364"/>
                  <a:gd name="T9" fmla="*/ 0 h 492"/>
                  <a:gd name="T10" fmla="*/ 2147483646 w 364"/>
                  <a:gd name="T11" fmla="*/ 2147483646 h 492"/>
                  <a:gd name="T12" fmla="*/ 2147483646 w 364"/>
                  <a:gd name="T13" fmla="*/ 2147483646 h 492"/>
                  <a:gd name="T14" fmla="*/ 2147483646 w 364"/>
                  <a:gd name="T15" fmla="*/ 2147483646 h 492"/>
                  <a:gd name="T16" fmla="*/ 2147483646 w 364"/>
                  <a:gd name="T17" fmla="*/ 2147483646 h 492"/>
                  <a:gd name="T18" fmla="*/ 2147483646 w 364"/>
                  <a:gd name="T19" fmla="*/ 2147483646 h 492"/>
                  <a:gd name="T20" fmla="*/ 2147483646 w 364"/>
                  <a:gd name="T21" fmla="*/ 2147483646 h 492"/>
                  <a:gd name="T22" fmla="*/ 2147483646 w 364"/>
                  <a:gd name="T23" fmla="*/ 2147483646 h 492"/>
                  <a:gd name="T24" fmla="*/ 2147483646 w 364"/>
                  <a:gd name="T25" fmla="*/ 2147483646 h 492"/>
                  <a:gd name="T26" fmla="*/ 2147483646 w 364"/>
                  <a:gd name="T27" fmla="*/ 2147483646 h 492"/>
                  <a:gd name="T28" fmla="*/ 2147483646 w 364"/>
                  <a:gd name="T29" fmla="*/ 2147483646 h 492"/>
                  <a:gd name="T30" fmla="*/ 2147483646 w 364"/>
                  <a:gd name="T31" fmla="*/ 2147483646 h 492"/>
                  <a:gd name="T32" fmla="*/ 2147483646 w 364"/>
                  <a:gd name="T33" fmla="*/ 2147483646 h 492"/>
                  <a:gd name="T34" fmla="*/ 2147483646 w 364"/>
                  <a:gd name="T35" fmla="*/ 2147483646 h 492"/>
                  <a:gd name="T36" fmla="*/ 2147483646 w 364"/>
                  <a:gd name="T37" fmla="*/ 2147483646 h 49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64" h="492">
                    <a:moveTo>
                      <a:pt x="182" y="0"/>
                    </a:moveTo>
                    <a:cubicBezTo>
                      <a:pt x="81" y="0"/>
                      <a:pt x="0" y="110"/>
                      <a:pt x="0" y="246"/>
                    </a:cubicBezTo>
                    <a:cubicBezTo>
                      <a:pt x="0" y="382"/>
                      <a:pt x="81" y="492"/>
                      <a:pt x="182" y="492"/>
                    </a:cubicBezTo>
                    <a:cubicBezTo>
                      <a:pt x="283" y="492"/>
                      <a:pt x="364" y="382"/>
                      <a:pt x="364" y="246"/>
                    </a:cubicBezTo>
                    <a:cubicBezTo>
                      <a:pt x="364" y="110"/>
                      <a:pt x="283" y="0"/>
                      <a:pt x="182" y="0"/>
                    </a:cubicBezTo>
                    <a:close/>
                    <a:moveTo>
                      <a:pt x="327" y="231"/>
                    </a:moveTo>
                    <a:cubicBezTo>
                      <a:pt x="193" y="227"/>
                      <a:pt x="193" y="227"/>
                      <a:pt x="193" y="227"/>
                    </a:cubicBezTo>
                    <a:cubicBezTo>
                      <a:pt x="193" y="172"/>
                      <a:pt x="193" y="172"/>
                      <a:pt x="193" y="172"/>
                    </a:cubicBezTo>
                    <a:cubicBezTo>
                      <a:pt x="205" y="164"/>
                      <a:pt x="215" y="141"/>
                      <a:pt x="215" y="115"/>
                    </a:cubicBezTo>
                    <a:cubicBezTo>
                      <a:pt x="215" y="89"/>
                      <a:pt x="205" y="66"/>
                      <a:pt x="193" y="58"/>
                    </a:cubicBezTo>
                    <a:cubicBezTo>
                      <a:pt x="193" y="41"/>
                      <a:pt x="193" y="41"/>
                      <a:pt x="193" y="41"/>
                    </a:cubicBezTo>
                    <a:cubicBezTo>
                      <a:pt x="267" y="48"/>
                      <a:pt x="323" y="121"/>
                      <a:pt x="327" y="231"/>
                    </a:cubicBezTo>
                    <a:close/>
                    <a:moveTo>
                      <a:pt x="177" y="41"/>
                    </a:moveTo>
                    <a:cubicBezTo>
                      <a:pt x="177" y="56"/>
                      <a:pt x="177" y="56"/>
                      <a:pt x="177" y="56"/>
                    </a:cubicBezTo>
                    <a:cubicBezTo>
                      <a:pt x="162" y="61"/>
                      <a:pt x="152" y="86"/>
                      <a:pt x="152" y="115"/>
                    </a:cubicBezTo>
                    <a:cubicBezTo>
                      <a:pt x="152" y="144"/>
                      <a:pt x="162" y="169"/>
                      <a:pt x="177" y="174"/>
                    </a:cubicBezTo>
                    <a:cubicBezTo>
                      <a:pt x="177" y="227"/>
                      <a:pt x="177" y="227"/>
                      <a:pt x="177" y="227"/>
                    </a:cubicBezTo>
                    <a:cubicBezTo>
                      <a:pt x="37" y="227"/>
                      <a:pt x="37" y="227"/>
                      <a:pt x="37" y="227"/>
                    </a:cubicBezTo>
                    <a:cubicBezTo>
                      <a:pt x="51" y="123"/>
                      <a:pt x="100" y="44"/>
                      <a:pt x="177" y="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298" name="Freeform 22"/>
              <p:cNvSpPr/>
              <p:nvPr/>
            </p:nvSpPr>
            <p:spPr bwMode="auto">
              <a:xfrm>
                <a:off x="8932863" y="8154988"/>
                <a:ext cx="1117600" cy="682625"/>
              </a:xfrm>
              <a:custGeom>
                <a:avLst/>
                <a:gdLst>
                  <a:gd name="T0" fmla="*/ 2147483646 w 298"/>
                  <a:gd name="T1" fmla="*/ 2147483646 h 182"/>
                  <a:gd name="T2" fmla="*/ 2147483646 w 298"/>
                  <a:gd name="T3" fmla="*/ 2147483646 h 182"/>
                  <a:gd name="T4" fmla="*/ 2147483646 w 298"/>
                  <a:gd name="T5" fmla="*/ 2147483646 h 182"/>
                  <a:gd name="T6" fmla="*/ 2147483646 w 298"/>
                  <a:gd name="T7" fmla="*/ 2147483646 h 182"/>
                  <a:gd name="T8" fmla="*/ 2147483646 w 298"/>
                  <a:gd name="T9" fmla="*/ 2147483646 h 182"/>
                  <a:gd name="T10" fmla="*/ 2147483646 w 298"/>
                  <a:gd name="T11" fmla="*/ 2147483646 h 182"/>
                  <a:gd name="T12" fmla="*/ 2147483646 w 298"/>
                  <a:gd name="T13" fmla="*/ 2147483646 h 182"/>
                  <a:gd name="T14" fmla="*/ 2147483646 w 298"/>
                  <a:gd name="T15" fmla="*/ 2147483646 h 182"/>
                  <a:gd name="T16" fmla="*/ 2147483646 w 298"/>
                  <a:gd name="T17" fmla="*/ 2147483646 h 182"/>
                  <a:gd name="T18" fmla="*/ 2147483646 w 298"/>
                  <a:gd name="T19" fmla="*/ 2147483646 h 182"/>
                  <a:gd name="T20" fmla="*/ 2147483646 w 298"/>
                  <a:gd name="T21" fmla="*/ 2147483646 h 182"/>
                  <a:gd name="T22" fmla="*/ 2147483646 w 298"/>
                  <a:gd name="T23" fmla="*/ 2147483646 h 182"/>
                  <a:gd name="T24" fmla="*/ 2147483646 w 298"/>
                  <a:gd name="T25" fmla="*/ 2147483646 h 182"/>
                  <a:gd name="T26" fmla="*/ 2147483646 w 298"/>
                  <a:gd name="T27" fmla="*/ 2147483646 h 18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98" h="182">
                    <a:moveTo>
                      <a:pt x="221" y="158"/>
                    </a:moveTo>
                    <a:cubicBezTo>
                      <a:pt x="222" y="158"/>
                      <a:pt x="223" y="157"/>
                      <a:pt x="223" y="157"/>
                    </a:cubicBezTo>
                    <a:cubicBezTo>
                      <a:pt x="255" y="142"/>
                      <a:pt x="275" y="121"/>
                      <a:pt x="284" y="94"/>
                    </a:cubicBezTo>
                    <a:cubicBezTo>
                      <a:pt x="298" y="51"/>
                      <a:pt x="277" y="10"/>
                      <a:pt x="276" y="8"/>
                    </a:cubicBezTo>
                    <a:cubicBezTo>
                      <a:pt x="273" y="2"/>
                      <a:pt x="266" y="0"/>
                      <a:pt x="261" y="3"/>
                    </a:cubicBezTo>
                    <a:cubicBezTo>
                      <a:pt x="256" y="6"/>
                      <a:pt x="253" y="13"/>
                      <a:pt x="256" y="18"/>
                    </a:cubicBezTo>
                    <a:cubicBezTo>
                      <a:pt x="257" y="19"/>
                      <a:pt x="274" y="54"/>
                      <a:pt x="263" y="87"/>
                    </a:cubicBezTo>
                    <a:cubicBezTo>
                      <a:pt x="256" y="108"/>
                      <a:pt x="239" y="125"/>
                      <a:pt x="214" y="137"/>
                    </a:cubicBezTo>
                    <a:cubicBezTo>
                      <a:pt x="172" y="157"/>
                      <a:pt x="150" y="141"/>
                      <a:pt x="122" y="121"/>
                    </a:cubicBezTo>
                    <a:cubicBezTo>
                      <a:pt x="94" y="101"/>
                      <a:pt x="62" y="78"/>
                      <a:pt x="9" y="97"/>
                    </a:cubicBezTo>
                    <a:cubicBezTo>
                      <a:pt x="3" y="99"/>
                      <a:pt x="0" y="105"/>
                      <a:pt x="2" y="111"/>
                    </a:cubicBezTo>
                    <a:cubicBezTo>
                      <a:pt x="4" y="117"/>
                      <a:pt x="11" y="120"/>
                      <a:pt x="17" y="118"/>
                    </a:cubicBezTo>
                    <a:cubicBezTo>
                      <a:pt x="59" y="103"/>
                      <a:pt x="82" y="120"/>
                      <a:pt x="109" y="139"/>
                    </a:cubicBezTo>
                    <a:cubicBezTo>
                      <a:pt x="137" y="159"/>
                      <a:pt x="169" y="182"/>
                      <a:pt x="221" y="15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" name="组合 1"/>
          <p:cNvGrpSpPr/>
          <p:nvPr/>
        </p:nvGrpSpPr>
        <p:grpSpPr bwMode="auto">
          <a:xfrm>
            <a:off x="609600" y="1025525"/>
            <a:ext cx="1076325" cy="1216025"/>
            <a:chOff x="609202" y="1025798"/>
            <a:chExt cx="1076832" cy="1215927"/>
          </a:xfrm>
        </p:grpSpPr>
        <p:sp>
          <p:nvSpPr>
            <p:cNvPr id="49" name="矩形 48"/>
            <p:cNvSpPr/>
            <p:nvPr/>
          </p:nvSpPr>
          <p:spPr>
            <a:xfrm>
              <a:off x="609202" y="1025798"/>
              <a:ext cx="1076832" cy="1215927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99852" y="1419466"/>
              <a:ext cx="714712" cy="36985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" name="组合 6"/>
          <p:cNvGrpSpPr/>
          <p:nvPr/>
        </p:nvGrpSpPr>
        <p:grpSpPr bwMode="auto">
          <a:xfrm>
            <a:off x="611188" y="2297113"/>
            <a:ext cx="1074737" cy="1216025"/>
            <a:chOff x="611560" y="2297647"/>
            <a:chExt cx="1074474" cy="1215927"/>
          </a:xfrm>
        </p:grpSpPr>
        <p:sp>
          <p:nvSpPr>
            <p:cNvPr id="50" name="矩形 49"/>
            <p:cNvSpPr/>
            <p:nvPr/>
          </p:nvSpPr>
          <p:spPr>
            <a:xfrm>
              <a:off x="611560" y="2297647"/>
              <a:ext cx="1074474" cy="1215927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898827" y="2769096"/>
              <a:ext cx="715788" cy="36827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 bwMode="auto">
          <a:xfrm>
            <a:off x="611188" y="3570288"/>
            <a:ext cx="1073150" cy="1214437"/>
            <a:chOff x="611560" y="3569495"/>
            <a:chExt cx="1072148" cy="1215927"/>
          </a:xfrm>
        </p:grpSpPr>
        <p:sp>
          <p:nvSpPr>
            <p:cNvPr id="51" name="矩形 50"/>
            <p:cNvSpPr/>
            <p:nvPr/>
          </p:nvSpPr>
          <p:spPr>
            <a:xfrm>
              <a:off x="611560" y="3569495"/>
              <a:ext cx="1072148" cy="121592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900215" y="3992288"/>
              <a:ext cx="713708" cy="37034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4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5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4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9" dur="4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4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3" dur="4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3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2" presetClass="entr" presetSubtype="2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2" presetClass="entr" presetSubtype="2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2" presetClass="entr" presetSubtype="2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90" name="组合 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82" name="矩形 81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2342" name="组合 83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2343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6" name="矩形 85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34" name="组合 33"/>
          <p:cNvGrpSpPr/>
          <p:nvPr/>
        </p:nvGrpSpPr>
        <p:grpSpPr bwMode="auto">
          <a:xfrm>
            <a:off x="1719263" y="2503488"/>
            <a:ext cx="1889125" cy="1873250"/>
            <a:chOff x="1719584" y="2503934"/>
            <a:chExt cx="1888805" cy="1872208"/>
          </a:xfrm>
        </p:grpSpPr>
        <p:sp>
          <p:nvSpPr>
            <p:cNvPr id="58" name="Rectangle 2"/>
            <p:cNvSpPr/>
            <p:nvPr/>
          </p:nvSpPr>
          <p:spPr bwMode="auto">
            <a:xfrm>
              <a:off x="1719584" y="2503934"/>
              <a:ext cx="1888805" cy="1872208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35" name="组合 36"/>
            <p:cNvGrpSpPr/>
            <p:nvPr/>
          </p:nvGrpSpPr>
          <p:grpSpPr bwMode="auto">
            <a:xfrm>
              <a:off x="1795512" y="2616443"/>
              <a:ext cx="1696368" cy="1489715"/>
              <a:chOff x="1795512" y="2616443"/>
              <a:chExt cx="1696368" cy="1489715"/>
            </a:xfrm>
          </p:grpSpPr>
          <p:sp>
            <p:nvSpPr>
              <p:cNvPr id="12336" name="矩形 63"/>
              <p:cNvSpPr>
                <a:spLocks noChangeArrowheads="1"/>
              </p:cNvSpPr>
              <p:nvPr/>
            </p:nvSpPr>
            <p:spPr bwMode="auto">
              <a:xfrm>
                <a:off x="1795512" y="3048817"/>
                <a:ext cx="1696368" cy="10573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114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拥有国内顶尖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37" name="矩形 29"/>
              <p:cNvSpPr>
                <a:spLocks noChangeArrowheads="1"/>
              </p:cNvSpPr>
              <p:nvPr/>
            </p:nvSpPr>
            <p:spPr bwMode="auto">
              <a:xfrm>
                <a:off x="2251889" y="2616443"/>
                <a:ext cx="90281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33" name="直接连接符 32"/>
              <p:cNvCxnSpPr/>
              <p:nvPr/>
            </p:nvCxnSpPr>
            <p:spPr>
              <a:xfrm>
                <a:off x="1908464" y="2984678"/>
                <a:ext cx="1471364" cy="0"/>
              </a:xfrm>
              <a:prstGeom prst="line">
                <a:avLst/>
              </a:prstGeom>
              <a:ln w="3175">
                <a:solidFill>
                  <a:srgbClr val="FFFFFF">
                    <a:alpha val="42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39" name="Freeform 51"/>
              <p:cNvSpPr>
                <a:spLocks noEditPoints="1"/>
              </p:cNvSpPr>
              <p:nvPr/>
            </p:nvSpPr>
            <p:spPr bwMode="auto">
              <a:xfrm rot="10800000" flipH="1">
                <a:off x="2095642" y="2698866"/>
                <a:ext cx="157714" cy="142929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56862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2" name="组合 31"/>
          <p:cNvGrpSpPr/>
          <p:nvPr/>
        </p:nvGrpSpPr>
        <p:grpSpPr bwMode="auto">
          <a:xfrm>
            <a:off x="3827463" y="2503488"/>
            <a:ext cx="1889125" cy="1873250"/>
            <a:chOff x="3827133" y="2503934"/>
            <a:chExt cx="1888805" cy="1872208"/>
          </a:xfrm>
        </p:grpSpPr>
        <p:sp>
          <p:nvSpPr>
            <p:cNvPr id="59" name="Rectangle 2"/>
            <p:cNvSpPr/>
            <p:nvPr/>
          </p:nvSpPr>
          <p:spPr bwMode="auto">
            <a:xfrm>
              <a:off x="3827133" y="2503934"/>
              <a:ext cx="1888805" cy="1872208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29" name="组合 89"/>
            <p:cNvGrpSpPr/>
            <p:nvPr/>
          </p:nvGrpSpPr>
          <p:grpSpPr bwMode="auto">
            <a:xfrm>
              <a:off x="3923351" y="2616443"/>
              <a:ext cx="1696368" cy="1489715"/>
              <a:chOff x="1795512" y="2616443"/>
              <a:chExt cx="1696368" cy="1489715"/>
            </a:xfrm>
          </p:grpSpPr>
          <p:sp>
            <p:nvSpPr>
              <p:cNvPr id="12330" name="矩形 90"/>
              <p:cNvSpPr>
                <a:spLocks noChangeArrowheads="1"/>
              </p:cNvSpPr>
              <p:nvPr/>
            </p:nvSpPr>
            <p:spPr bwMode="auto">
              <a:xfrm>
                <a:off x="1795512" y="3048817"/>
                <a:ext cx="1696368" cy="10573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114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拥有国内顶尖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31" name="矩形 91"/>
              <p:cNvSpPr>
                <a:spLocks noChangeArrowheads="1"/>
              </p:cNvSpPr>
              <p:nvPr/>
            </p:nvSpPr>
            <p:spPr bwMode="auto">
              <a:xfrm>
                <a:off x="2251889" y="2616443"/>
                <a:ext cx="90281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93" name="直接连接符 92"/>
              <p:cNvCxnSpPr/>
              <p:nvPr/>
            </p:nvCxnSpPr>
            <p:spPr>
              <a:xfrm>
                <a:off x="1908809" y="2984678"/>
                <a:ext cx="1469776" cy="0"/>
              </a:xfrm>
              <a:prstGeom prst="line">
                <a:avLst/>
              </a:prstGeom>
              <a:ln w="3175">
                <a:solidFill>
                  <a:srgbClr val="FFFFFF">
                    <a:alpha val="42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33" name="Freeform 51"/>
              <p:cNvSpPr>
                <a:spLocks noEditPoints="1"/>
              </p:cNvSpPr>
              <p:nvPr/>
            </p:nvSpPr>
            <p:spPr bwMode="auto">
              <a:xfrm rot="10800000" flipH="1">
                <a:off x="2095642" y="2698866"/>
                <a:ext cx="157714" cy="142929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56862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6" name="组合 15"/>
          <p:cNvGrpSpPr/>
          <p:nvPr/>
        </p:nvGrpSpPr>
        <p:grpSpPr bwMode="auto">
          <a:xfrm>
            <a:off x="5916613" y="2503488"/>
            <a:ext cx="1889125" cy="1873250"/>
            <a:chOff x="5916481" y="2503934"/>
            <a:chExt cx="1888805" cy="1872208"/>
          </a:xfrm>
        </p:grpSpPr>
        <p:sp>
          <p:nvSpPr>
            <p:cNvPr id="60" name="Rectangle 2"/>
            <p:cNvSpPr/>
            <p:nvPr/>
          </p:nvSpPr>
          <p:spPr bwMode="auto">
            <a:xfrm>
              <a:off x="5916481" y="2503934"/>
              <a:ext cx="1888805" cy="1872208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23" name="组合 94"/>
            <p:cNvGrpSpPr/>
            <p:nvPr/>
          </p:nvGrpSpPr>
          <p:grpSpPr bwMode="auto">
            <a:xfrm>
              <a:off x="5997459" y="2616443"/>
              <a:ext cx="1696368" cy="1489715"/>
              <a:chOff x="1795512" y="2616443"/>
              <a:chExt cx="1696368" cy="1489715"/>
            </a:xfrm>
          </p:grpSpPr>
          <p:sp>
            <p:nvSpPr>
              <p:cNvPr id="12324" name="矩形 95"/>
              <p:cNvSpPr>
                <a:spLocks noChangeArrowheads="1"/>
              </p:cNvSpPr>
              <p:nvPr/>
            </p:nvSpPr>
            <p:spPr bwMode="auto">
              <a:xfrm>
                <a:off x="1795512" y="3048817"/>
                <a:ext cx="1696368" cy="10573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114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拥有国内顶尖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25" name="矩形 96"/>
              <p:cNvSpPr>
                <a:spLocks noChangeArrowheads="1"/>
              </p:cNvSpPr>
              <p:nvPr/>
            </p:nvSpPr>
            <p:spPr bwMode="auto">
              <a:xfrm>
                <a:off x="2251889" y="2616443"/>
                <a:ext cx="90281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98" name="直接连接符 97"/>
              <p:cNvCxnSpPr/>
              <p:nvPr/>
            </p:nvCxnSpPr>
            <p:spPr>
              <a:xfrm>
                <a:off x="1908176" y="2984678"/>
                <a:ext cx="1471363" cy="0"/>
              </a:xfrm>
              <a:prstGeom prst="line">
                <a:avLst/>
              </a:prstGeom>
              <a:ln w="3175">
                <a:solidFill>
                  <a:srgbClr val="FFFFFF">
                    <a:alpha val="42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27" name="Freeform 51"/>
              <p:cNvSpPr>
                <a:spLocks noEditPoints="1"/>
              </p:cNvSpPr>
              <p:nvPr/>
            </p:nvSpPr>
            <p:spPr bwMode="auto">
              <a:xfrm rot="10800000" flipH="1">
                <a:off x="2095642" y="2698866"/>
                <a:ext cx="157714" cy="142929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56862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" name="组合 2"/>
          <p:cNvGrpSpPr/>
          <p:nvPr/>
        </p:nvGrpSpPr>
        <p:grpSpPr bwMode="auto">
          <a:xfrm>
            <a:off x="1719263" y="1179513"/>
            <a:ext cx="1889125" cy="1247775"/>
            <a:chOff x="1719584" y="1179215"/>
            <a:chExt cx="1888805" cy="1248519"/>
          </a:xfrm>
        </p:grpSpPr>
        <p:sp>
          <p:nvSpPr>
            <p:cNvPr id="26" name="Rectangle 2"/>
            <p:cNvSpPr/>
            <p:nvPr/>
          </p:nvSpPr>
          <p:spPr bwMode="auto">
            <a:xfrm>
              <a:off x="1719584" y="1179215"/>
              <a:ext cx="1888805" cy="124851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15" name="组合 40"/>
            <p:cNvGrpSpPr/>
            <p:nvPr/>
          </p:nvGrpSpPr>
          <p:grpSpPr bwMode="auto">
            <a:xfrm>
              <a:off x="2062931" y="1660795"/>
              <a:ext cx="327702" cy="285358"/>
              <a:chOff x="3108980" y="1413398"/>
              <a:chExt cx="516302" cy="449588"/>
            </a:xfrm>
          </p:grpSpPr>
          <p:sp>
            <p:nvSpPr>
              <p:cNvPr id="42" name="TextBox 41"/>
              <p:cNvSpPr txBox="1"/>
              <p:nvPr/>
            </p:nvSpPr>
            <p:spPr>
              <a:xfrm>
                <a:off x="3130690" y="1412955"/>
                <a:ext cx="495142" cy="44046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1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108184" y="1430474"/>
                <a:ext cx="432623" cy="432955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316" name="组合 67"/>
            <p:cNvGrpSpPr/>
            <p:nvPr/>
          </p:nvGrpSpPr>
          <p:grpSpPr bwMode="auto">
            <a:xfrm>
              <a:off x="2589141" y="1456615"/>
              <a:ext cx="677641" cy="678478"/>
              <a:chOff x="-3786188" y="-3910013"/>
              <a:chExt cx="2573338" cy="2576513"/>
            </a:xfrm>
          </p:grpSpPr>
          <p:sp>
            <p:nvSpPr>
              <p:cNvPr id="69" name="Freeform 8"/>
              <p:cNvSpPr/>
              <p:nvPr/>
            </p:nvSpPr>
            <p:spPr bwMode="auto">
              <a:xfrm>
                <a:off x="-3785254" y="-3907821"/>
                <a:ext cx="2573740" cy="2575711"/>
              </a:xfrm>
              <a:custGeom>
                <a:avLst/>
                <a:gdLst>
                  <a:gd name="T0" fmla="*/ 686 w 686"/>
                  <a:gd name="T1" fmla="*/ 624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4 h 687"/>
                  <a:gd name="T8" fmla="*/ 0 w 686"/>
                  <a:gd name="T9" fmla="*/ 62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2 h 687"/>
                  <a:gd name="T16" fmla="*/ 686 w 686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4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2"/>
                    </a:cubicBezTo>
                    <a:lnTo>
                      <a:pt x="686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18" name="Freeform 9"/>
              <p:cNvSpPr/>
              <p:nvPr/>
            </p:nvSpPr>
            <p:spPr bwMode="auto">
              <a:xfrm>
                <a:off x="-3152775" y="-3508375"/>
                <a:ext cx="1939925" cy="2174875"/>
              </a:xfrm>
              <a:custGeom>
                <a:avLst/>
                <a:gdLst>
                  <a:gd name="T0" fmla="*/ 2147483646 w 517"/>
                  <a:gd name="T1" fmla="*/ 2147483646 h 580"/>
                  <a:gd name="T2" fmla="*/ 2147483646 w 517"/>
                  <a:gd name="T3" fmla="*/ 2147483646 h 580"/>
                  <a:gd name="T4" fmla="*/ 2147483646 w 517"/>
                  <a:gd name="T5" fmla="*/ 2147483646 h 580"/>
                  <a:gd name="T6" fmla="*/ 2147483646 w 517"/>
                  <a:gd name="T7" fmla="*/ 2147483646 h 580"/>
                  <a:gd name="T8" fmla="*/ 2147483646 w 517"/>
                  <a:gd name="T9" fmla="*/ 2147483646 h 580"/>
                  <a:gd name="T10" fmla="*/ 2147483646 w 517"/>
                  <a:gd name="T11" fmla="*/ 0 h 580"/>
                  <a:gd name="T12" fmla="*/ 2147483646 w 517"/>
                  <a:gd name="T13" fmla="*/ 2147483646 h 580"/>
                  <a:gd name="T14" fmla="*/ 2147483646 w 517"/>
                  <a:gd name="T15" fmla="*/ 2147483646 h 580"/>
                  <a:gd name="T16" fmla="*/ 2147483646 w 517"/>
                  <a:gd name="T17" fmla="*/ 2147483646 h 580"/>
                  <a:gd name="T18" fmla="*/ 2147483646 w 517"/>
                  <a:gd name="T19" fmla="*/ 2147483646 h 580"/>
                  <a:gd name="T20" fmla="*/ 2147483646 w 517"/>
                  <a:gd name="T21" fmla="*/ 2147483646 h 580"/>
                  <a:gd name="T22" fmla="*/ 2147483646 w 517"/>
                  <a:gd name="T23" fmla="*/ 2147483646 h 580"/>
                  <a:gd name="T24" fmla="*/ 2147483646 w 517"/>
                  <a:gd name="T25" fmla="*/ 2147483646 h 580"/>
                  <a:gd name="T26" fmla="*/ 2147483646 w 517"/>
                  <a:gd name="T27" fmla="*/ 2147483646 h 580"/>
                  <a:gd name="T28" fmla="*/ 2147483646 w 517"/>
                  <a:gd name="T29" fmla="*/ 2147483646 h 580"/>
                  <a:gd name="T30" fmla="*/ 2147483646 w 517"/>
                  <a:gd name="T31" fmla="*/ 2147483646 h 580"/>
                  <a:gd name="T32" fmla="*/ 2147483646 w 517"/>
                  <a:gd name="T33" fmla="*/ 2147483646 h 580"/>
                  <a:gd name="T34" fmla="*/ 2147483646 w 517"/>
                  <a:gd name="T35" fmla="*/ 2147483646 h 580"/>
                  <a:gd name="T36" fmla="*/ 2147483646 w 517"/>
                  <a:gd name="T37" fmla="*/ 2147483646 h 580"/>
                  <a:gd name="T38" fmla="*/ 2147483646 w 517"/>
                  <a:gd name="T39" fmla="*/ 2147483646 h 580"/>
                  <a:gd name="T40" fmla="*/ 2147483646 w 517"/>
                  <a:gd name="T41" fmla="*/ 2147483646 h 580"/>
                  <a:gd name="T42" fmla="*/ 2147483646 w 517"/>
                  <a:gd name="T43" fmla="*/ 2147483646 h 580"/>
                  <a:gd name="T44" fmla="*/ 2147483646 w 517"/>
                  <a:gd name="T45" fmla="*/ 2147483646 h 580"/>
                  <a:gd name="T46" fmla="*/ 2147483646 w 517"/>
                  <a:gd name="T47" fmla="*/ 2147483646 h 580"/>
                  <a:gd name="T48" fmla="*/ 2147483646 w 517"/>
                  <a:gd name="T49" fmla="*/ 2147483646 h 580"/>
                  <a:gd name="T50" fmla="*/ 0 w 517"/>
                  <a:gd name="T51" fmla="*/ 2147483646 h 580"/>
                  <a:gd name="T52" fmla="*/ 2147483646 w 517"/>
                  <a:gd name="T53" fmla="*/ 2147483646 h 580"/>
                  <a:gd name="T54" fmla="*/ 2147483646 w 517"/>
                  <a:gd name="T55" fmla="*/ 2147483646 h 580"/>
                  <a:gd name="T56" fmla="*/ 2147483646 w 517"/>
                  <a:gd name="T57" fmla="*/ 2147483646 h 58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17" h="580">
                    <a:moveTo>
                      <a:pt x="517" y="517"/>
                    </a:moveTo>
                    <a:cubicBezTo>
                      <a:pt x="517" y="207"/>
                      <a:pt x="517" y="207"/>
                      <a:pt x="517" y="207"/>
                    </a:cubicBezTo>
                    <a:cubicBezTo>
                      <a:pt x="399" y="88"/>
                      <a:pt x="399" y="88"/>
                      <a:pt x="399" y="88"/>
                    </a:cubicBezTo>
                    <a:cubicBezTo>
                      <a:pt x="391" y="96"/>
                      <a:pt x="391" y="96"/>
                      <a:pt x="391" y="96"/>
                    </a:cubicBezTo>
                    <a:cubicBezTo>
                      <a:pt x="363" y="44"/>
                      <a:pt x="316" y="27"/>
                      <a:pt x="293" y="21"/>
                    </a:cubicBezTo>
                    <a:cubicBezTo>
                      <a:pt x="272" y="0"/>
                      <a:pt x="272" y="0"/>
                      <a:pt x="272" y="0"/>
                    </a:cubicBezTo>
                    <a:cubicBezTo>
                      <a:pt x="253" y="19"/>
                      <a:pt x="253" y="19"/>
                      <a:pt x="253" y="19"/>
                    </a:cubicBezTo>
                    <a:cubicBezTo>
                      <a:pt x="307" y="73"/>
                      <a:pt x="307" y="73"/>
                      <a:pt x="307" y="73"/>
                    </a:cubicBezTo>
                    <a:cubicBezTo>
                      <a:pt x="307" y="93"/>
                      <a:pt x="307" y="93"/>
                      <a:pt x="307" y="93"/>
                    </a:cubicBezTo>
                    <a:cubicBezTo>
                      <a:pt x="301" y="93"/>
                      <a:pt x="301" y="93"/>
                      <a:pt x="301" y="93"/>
                    </a:cubicBezTo>
                    <a:cubicBezTo>
                      <a:pt x="270" y="62"/>
                      <a:pt x="270" y="62"/>
                      <a:pt x="270" y="62"/>
                    </a:cubicBezTo>
                    <a:cubicBezTo>
                      <a:pt x="251" y="81"/>
                      <a:pt x="251" y="81"/>
                      <a:pt x="251" y="81"/>
                    </a:cubicBezTo>
                    <a:cubicBezTo>
                      <a:pt x="281" y="111"/>
                      <a:pt x="281" y="111"/>
                      <a:pt x="281" y="111"/>
                    </a:cubicBezTo>
                    <a:cubicBezTo>
                      <a:pt x="281" y="145"/>
                      <a:pt x="281" y="145"/>
                      <a:pt x="281" y="145"/>
                    </a:cubicBezTo>
                    <a:cubicBezTo>
                      <a:pt x="263" y="127"/>
                      <a:pt x="263" y="127"/>
                      <a:pt x="263" y="127"/>
                    </a:cubicBezTo>
                    <a:cubicBezTo>
                      <a:pt x="224" y="167"/>
                      <a:pt x="224" y="167"/>
                      <a:pt x="224" y="167"/>
                    </a:cubicBezTo>
                    <a:cubicBezTo>
                      <a:pt x="219" y="167"/>
                      <a:pt x="219" y="167"/>
                      <a:pt x="219" y="167"/>
                    </a:cubicBezTo>
                    <a:cubicBezTo>
                      <a:pt x="219" y="172"/>
                      <a:pt x="219" y="172"/>
                      <a:pt x="219" y="172"/>
                    </a:cubicBezTo>
                    <a:cubicBezTo>
                      <a:pt x="209" y="181"/>
                      <a:pt x="209" y="181"/>
                      <a:pt x="209" y="181"/>
                    </a:cubicBezTo>
                    <a:cubicBezTo>
                      <a:pt x="219" y="191"/>
                      <a:pt x="219" y="191"/>
                      <a:pt x="219" y="191"/>
                    </a:cubicBezTo>
                    <a:cubicBezTo>
                      <a:pt x="219" y="337"/>
                      <a:pt x="219" y="337"/>
                      <a:pt x="219" y="337"/>
                    </a:cubicBezTo>
                    <a:cubicBezTo>
                      <a:pt x="123" y="279"/>
                      <a:pt x="123" y="279"/>
                      <a:pt x="123" y="279"/>
                    </a:cubicBezTo>
                    <a:cubicBezTo>
                      <a:pt x="133" y="467"/>
                      <a:pt x="133" y="467"/>
                      <a:pt x="133" y="467"/>
                    </a:cubicBezTo>
                    <a:cubicBezTo>
                      <a:pt x="48" y="481"/>
                      <a:pt x="48" y="481"/>
                      <a:pt x="48" y="481"/>
                    </a:cubicBezTo>
                    <a:cubicBezTo>
                      <a:pt x="20" y="467"/>
                      <a:pt x="20" y="467"/>
                      <a:pt x="20" y="467"/>
                    </a:cubicBezTo>
                    <a:cubicBezTo>
                      <a:pt x="0" y="487"/>
                      <a:pt x="0" y="487"/>
                      <a:pt x="0" y="487"/>
                    </a:cubicBezTo>
                    <a:cubicBezTo>
                      <a:pt x="93" y="580"/>
                      <a:pt x="93" y="580"/>
                      <a:pt x="93" y="580"/>
                    </a:cubicBezTo>
                    <a:cubicBezTo>
                      <a:pt x="455" y="580"/>
                      <a:pt x="455" y="580"/>
                      <a:pt x="455" y="580"/>
                    </a:cubicBezTo>
                    <a:cubicBezTo>
                      <a:pt x="490" y="580"/>
                      <a:pt x="517" y="552"/>
                      <a:pt x="517" y="517"/>
                    </a:cubicBezTo>
                    <a:close/>
                  </a:path>
                </a:pathLst>
              </a:custGeom>
              <a:solidFill>
                <a:srgbClr val="875203">
                  <a:alpha val="3215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76" name="组合 75"/>
              <p:cNvGrpSpPr/>
              <p:nvPr/>
            </p:nvGrpSpPr>
            <p:grpSpPr>
              <a:xfrm>
                <a:off x="-3189288" y="-3508375"/>
                <a:ext cx="1563688" cy="1855788"/>
                <a:chOff x="-3189288" y="-3508375"/>
                <a:chExt cx="1563688" cy="1855788"/>
              </a:xfrm>
              <a:solidFill>
                <a:srgbClr val="FBB040"/>
              </a:solidFill>
            </p:grpSpPr>
            <p:sp>
              <p:nvSpPr>
                <p:cNvPr id="80" name="Freeform 10"/>
                <p:cNvSpPr/>
                <p:nvPr/>
              </p:nvSpPr>
              <p:spPr bwMode="auto">
                <a:xfrm>
                  <a:off x="-3189288" y="-3282950"/>
                  <a:ext cx="1335088" cy="1630363"/>
                </a:xfrm>
                <a:custGeom>
                  <a:avLst/>
                  <a:gdLst>
                    <a:gd name="T0" fmla="*/ 246 w 356"/>
                    <a:gd name="T1" fmla="*/ 389 h 435"/>
                    <a:gd name="T2" fmla="*/ 171 w 356"/>
                    <a:gd name="T3" fmla="*/ 389 h 435"/>
                    <a:gd name="T4" fmla="*/ 172 w 356"/>
                    <a:gd name="T5" fmla="*/ 385 h 435"/>
                    <a:gd name="T6" fmla="*/ 172 w 356"/>
                    <a:gd name="T7" fmla="*/ 323 h 435"/>
                    <a:gd name="T8" fmla="*/ 356 w 356"/>
                    <a:gd name="T9" fmla="*/ 272 h 435"/>
                    <a:gd name="T10" fmla="*/ 77 w 356"/>
                    <a:gd name="T11" fmla="*/ 0 h 435"/>
                    <a:gd name="T12" fmla="*/ 77 w 356"/>
                    <a:gd name="T13" fmla="*/ 272 h 435"/>
                    <a:gd name="T14" fmla="*/ 103 w 356"/>
                    <a:gd name="T15" fmla="*/ 293 h 435"/>
                    <a:gd name="T16" fmla="*/ 103 w 356"/>
                    <a:gd name="T17" fmla="*/ 385 h 435"/>
                    <a:gd name="T18" fmla="*/ 103 w 356"/>
                    <a:gd name="T19" fmla="*/ 389 h 435"/>
                    <a:gd name="T20" fmla="*/ 28 w 356"/>
                    <a:gd name="T21" fmla="*/ 389 h 435"/>
                    <a:gd name="T22" fmla="*/ 5 w 356"/>
                    <a:gd name="T23" fmla="*/ 412 h 435"/>
                    <a:gd name="T24" fmla="*/ 28 w 356"/>
                    <a:gd name="T25" fmla="*/ 435 h 435"/>
                    <a:gd name="T26" fmla="*/ 246 w 356"/>
                    <a:gd name="T27" fmla="*/ 435 h 435"/>
                    <a:gd name="T28" fmla="*/ 270 w 356"/>
                    <a:gd name="T29" fmla="*/ 412 h 435"/>
                    <a:gd name="T30" fmla="*/ 246 w 356"/>
                    <a:gd name="T31" fmla="*/ 389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56" h="435">
                      <a:moveTo>
                        <a:pt x="246" y="389"/>
                      </a:moveTo>
                      <a:cubicBezTo>
                        <a:pt x="171" y="389"/>
                        <a:pt x="171" y="389"/>
                        <a:pt x="171" y="389"/>
                      </a:cubicBezTo>
                      <a:cubicBezTo>
                        <a:pt x="171" y="387"/>
                        <a:pt x="172" y="386"/>
                        <a:pt x="172" y="385"/>
                      </a:cubicBezTo>
                      <a:cubicBezTo>
                        <a:pt x="172" y="323"/>
                        <a:pt x="172" y="323"/>
                        <a:pt x="172" y="323"/>
                      </a:cubicBezTo>
                      <a:cubicBezTo>
                        <a:pt x="236" y="338"/>
                        <a:pt x="306" y="321"/>
                        <a:pt x="356" y="272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0" y="75"/>
                        <a:pt x="0" y="197"/>
                        <a:pt x="77" y="272"/>
                      </a:cubicBezTo>
                      <a:cubicBezTo>
                        <a:pt x="85" y="280"/>
                        <a:pt x="94" y="287"/>
                        <a:pt x="103" y="293"/>
                      </a:cubicBezTo>
                      <a:cubicBezTo>
                        <a:pt x="103" y="385"/>
                        <a:pt x="103" y="385"/>
                        <a:pt x="103" y="385"/>
                      </a:cubicBezTo>
                      <a:cubicBezTo>
                        <a:pt x="103" y="386"/>
                        <a:pt x="103" y="387"/>
                        <a:pt x="103" y="389"/>
                      </a:cubicBezTo>
                      <a:cubicBezTo>
                        <a:pt x="28" y="389"/>
                        <a:pt x="28" y="389"/>
                        <a:pt x="28" y="389"/>
                      </a:cubicBezTo>
                      <a:cubicBezTo>
                        <a:pt x="15" y="389"/>
                        <a:pt x="5" y="399"/>
                        <a:pt x="5" y="412"/>
                      </a:cubicBezTo>
                      <a:cubicBezTo>
                        <a:pt x="5" y="424"/>
                        <a:pt x="15" y="435"/>
                        <a:pt x="28" y="435"/>
                      </a:cubicBezTo>
                      <a:cubicBezTo>
                        <a:pt x="246" y="435"/>
                        <a:pt x="246" y="435"/>
                        <a:pt x="246" y="435"/>
                      </a:cubicBezTo>
                      <a:cubicBezTo>
                        <a:pt x="259" y="435"/>
                        <a:pt x="270" y="424"/>
                        <a:pt x="270" y="412"/>
                      </a:cubicBezTo>
                      <a:cubicBezTo>
                        <a:pt x="270" y="399"/>
                        <a:pt x="259" y="389"/>
                        <a:pt x="246" y="38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00" name="Freeform 11"/>
                <p:cNvSpPr/>
                <p:nvPr/>
              </p:nvSpPr>
              <p:spPr bwMode="auto">
                <a:xfrm>
                  <a:off x="-2401888" y="-3062288"/>
                  <a:ext cx="317500" cy="311150"/>
                </a:xfrm>
                <a:custGeom>
                  <a:avLst/>
                  <a:gdLst>
                    <a:gd name="T0" fmla="*/ 70 w 85"/>
                    <a:gd name="T1" fmla="*/ 68 h 83"/>
                    <a:gd name="T2" fmla="*/ 15 w 85"/>
                    <a:gd name="T3" fmla="*/ 68 h 83"/>
                    <a:gd name="T4" fmla="*/ 15 w 85"/>
                    <a:gd name="T5" fmla="*/ 15 h 83"/>
                    <a:gd name="T6" fmla="*/ 70 w 85"/>
                    <a:gd name="T7" fmla="*/ 15 h 83"/>
                    <a:gd name="T8" fmla="*/ 70 w 85"/>
                    <a:gd name="T9" fmla="*/ 68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" h="83">
                      <a:moveTo>
                        <a:pt x="70" y="68"/>
                      </a:moveTo>
                      <a:cubicBezTo>
                        <a:pt x="55" y="83"/>
                        <a:pt x="31" y="83"/>
                        <a:pt x="15" y="68"/>
                      </a:cubicBezTo>
                      <a:cubicBezTo>
                        <a:pt x="0" y="53"/>
                        <a:pt x="0" y="30"/>
                        <a:pt x="15" y="15"/>
                      </a:cubicBezTo>
                      <a:cubicBezTo>
                        <a:pt x="31" y="0"/>
                        <a:pt x="55" y="0"/>
                        <a:pt x="70" y="15"/>
                      </a:cubicBezTo>
                      <a:cubicBezTo>
                        <a:pt x="85" y="30"/>
                        <a:pt x="85" y="53"/>
                        <a:pt x="70" y="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01" name="Freeform 12"/>
                <p:cNvSpPr/>
                <p:nvPr/>
              </p:nvSpPr>
              <p:spPr bwMode="auto">
                <a:xfrm>
                  <a:off x="-2222500" y="-3508375"/>
                  <a:ext cx="596900" cy="581025"/>
                </a:xfrm>
                <a:custGeom>
                  <a:avLst/>
                  <a:gdLst>
                    <a:gd name="T0" fmla="*/ 13 w 159"/>
                    <a:gd name="T1" fmla="*/ 0 h 155"/>
                    <a:gd name="T2" fmla="*/ 0 w 159"/>
                    <a:gd name="T3" fmla="*/ 13 h 155"/>
                    <a:gd name="T4" fmla="*/ 13 w 159"/>
                    <a:gd name="T5" fmla="*/ 25 h 155"/>
                    <a:gd name="T6" fmla="*/ 98 w 159"/>
                    <a:gd name="T7" fmla="*/ 60 h 155"/>
                    <a:gd name="T8" fmla="*/ 133 w 159"/>
                    <a:gd name="T9" fmla="*/ 142 h 155"/>
                    <a:gd name="T10" fmla="*/ 146 w 159"/>
                    <a:gd name="T11" fmla="*/ 155 h 155"/>
                    <a:gd name="T12" fmla="*/ 159 w 159"/>
                    <a:gd name="T13" fmla="*/ 142 h 155"/>
                    <a:gd name="T14" fmla="*/ 116 w 159"/>
                    <a:gd name="T15" fmla="*/ 42 h 155"/>
                    <a:gd name="T16" fmla="*/ 13 w 159"/>
                    <a:gd name="T17" fmla="*/ 0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9" h="155">
                      <a:moveTo>
                        <a:pt x="13" y="0"/>
                      </a:move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20"/>
                        <a:pt x="6" y="25"/>
                        <a:pt x="13" y="25"/>
                      </a:cubicBezTo>
                      <a:cubicBezTo>
                        <a:pt x="45" y="25"/>
                        <a:pt x="75" y="37"/>
                        <a:pt x="98" y="60"/>
                      </a:cubicBezTo>
                      <a:cubicBezTo>
                        <a:pt x="121" y="82"/>
                        <a:pt x="133" y="111"/>
                        <a:pt x="133" y="142"/>
                      </a:cubicBezTo>
                      <a:cubicBezTo>
                        <a:pt x="133" y="149"/>
                        <a:pt x="139" y="155"/>
                        <a:pt x="146" y="155"/>
                      </a:cubicBezTo>
                      <a:cubicBezTo>
                        <a:pt x="153" y="155"/>
                        <a:pt x="159" y="149"/>
                        <a:pt x="159" y="142"/>
                      </a:cubicBezTo>
                      <a:cubicBezTo>
                        <a:pt x="159" y="104"/>
                        <a:pt x="144" y="69"/>
                        <a:pt x="116" y="42"/>
                      </a:cubicBezTo>
                      <a:cubicBezTo>
                        <a:pt x="89" y="15"/>
                        <a:pt x="52" y="0"/>
                        <a:pt x="1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02" name="Freeform 13"/>
                <p:cNvSpPr/>
                <p:nvPr/>
              </p:nvSpPr>
              <p:spPr bwMode="auto">
                <a:xfrm>
                  <a:off x="-2222500" y="-3271838"/>
                  <a:ext cx="352425" cy="344488"/>
                </a:xfrm>
                <a:custGeom>
                  <a:avLst/>
                  <a:gdLst>
                    <a:gd name="T0" fmla="*/ 13 w 94"/>
                    <a:gd name="T1" fmla="*/ 0 h 92"/>
                    <a:gd name="T2" fmla="*/ 0 w 94"/>
                    <a:gd name="T3" fmla="*/ 12 h 92"/>
                    <a:gd name="T4" fmla="*/ 13 w 94"/>
                    <a:gd name="T5" fmla="*/ 25 h 92"/>
                    <a:gd name="T6" fmla="*/ 69 w 94"/>
                    <a:gd name="T7" fmla="*/ 79 h 92"/>
                    <a:gd name="T8" fmla="*/ 82 w 94"/>
                    <a:gd name="T9" fmla="*/ 92 h 92"/>
                    <a:gd name="T10" fmla="*/ 94 w 94"/>
                    <a:gd name="T11" fmla="*/ 79 h 92"/>
                    <a:gd name="T12" fmla="*/ 13 w 94"/>
                    <a:gd name="T13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4" h="92">
                      <a:moveTo>
                        <a:pt x="13" y="0"/>
                      </a:moveTo>
                      <a:cubicBezTo>
                        <a:pt x="6" y="0"/>
                        <a:pt x="0" y="6"/>
                        <a:pt x="0" y="12"/>
                      </a:cubicBezTo>
                      <a:cubicBezTo>
                        <a:pt x="0" y="19"/>
                        <a:pt x="6" y="25"/>
                        <a:pt x="13" y="25"/>
                      </a:cubicBezTo>
                      <a:cubicBezTo>
                        <a:pt x="44" y="25"/>
                        <a:pt x="69" y="49"/>
                        <a:pt x="69" y="79"/>
                      </a:cubicBezTo>
                      <a:cubicBezTo>
                        <a:pt x="69" y="86"/>
                        <a:pt x="75" y="92"/>
                        <a:pt x="82" y="92"/>
                      </a:cubicBezTo>
                      <a:cubicBezTo>
                        <a:pt x="89" y="92"/>
                        <a:pt x="94" y="86"/>
                        <a:pt x="94" y="79"/>
                      </a:cubicBezTo>
                      <a:cubicBezTo>
                        <a:pt x="94" y="36"/>
                        <a:pt x="58" y="0"/>
                        <a:pt x="1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grpSp>
        <p:nvGrpSpPr>
          <p:cNvPr id="5" name="组合 4"/>
          <p:cNvGrpSpPr/>
          <p:nvPr/>
        </p:nvGrpSpPr>
        <p:grpSpPr bwMode="auto">
          <a:xfrm>
            <a:off x="5916613" y="1179513"/>
            <a:ext cx="1889125" cy="1247775"/>
            <a:chOff x="5916481" y="1179215"/>
            <a:chExt cx="1888805" cy="1248519"/>
          </a:xfrm>
        </p:grpSpPr>
        <p:sp>
          <p:nvSpPr>
            <p:cNvPr id="36" name="Rectangle 2"/>
            <p:cNvSpPr/>
            <p:nvPr/>
          </p:nvSpPr>
          <p:spPr bwMode="auto">
            <a:xfrm>
              <a:off x="5916481" y="1179215"/>
              <a:ext cx="1888805" cy="124851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06" name="组合 76"/>
            <p:cNvGrpSpPr/>
            <p:nvPr/>
          </p:nvGrpSpPr>
          <p:grpSpPr bwMode="auto">
            <a:xfrm>
              <a:off x="6202157" y="1634197"/>
              <a:ext cx="327703" cy="338554"/>
              <a:chOff x="3108980" y="1413397"/>
              <a:chExt cx="516304" cy="533399"/>
            </a:xfrm>
          </p:grpSpPr>
          <p:sp>
            <p:nvSpPr>
              <p:cNvPr id="78" name="TextBox 77"/>
              <p:cNvSpPr txBox="1"/>
              <p:nvPr/>
            </p:nvSpPr>
            <p:spPr>
              <a:xfrm>
                <a:off x="3131527" y="1412316"/>
                <a:ext cx="492642" cy="53556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3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79" name="椭圆 78"/>
              <p:cNvSpPr/>
              <p:nvPr/>
            </p:nvSpPr>
            <p:spPr>
              <a:xfrm>
                <a:off x="3109021" y="1429833"/>
                <a:ext cx="430123" cy="432956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307" name="组合 102"/>
            <p:cNvGrpSpPr/>
            <p:nvPr/>
          </p:nvGrpSpPr>
          <p:grpSpPr bwMode="auto">
            <a:xfrm>
              <a:off x="6804285" y="1456615"/>
              <a:ext cx="677641" cy="678478"/>
              <a:chOff x="-3786188" y="6478587"/>
              <a:chExt cx="2573338" cy="2576513"/>
            </a:xfrm>
          </p:grpSpPr>
          <p:sp>
            <p:nvSpPr>
              <p:cNvPr id="104" name="Freeform 14"/>
              <p:cNvSpPr/>
              <p:nvPr/>
            </p:nvSpPr>
            <p:spPr bwMode="auto">
              <a:xfrm>
                <a:off x="-3788246" y="6480779"/>
                <a:ext cx="2573744" cy="2575711"/>
              </a:xfrm>
              <a:custGeom>
                <a:avLst/>
                <a:gdLst>
                  <a:gd name="T0" fmla="*/ 686 w 686"/>
                  <a:gd name="T1" fmla="*/ 625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5 h 687"/>
                  <a:gd name="T8" fmla="*/ 0 w 686"/>
                  <a:gd name="T9" fmla="*/ 62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2 h 687"/>
                  <a:gd name="T16" fmla="*/ 686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5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2"/>
                    </a:cubicBezTo>
                    <a:lnTo>
                      <a:pt x="686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09" name="Freeform 15"/>
              <p:cNvSpPr/>
              <p:nvPr/>
            </p:nvSpPr>
            <p:spPr bwMode="auto">
              <a:xfrm>
                <a:off x="-3216275" y="7123112"/>
                <a:ext cx="2003425" cy="1931988"/>
              </a:xfrm>
              <a:custGeom>
                <a:avLst/>
                <a:gdLst>
                  <a:gd name="T0" fmla="*/ 2147483646 w 534"/>
                  <a:gd name="T1" fmla="*/ 2147483646 h 515"/>
                  <a:gd name="T2" fmla="*/ 2147483646 w 534"/>
                  <a:gd name="T3" fmla="*/ 2147483646 h 515"/>
                  <a:gd name="T4" fmla="*/ 2147483646 w 534"/>
                  <a:gd name="T5" fmla="*/ 0 h 515"/>
                  <a:gd name="T6" fmla="*/ 2147483646 w 534"/>
                  <a:gd name="T7" fmla="*/ 2147483646 h 515"/>
                  <a:gd name="T8" fmla="*/ 0 w 534"/>
                  <a:gd name="T9" fmla="*/ 2147483646 h 515"/>
                  <a:gd name="T10" fmla="*/ 2147483646 w 534"/>
                  <a:gd name="T11" fmla="*/ 2147483646 h 515"/>
                  <a:gd name="T12" fmla="*/ 2147483646 w 534"/>
                  <a:gd name="T13" fmla="*/ 2147483646 h 515"/>
                  <a:gd name="T14" fmla="*/ 2147483646 w 534"/>
                  <a:gd name="T15" fmla="*/ 2147483646 h 515"/>
                  <a:gd name="T16" fmla="*/ 2147483646 w 534"/>
                  <a:gd name="T17" fmla="*/ 2147483646 h 5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34" h="515">
                    <a:moveTo>
                      <a:pt x="534" y="154"/>
                    </a:moveTo>
                    <a:cubicBezTo>
                      <a:pt x="429" y="48"/>
                      <a:pt x="429" y="48"/>
                      <a:pt x="429" y="48"/>
                    </a:cubicBezTo>
                    <a:cubicBezTo>
                      <a:pt x="296" y="0"/>
                      <a:pt x="296" y="0"/>
                      <a:pt x="296" y="0"/>
                    </a:cubicBezTo>
                    <a:cubicBezTo>
                      <a:pt x="296" y="0"/>
                      <a:pt x="225" y="97"/>
                      <a:pt x="114" y="149"/>
                    </a:cubicBezTo>
                    <a:cubicBezTo>
                      <a:pt x="3" y="200"/>
                      <a:pt x="0" y="303"/>
                      <a:pt x="0" y="303"/>
                    </a:cubicBezTo>
                    <a:cubicBezTo>
                      <a:pt x="213" y="515"/>
                      <a:pt x="213" y="515"/>
                      <a:pt x="213" y="515"/>
                    </a:cubicBezTo>
                    <a:cubicBezTo>
                      <a:pt x="472" y="515"/>
                      <a:pt x="472" y="515"/>
                      <a:pt x="472" y="515"/>
                    </a:cubicBezTo>
                    <a:cubicBezTo>
                      <a:pt x="507" y="515"/>
                      <a:pt x="534" y="487"/>
                      <a:pt x="534" y="453"/>
                    </a:cubicBezTo>
                    <a:lnTo>
                      <a:pt x="534" y="154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310" name="Freeform 16"/>
              <p:cNvSpPr/>
              <p:nvPr/>
            </p:nvSpPr>
            <p:spPr bwMode="auto">
              <a:xfrm>
                <a:off x="-3508375" y="7805737"/>
                <a:ext cx="7938" cy="19050"/>
              </a:xfrm>
              <a:custGeom>
                <a:avLst/>
                <a:gdLst>
                  <a:gd name="T0" fmla="*/ 2147483646 w 2"/>
                  <a:gd name="T1" fmla="*/ 2147483646 h 5"/>
                  <a:gd name="T2" fmla="*/ 0 w 2"/>
                  <a:gd name="T3" fmla="*/ 0 h 5"/>
                  <a:gd name="T4" fmla="*/ 2147483646 w 2"/>
                  <a:gd name="T5" fmla="*/ 2147483646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cubicBezTo>
                      <a:pt x="0" y="2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311" name="Freeform 17"/>
              <p:cNvSpPr>
                <a:spLocks noEditPoints="1"/>
              </p:cNvSpPr>
              <p:nvPr/>
            </p:nvSpPr>
            <p:spPr bwMode="auto">
              <a:xfrm>
                <a:off x="-3500438" y="6988175"/>
                <a:ext cx="1916113" cy="1673225"/>
              </a:xfrm>
              <a:custGeom>
                <a:avLst/>
                <a:gdLst>
                  <a:gd name="T0" fmla="*/ 2147483646 w 511"/>
                  <a:gd name="T1" fmla="*/ 2147483646 h 446"/>
                  <a:gd name="T2" fmla="*/ 2147483646 w 511"/>
                  <a:gd name="T3" fmla="*/ 2147483646 h 446"/>
                  <a:gd name="T4" fmla="*/ 2147483646 w 511"/>
                  <a:gd name="T5" fmla="*/ 0 h 446"/>
                  <a:gd name="T6" fmla="*/ 2147483646 w 511"/>
                  <a:gd name="T7" fmla="*/ 2147483646 h 446"/>
                  <a:gd name="T8" fmla="*/ 2147483646 w 511"/>
                  <a:gd name="T9" fmla="*/ 2147483646 h 446"/>
                  <a:gd name="T10" fmla="*/ 2147483646 w 511"/>
                  <a:gd name="T11" fmla="*/ 2147483646 h 446"/>
                  <a:gd name="T12" fmla="*/ 2147483646 w 511"/>
                  <a:gd name="T13" fmla="*/ 2147483646 h 446"/>
                  <a:gd name="T14" fmla="*/ 2147483646 w 511"/>
                  <a:gd name="T15" fmla="*/ 2147483646 h 446"/>
                  <a:gd name="T16" fmla="*/ 0 w 511"/>
                  <a:gd name="T17" fmla="*/ 2147483646 h 446"/>
                  <a:gd name="T18" fmla="*/ 2147483646 w 511"/>
                  <a:gd name="T19" fmla="*/ 2147483646 h 446"/>
                  <a:gd name="T20" fmla="*/ 2147483646 w 511"/>
                  <a:gd name="T21" fmla="*/ 2147483646 h 446"/>
                  <a:gd name="T22" fmla="*/ 2147483646 w 511"/>
                  <a:gd name="T23" fmla="*/ 2147483646 h 446"/>
                  <a:gd name="T24" fmla="*/ 2147483646 w 511"/>
                  <a:gd name="T25" fmla="*/ 2147483646 h 446"/>
                  <a:gd name="T26" fmla="*/ 2147483646 w 511"/>
                  <a:gd name="T27" fmla="*/ 2147483646 h 446"/>
                  <a:gd name="T28" fmla="*/ 2147483646 w 511"/>
                  <a:gd name="T29" fmla="*/ 2147483646 h 446"/>
                  <a:gd name="T30" fmla="*/ 2147483646 w 511"/>
                  <a:gd name="T31" fmla="*/ 2147483646 h 446"/>
                  <a:gd name="T32" fmla="*/ 2147483646 w 511"/>
                  <a:gd name="T33" fmla="*/ 2147483646 h 446"/>
                  <a:gd name="T34" fmla="*/ 2147483646 w 511"/>
                  <a:gd name="T35" fmla="*/ 2147483646 h 446"/>
                  <a:gd name="T36" fmla="*/ 2147483646 w 511"/>
                  <a:gd name="T37" fmla="*/ 2147483646 h 446"/>
                  <a:gd name="T38" fmla="*/ 2147483646 w 511"/>
                  <a:gd name="T39" fmla="*/ 2147483646 h 446"/>
                  <a:gd name="T40" fmla="*/ 2147483646 w 511"/>
                  <a:gd name="T41" fmla="*/ 2147483646 h 446"/>
                  <a:gd name="T42" fmla="*/ 2147483646 w 511"/>
                  <a:gd name="T43" fmla="*/ 2147483646 h 446"/>
                  <a:gd name="T44" fmla="*/ 2147483646 w 511"/>
                  <a:gd name="T45" fmla="*/ 2147483646 h 446"/>
                  <a:gd name="T46" fmla="*/ 2147483646 w 511"/>
                  <a:gd name="T47" fmla="*/ 2147483646 h 446"/>
                  <a:gd name="T48" fmla="*/ 2147483646 w 511"/>
                  <a:gd name="T49" fmla="*/ 2147483646 h 446"/>
                  <a:gd name="T50" fmla="*/ 2147483646 w 511"/>
                  <a:gd name="T51" fmla="*/ 2147483646 h 446"/>
                  <a:gd name="T52" fmla="*/ 2147483646 w 511"/>
                  <a:gd name="T53" fmla="*/ 2147483646 h 446"/>
                  <a:gd name="T54" fmla="*/ 2147483646 w 511"/>
                  <a:gd name="T55" fmla="*/ 2147483646 h 446"/>
                  <a:gd name="T56" fmla="*/ 2147483646 w 511"/>
                  <a:gd name="T57" fmla="*/ 2147483646 h 446"/>
                  <a:gd name="T58" fmla="*/ 2147483646 w 511"/>
                  <a:gd name="T59" fmla="*/ 2147483646 h 446"/>
                  <a:gd name="T60" fmla="*/ 2147483646 w 511"/>
                  <a:gd name="T61" fmla="*/ 2147483646 h 446"/>
                  <a:gd name="T62" fmla="*/ 2147483646 w 511"/>
                  <a:gd name="T63" fmla="*/ 2147483646 h 446"/>
                  <a:gd name="T64" fmla="*/ 2147483646 w 511"/>
                  <a:gd name="T65" fmla="*/ 2147483646 h 446"/>
                  <a:gd name="T66" fmla="*/ 2147483646 w 511"/>
                  <a:gd name="T67" fmla="*/ 2147483646 h 446"/>
                  <a:gd name="T68" fmla="*/ 2147483646 w 511"/>
                  <a:gd name="T69" fmla="*/ 2147483646 h 446"/>
                  <a:gd name="T70" fmla="*/ 2147483646 w 511"/>
                  <a:gd name="T71" fmla="*/ 2147483646 h 446"/>
                  <a:gd name="T72" fmla="*/ 2147483646 w 511"/>
                  <a:gd name="T73" fmla="*/ 2147483646 h 446"/>
                  <a:gd name="T74" fmla="*/ 2147483646 w 511"/>
                  <a:gd name="T75" fmla="*/ 2147483646 h 446"/>
                  <a:gd name="T76" fmla="*/ 2147483646 w 511"/>
                  <a:gd name="T77" fmla="*/ 2147483646 h 446"/>
                  <a:gd name="T78" fmla="*/ 2147483646 w 511"/>
                  <a:gd name="T79" fmla="*/ 2147483646 h 44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511" h="446">
                    <a:moveTo>
                      <a:pt x="475" y="72"/>
                    </a:moveTo>
                    <a:cubicBezTo>
                      <a:pt x="460" y="65"/>
                      <a:pt x="460" y="65"/>
                      <a:pt x="460" y="65"/>
                    </a:cubicBezTo>
                    <a:cubicBezTo>
                      <a:pt x="447" y="27"/>
                      <a:pt x="411" y="0"/>
                      <a:pt x="369" y="0"/>
                    </a:cubicBezTo>
                    <a:cubicBezTo>
                      <a:pt x="316" y="0"/>
                      <a:pt x="273" y="43"/>
                      <a:pt x="273" y="96"/>
                    </a:cubicBezTo>
                    <a:cubicBezTo>
                      <a:pt x="273" y="98"/>
                      <a:pt x="273" y="100"/>
                      <a:pt x="273" y="102"/>
                    </a:cubicBezTo>
                    <a:cubicBezTo>
                      <a:pt x="271" y="101"/>
                      <a:pt x="271" y="101"/>
                      <a:pt x="271" y="101"/>
                    </a:cubicBezTo>
                    <a:cubicBezTo>
                      <a:pt x="271" y="101"/>
                      <a:pt x="190" y="248"/>
                      <a:pt x="50" y="175"/>
                    </a:cubicBezTo>
                    <a:cubicBezTo>
                      <a:pt x="79" y="236"/>
                      <a:pt x="79" y="236"/>
                      <a:pt x="79" y="236"/>
                    </a:cubicBezTo>
                    <a:cubicBezTo>
                      <a:pt x="79" y="236"/>
                      <a:pt x="16" y="258"/>
                      <a:pt x="0" y="223"/>
                    </a:cubicBezTo>
                    <a:cubicBezTo>
                      <a:pt x="11" y="253"/>
                      <a:pt x="75" y="401"/>
                      <a:pt x="222" y="407"/>
                    </a:cubicBezTo>
                    <a:cubicBezTo>
                      <a:pt x="201" y="418"/>
                      <a:pt x="201" y="418"/>
                      <a:pt x="201" y="418"/>
                    </a:cubicBezTo>
                    <a:cubicBezTo>
                      <a:pt x="193" y="421"/>
                      <a:pt x="190" y="430"/>
                      <a:pt x="194" y="438"/>
                    </a:cubicBezTo>
                    <a:cubicBezTo>
                      <a:pt x="196" y="443"/>
                      <a:pt x="202" y="446"/>
                      <a:pt x="207" y="446"/>
                    </a:cubicBezTo>
                    <a:cubicBezTo>
                      <a:pt x="210" y="446"/>
                      <a:pt x="212" y="446"/>
                      <a:pt x="214" y="445"/>
                    </a:cubicBezTo>
                    <a:cubicBezTo>
                      <a:pt x="266" y="420"/>
                      <a:pt x="266" y="420"/>
                      <a:pt x="266" y="420"/>
                    </a:cubicBezTo>
                    <a:cubicBezTo>
                      <a:pt x="327" y="436"/>
                      <a:pt x="327" y="436"/>
                      <a:pt x="327" y="436"/>
                    </a:cubicBezTo>
                    <a:cubicBezTo>
                      <a:pt x="328" y="437"/>
                      <a:pt x="329" y="437"/>
                      <a:pt x="331" y="437"/>
                    </a:cubicBezTo>
                    <a:cubicBezTo>
                      <a:pt x="337" y="437"/>
                      <a:pt x="343" y="432"/>
                      <a:pt x="345" y="426"/>
                    </a:cubicBezTo>
                    <a:cubicBezTo>
                      <a:pt x="347" y="418"/>
                      <a:pt x="342" y="409"/>
                      <a:pt x="334" y="407"/>
                    </a:cubicBezTo>
                    <a:cubicBezTo>
                      <a:pt x="300" y="398"/>
                      <a:pt x="300" y="398"/>
                      <a:pt x="300" y="398"/>
                    </a:cubicBezTo>
                    <a:cubicBezTo>
                      <a:pt x="440" y="360"/>
                      <a:pt x="426" y="241"/>
                      <a:pt x="410" y="182"/>
                    </a:cubicBezTo>
                    <a:cubicBezTo>
                      <a:pt x="434" y="171"/>
                      <a:pt x="453" y="150"/>
                      <a:pt x="461" y="124"/>
                    </a:cubicBezTo>
                    <a:cubicBezTo>
                      <a:pt x="479" y="111"/>
                      <a:pt x="479" y="111"/>
                      <a:pt x="479" y="111"/>
                    </a:cubicBezTo>
                    <a:cubicBezTo>
                      <a:pt x="511" y="88"/>
                      <a:pt x="511" y="88"/>
                      <a:pt x="511" y="88"/>
                    </a:cubicBezTo>
                    <a:lnTo>
                      <a:pt x="475" y="72"/>
                    </a:lnTo>
                    <a:close/>
                    <a:moveTo>
                      <a:pt x="323" y="214"/>
                    </a:moveTo>
                    <a:cubicBezTo>
                      <a:pt x="322" y="215"/>
                      <a:pt x="320" y="217"/>
                      <a:pt x="319" y="219"/>
                    </a:cubicBezTo>
                    <a:cubicBezTo>
                      <a:pt x="284" y="276"/>
                      <a:pt x="241" y="305"/>
                      <a:pt x="193" y="305"/>
                    </a:cubicBezTo>
                    <a:cubicBezTo>
                      <a:pt x="173" y="305"/>
                      <a:pt x="152" y="300"/>
                      <a:pt x="129" y="290"/>
                    </a:cubicBezTo>
                    <a:cubicBezTo>
                      <a:pt x="123" y="287"/>
                      <a:pt x="120" y="279"/>
                      <a:pt x="123" y="273"/>
                    </a:cubicBezTo>
                    <a:cubicBezTo>
                      <a:pt x="126" y="266"/>
                      <a:pt x="133" y="263"/>
                      <a:pt x="140" y="266"/>
                    </a:cubicBezTo>
                    <a:cubicBezTo>
                      <a:pt x="224" y="303"/>
                      <a:pt x="270" y="249"/>
                      <a:pt x="297" y="205"/>
                    </a:cubicBezTo>
                    <a:cubicBezTo>
                      <a:pt x="300" y="201"/>
                      <a:pt x="302" y="198"/>
                      <a:pt x="303" y="196"/>
                    </a:cubicBezTo>
                    <a:cubicBezTo>
                      <a:pt x="309" y="191"/>
                      <a:pt x="317" y="191"/>
                      <a:pt x="322" y="196"/>
                    </a:cubicBezTo>
                    <a:cubicBezTo>
                      <a:pt x="327" y="201"/>
                      <a:pt x="327" y="209"/>
                      <a:pt x="323" y="214"/>
                    </a:cubicBezTo>
                    <a:close/>
                    <a:moveTo>
                      <a:pt x="406" y="90"/>
                    </a:moveTo>
                    <a:cubicBezTo>
                      <a:pt x="396" y="90"/>
                      <a:pt x="388" y="82"/>
                      <a:pt x="388" y="72"/>
                    </a:cubicBezTo>
                    <a:cubicBezTo>
                      <a:pt x="388" y="63"/>
                      <a:pt x="396" y="55"/>
                      <a:pt x="406" y="55"/>
                    </a:cubicBezTo>
                    <a:cubicBezTo>
                      <a:pt x="415" y="55"/>
                      <a:pt x="423" y="63"/>
                      <a:pt x="423" y="72"/>
                    </a:cubicBezTo>
                    <a:cubicBezTo>
                      <a:pt x="423" y="82"/>
                      <a:pt x="415" y="90"/>
                      <a:pt x="406" y="9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" name="组合 3"/>
          <p:cNvGrpSpPr/>
          <p:nvPr/>
        </p:nvGrpSpPr>
        <p:grpSpPr bwMode="auto">
          <a:xfrm>
            <a:off x="3827463" y="1179513"/>
            <a:ext cx="1889125" cy="1247775"/>
            <a:chOff x="3828249" y="1179215"/>
            <a:chExt cx="1888805" cy="1248519"/>
          </a:xfrm>
        </p:grpSpPr>
        <p:sp>
          <p:nvSpPr>
            <p:cNvPr id="31" name="Rectangle 2"/>
            <p:cNvSpPr/>
            <p:nvPr/>
          </p:nvSpPr>
          <p:spPr bwMode="auto">
            <a:xfrm>
              <a:off x="3828249" y="1179215"/>
              <a:ext cx="1888805" cy="1248519"/>
            </a:xfrm>
            <a:prstGeom prst="rect">
              <a:avLst/>
            </a:prstGeom>
            <a:solidFill>
              <a:srgbClr val="8CC63F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298" name="组合 44"/>
            <p:cNvGrpSpPr/>
            <p:nvPr/>
          </p:nvGrpSpPr>
          <p:grpSpPr bwMode="auto">
            <a:xfrm>
              <a:off x="4164954" y="1634197"/>
              <a:ext cx="327703" cy="338554"/>
              <a:chOff x="3108980" y="1413397"/>
              <a:chExt cx="516304" cy="533399"/>
            </a:xfrm>
          </p:grpSpPr>
          <p:sp>
            <p:nvSpPr>
              <p:cNvPr id="46" name="TextBox 45"/>
              <p:cNvSpPr txBox="1"/>
              <p:nvPr/>
            </p:nvSpPr>
            <p:spPr>
              <a:xfrm>
                <a:off x="3131152" y="1412316"/>
                <a:ext cx="495142" cy="53556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2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47" name="椭圆 46"/>
              <p:cNvSpPr/>
              <p:nvPr/>
            </p:nvSpPr>
            <p:spPr>
              <a:xfrm>
                <a:off x="3108646" y="1429833"/>
                <a:ext cx="432623" cy="432956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299" name="组合 107"/>
            <p:cNvGrpSpPr/>
            <p:nvPr/>
          </p:nvGrpSpPr>
          <p:grpSpPr bwMode="auto">
            <a:xfrm>
              <a:off x="4698574" y="1456615"/>
              <a:ext cx="678477" cy="678478"/>
              <a:chOff x="10358437" y="-447675"/>
              <a:chExt cx="2576513" cy="2576513"/>
            </a:xfrm>
          </p:grpSpPr>
          <p:sp>
            <p:nvSpPr>
              <p:cNvPr id="109" name="Freeform 19"/>
              <p:cNvSpPr/>
              <p:nvPr/>
            </p:nvSpPr>
            <p:spPr bwMode="auto">
              <a:xfrm>
                <a:off x="10356455" y="-445483"/>
                <a:ext cx="2579771" cy="2575711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01" name="Freeform 20"/>
              <p:cNvSpPr/>
              <p:nvPr/>
            </p:nvSpPr>
            <p:spPr bwMode="auto">
              <a:xfrm>
                <a:off x="10682287" y="-50800"/>
                <a:ext cx="2252663" cy="2179638"/>
              </a:xfrm>
              <a:custGeom>
                <a:avLst/>
                <a:gdLst>
                  <a:gd name="T0" fmla="*/ 2147483646 w 601"/>
                  <a:gd name="T1" fmla="*/ 2147483646 h 581"/>
                  <a:gd name="T2" fmla="*/ 2147483646 w 601"/>
                  <a:gd name="T3" fmla="*/ 2147483646 h 581"/>
                  <a:gd name="T4" fmla="*/ 2147483646 w 601"/>
                  <a:gd name="T5" fmla="*/ 2147483646 h 581"/>
                  <a:gd name="T6" fmla="*/ 2147483646 w 601"/>
                  <a:gd name="T7" fmla="*/ 2147483646 h 581"/>
                  <a:gd name="T8" fmla="*/ 2147483646 w 601"/>
                  <a:gd name="T9" fmla="*/ 2147483646 h 581"/>
                  <a:gd name="T10" fmla="*/ 2147483646 w 601"/>
                  <a:gd name="T11" fmla="*/ 2147483646 h 581"/>
                  <a:gd name="T12" fmla="*/ 2147483646 w 601"/>
                  <a:gd name="T13" fmla="*/ 2147483646 h 581"/>
                  <a:gd name="T14" fmla="*/ 2147483646 w 601"/>
                  <a:gd name="T15" fmla="*/ 2147483646 h 581"/>
                  <a:gd name="T16" fmla="*/ 2147483646 w 601"/>
                  <a:gd name="T17" fmla="*/ 2147483646 h 58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01" h="581">
                    <a:moveTo>
                      <a:pt x="601" y="263"/>
                    </a:moveTo>
                    <a:cubicBezTo>
                      <a:pt x="386" y="47"/>
                      <a:pt x="386" y="47"/>
                      <a:pt x="386" y="47"/>
                    </a:cubicBezTo>
                    <a:cubicBezTo>
                      <a:pt x="254" y="11"/>
                      <a:pt x="254" y="11"/>
                      <a:pt x="254" y="11"/>
                    </a:cubicBezTo>
                    <a:cubicBezTo>
                      <a:pt x="254" y="11"/>
                      <a:pt x="160" y="0"/>
                      <a:pt x="80" y="75"/>
                    </a:cubicBezTo>
                    <a:cubicBezTo>
                      <a:pt x="0" y="151"/>
                      <a:pt x="75" y="342"/>
                      <a:pt x="75" y="342"/>
                    </a:cubicBezTo>
                    <a:cubicBezTo>
                      <a:pt x="314" y="581"/>
                      <a:pt x="314" y="581"/>
                      <a:pt x="314" y="581"/>
                    </a:cubicBezTo>
                    <a:cubicBezTo>
                      <a:pt x="539" y="581"/>
                      <a:pt x="539" y="581"/>
                      <a:pt x="539" y="581"/>
                    </a:cubicBezTo>
                    <a:cubicBezTo>
                      <a:pt x="573" y="581"/>
                      <a:pt x="601" y="553"/>
                      <a:pt x="601" y="519"/>
                    </a:cubicBezTo>
                    <a:lnTo>
                      <a:pt x="601" y="263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11" name="组合 110"/>
              <p:cNvGrpSpPr/>
              <p:nvPr/>
            </p:nvGrpSpPr>
            <p:grpSpPr>
              <a:xfrm>
                <a:off x="10752137" y="-95250"/>
                <a:ext cx="1846263" cy="1758950"/>
                <a:chOff x="10752137" y="-95250"/>
                <a:chExt cx="1846263" cy="1758950"/>
              </a:xfrm>
              <a:solidFill>
                <a:srgbClr val="8CC63F"/>
              </a:solidFill>
            </p:grpSpPr>
            <p:sp>
              <p:nvSpPr>
                <p:cNvPr id="112" name="Freeform 21"/>
                <p:cNvSpPr>
                  <a:spLocks noEditPoints="1"/>
                </p:cNvSpPr>
                <p:nvPr/>
              </p:nvSpPr>
              <p:spPr bwMode="auto">
                <a:xfrm>
                  <a:off x="10752137" y="-95250"/>
                  <a:ext cx="1639888" cy="1635125"/>
                </a:xfrm>
                <a:custGeom>
                  <a:avLst/>
                  <a:gdLst>
                    <a:gd name="T0" fmla="*/ 218 w 437"/>
                    <a:gd name="T1" fmla="*/ 0 h 436"/>
                    <a:gd name="T2" fmla="*/ 0 w 437"/>
                    <a:gd name="T3" fmla="*/ 218 h 436"/>
                    <a:gd name="T4" fmla="*/ 218 w 437"/>
                    <a:gd name="T5" fmla="*/ 436 h 436"/>
                    <a:gd name="T6" fmla="*/ 437 w 437"/>
                    <a:gd name="T7" fmla="*/ 218 h 436"/>
                    <a:gd name="T8" fmla="*/ 218 w 437"/>
                    <a:gd name="T9" fmla="*/ 0 h 436"/>
                    <a:gd name="T10" fmla="*/ 218 w 437"/>
                    <a:gd name="T11" fmla="*/ 397 h 436"/>
                    <a:gd name="T12" fmla="*/ 39 w 437"/>
                    <a:gd name="T13" fmla="*/ 218 h 436"/>
                    <a:gd name="T14" fmla="*/ 218 w 437"/>
                    <a:gd name="T15" fmla="*/ 39 h 436"/>
                    <a:gd name="T16" fmla="*/ 398 w 437"/>
                    <a:gd name="T17" fmla="*/ 218 h 436"/>
                    <a:gd name="T18" fmla="*/ 218 w 437"/>
                    <a:gd name="T19" fmla="*/ 397 h 4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37" h="436">
                      <a:moveTo>
                        <a:pt x="218" y="0"/>
                      </a:moveTo>
                      <a:cubicBezTo>
                        <a:pt x="98" y="0"/>
                        <a:pt x="0" y="98"/>
                        <a:pt x="0" y="218"/>
                      </a:cubicBezTo>
                      <a:cubicBezTo>
                        <a:pt x="0" y="338"/>
                        <a:pt x="98" y="436"/>
                        <a:pt x="218" y="436"/>
                      </a:cubicBezTo>
                      <a:cubicBezTo>
                        <a:pt x="339" y="436"/>
                        <a:pt x="437" y="338"/>
                        <a:pt x="437" y="218"/>
                      </a:cubicBezTo>
                      <a:cubicBezTo>
                        <a:pt x="437" y="98"/>
                        <a:pt x="339" y="0"/>
                        <a:pt x="218" y="0"/>
                      </a:cubicBezTo>
                      <a:close/>
                      <a:moveTo>
                        <a:pt x="218" y="397"/>
                      </a:moveTo>
                      <a:cubicBezTo>
                        <a:pt x="120" y="397"/>
                        <a:pt x="39" y="317"/>
                        <a:pt x="39" y="218"/>
                      </a:cubicBezTo>
                      <a:cubicBezTo>
                        <a:pt x="39" y="119"/>
                        <a:pt x="120" y="39"/>
                        <a:pt x="218" y="39"/>
                      </a:cubicBezTo>
                      <a:cubicBezTo>
                        <a:pt x="317" y="39"/>
                        <a:pt x="398" y="119"/>
                        <a:pt x="398" y="218"/>
                      </a:cubicBezTo>
                      <a:cubicBezTo>
                        <a:pt x="398" y="317"/>
                        <a:pt x="317" y="397"/>
                        <a:pt x="218" y="39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13" name="Freeform 22"/>
                <p:cNvSpPr/>
                <p:nvPr/>
              </p:nvSpPr>
              <p:spPr bwMode="auto">
                <a:xfrm>
                  <a:off x="12020550" y="1096962"/>
                  <a:ext cx="577850" cy="566738"/>
                </a:xfrm>
                <a:custGeom>
                  <a:avLst/>
                  <a:gdLst>
                    <a:gd name="T0" fmla="*/ 136 w 154"/>
                    <a:gd name="T1" fmla="*/ 76 h 151"/>
                    <a:gd name="T2" fmla="*/ 148 w 154"/>
                    <a:gd name="T3" fmla="*/ 111 h 151"/>
                    <a:gd name="T4" fmla="*/ 116 w 154"/>
                    <a:gd name="T5" fmla="*/ 144 h 151"/>
                    <a:gd name="T6" fmla="*/ 81 w 154"/>
                    <a:gd name="T7" fmla="*/ 134 h 151"/>
                    <a:gd name="T8" fmla="*/ 18 w 154"/>
                    <a:gd name="T9" fmla="*/ 74 h 151"/>
                    <a:gd name="T10" fmla="*/ 7 w 154"/>
                    <a:gd name="T11" fmla="*/ 40 h 151"/>
                    <a:gd name="T12" fmla="*/ 38 w 154"/>
                    <a:gd name="T13" fmla="*/ 6 h 151"/>
                    <a:gd name="T14" fmla="*/ 73 w 154"/>
                    <a:gd name="T15" fmla="*/ 16 h 151"/>
                    <a:gd name="T16" fmla="*/ 136 w 154"/>
                    <a:gd name="T17" fmla="*/ 76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4" h="151">
                      <a:moveTo>
                        <a:pt x="136" y="76"/>
                      </a:moveTo>
                      <a:cubicBezTo>
                        <a:pt x="149" y="88"/>
                        <a:pt x="154" y="104"/>
                        <a:pt x="148" y="111"/>
                      </a:cubicBezTo>
                      <a:cubicBezTo>
                        <a:pt x="116" y="144"/>
                        <a:pt x="116" y="144"/>
                        <a:pt x="116" y="144"/>
                      </a:cubicBezTo>
                      <a:cubicBezTo>
                        <a:pt x="110" y="151"/>
                        <a:pt x="94" y="146"/>
                        <a:pt x="81" y="134"/>
                      </a:cubicBezTo>
                      <a:cubicBezTo>
                        <a:pt x="18" y="74"/>
                        <a:pt x="18" y="74"/>
                        <a:pt x="18" y="74"/>
                      </a:cubicBezTo>
                      <a:cubicBezTo>
                        <a:pt x="5" y="62"/>
                        <a:pt x="0" y="46"/>
                        <a:pt x="7" y="40"/>
                      </a:cubicBezTo>
                      <a:cubicBezTo>
                        <a:pt x="38" y="6"/>
                        <a:pt x="38" y="6"/>
                        <a:pt x="38" y="6"/>
                      </a:cubicBezTo>
                      <a:cubicBezTo>
                        <a:pt x="45" y="0"/>
                        <a:pt x="60" y="4"/>
                        <a:pt x="73" y="16"/>
                      </a:cubicBezTo>
                      <a:lnTo>
                        <a:pt x="136" y="7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14" name="Freeform 23"/>
                <p:cNvSpPr/>
                <p:nvPr/>
              </p:nvSpPr>
              <p:spPr bwMode="auto">
                <a:xfrm>
                  <a:off x="11445875" y="328612"/>
                  <a:ext cx="247650" cy="854075"/>
                </a:xfrm>
                <a:custGeom>
                  <a:avLst/>
                  <a:gdLst>
                    <a:gd name="T0" fmla="*/ 66 w 66"/>
                    <a:gd name="T1" fmla="*/ 195 h 228"/>
                    <a:gd name="T2" fmla="*/ 33 w 66"/>
                    <a:gd name="T3" fmla="*/ 228 h 228"/>
                    <a:gd name="T4" fmla="*/ 33 w 66"/>
                    <a:gd name="T5" fmla="*/ 228 h 228"/>
                    <a:gd name="T6" fmla="*/ 0 w 66"/>
                    <a:gd name="T7" fmla="*/ 195 h 228"/>
                    <a:gd name="T8" fmla="*/ 0 w 66"/>
                    <a:gd name="T9" fmla="*/ 33 h 228"/>
                    <a:gd name="T10" fmla="*/ 33 w 66"/>
                    <a:gd name="T11" fmla="*/ 0 h 228"/>
                    <a:gd name="T12" fmla="*/ 33 w 66"/>
                    <a:gd name="T13" fmla="*/ 0 h 228"/>
                    <a:gd name="T14" fmla="*/ 66 w 66"/>
                    <a:gd name="T15" fmla="*/ 33 h 228"/>
                    <a:gd name="T16" fmla="*/ 66 w 66"/>
                    <a:gd name="T17" fmla="*/ 195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6" h="228">
                      <a:moveTo>
                        <a:pt x="66" y="195"/>
                      </a:moveTo>
                      <a:cubicBezTo>
                        <a:pt x="66" y="213"/>
                        <a:pt x="51" y="228"/>
                        <a:pt x="33" y="228"/>
                      </a:cubicBezTo>
                      <a:cubicBezTo>
                        <a:pt x="33" y="228"/>
                        <a:pt x="33" y="228"/>
                        <a:pt x="33" y="228"/>
                      </a:cubicBezTo>
                      <a:cubicBezTo>
                        <a:pt x="15" y="228"/>
                        <a:pt x="0" y="213"/>
                        <a:pt x="0" y="195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15"/>
                        <a:pt x="15" y="0"/>
                        <a:pt x="33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51" y="0"/>
                        <a:pt x="66" y="15"/>
                        <a:pt x="66" y="33"/>
                      </a:cubicBezTo>
                      <a:lnTo>
                        <a:pt x="66" y="19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15" name="Freeform 24"/>
                <p:cNvSpPr/>
                <p:nvPr/>
              </p:nvSpPr>
              <p:spPr bwMode="auto">
                <a:xfrm>
                  <a:off x="11142662" y="631825"/>
                  <a:ext cx="855663" cy="247650"/>
                </a:xfrm>
                <a:custGeom>
                  <a:avLst/>
                  <a:gdLst>
                    <a:gd name="T0" fmla="*/ 33 w 228"/>
                    <a:gd name="T1" fmla="*/ 66 h 66"/>
                    <a:gd name="T2" fmla="*/ 0 w 228"/>
                    <a:gd name="T3" fmla="*/ 33 h 66"/>
                    <a:gd name="T4" fmla="*/ 0 w 228"/>
                    <a:gd name="T5" fmla="*/ 33 h 66"/>
                    <a:gd name="T6" fmla="*/ 33 w 228"/>
                    <a:gd name="T7" fmla="*/ 0 h 66"/>
                    <a:gd name="T8" fmla="*/ 195 w 228"/>
                    <a:gd name="T9" fmla="*/ 0 h 66"/>
                    <a:gd name="T10" fmla="*/ 228 w 228"/>
                    <a:gd name="T11" fmla="*/ 33 h 66"/>
                    <a:gd name="T12" fmla="*/ 228 w 228"/>
                    <a:gd name="T13" fmla="*/ 33 h 66"/>
                    <a:gd name="T14" fmla="*/ 195 w 228"/>
                    <a:gd name="T15" fmla="*/ 66 h 66"/>
                    <a:gd name="T16" fmla="*/ 33 w 228"/>
                    <a:gd name="T17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8" h="66">
                      <a:moveTo>
                        <a:pt x="33" y="66"/>
                      </a:moveTo>
                      <a:cubicBezTo>
                        <a:pt x="15" y="66"/>
                        <a:pt x="0" y="51"/>
                        <a:pt x="0" y="33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15"/>
                        <a:pt x="15" y="0"/>
                        <a:pt x="33" y="0"/>
                      </a:cubicBezTo>
                      <a:cubicBezTo>
                        <a:pt x="195" y="0"/>
                        <a:pt x="195" y="0"/>
                        <a:pt x="195" y="0"/>
                      </a:cubicBezTo>
                      <a:cubicBezTo>
                        <a:pt x="213" y="0"/>
                        <a:pt x="228" y="15"/>
                        <a:pt x="228" y="33"/>
                      </a:cubicBezTo>
                      <a:cubicBezTo>
                        <a:pt x="228" y="33"/>
                        <a:pt x="228" y="33"/>
                        <a:pt x="228" y="33"/>
                      </a:cubicBezTo>
                      <a:cubicBezTo>
                        <a:pt x="228" y="51"/>
                        <a:pt x="213" y="66"/>
                        <a:pt x="195" y="66"/>
                      </a:cubicBezTo>
                      <a:lnTo>
                        <a:pt x="33" y="6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25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125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25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125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25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125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1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6677025" y="1179513"/>
            <a:ext cx="2020888" cy="166687"/>
          </a:xfrm>
          <a:prstGeom prst="rect">
            <a:avLst/>
          </a:prstGeom>
          <a:solidFill>
            <a:srgbClr val="2B7EA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33913" y="1179513"/>
            <a:ext cx="2019300" cy="166687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590800" y="1179513"/>
            <a:ext cx="2019300" cy="166687"/>
          </a:xfrm>
          <a:prstGeom prst="rect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47688" y="1179513"/>
            <a:ext cx="2019300" cy="166687"/>
          </a:xfrm>
          <a:prstGeom prst="rect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2576513" y="1463675"/>
            <a:ext cx="0" cy="2798763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621213" y="1463675"/>
            <a:ext cx="0" cy="2798763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669088" y="1463675"/>
            <a:ext cx="0" cy="2798763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11"/>
          <p:cNvSpPr>
            <a:spLocks noChangeArrowheads="1"/>
          </p:cNvSpPr>
          <p:nvPr/>
        </p:nvSpPr>
        <p:spPr bwMode="auto">
          <a:xfrm>
            <a:off x="468313" y="1497013"/>
            <a:ext cx="1990725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2" tIns="34290" rIns="34290" bIns="68582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ts val="17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en-US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 bwMode="auto">
          <a:xfrm>
            <a:off x="547688" y="4316413"/>
            <a:ext cx="2019300" cy="412750"/>
            <a:chOff x="547716" y="4316045"/>
            <a:chExt cx="2019245" cy="412793"/>
          </a:xfrm>
        </p:grpSpPr>
        <p:sp>
          <p:nvSpPr>
            <p:cNvPr id="10" name="Rectangle 7"/>
            <p:cNvSpPr/>
            <p:nvPr/>
          </p:nvSpPr>
          <p:spPr>
            <a:xfrm>
              <a:off x="547716" y="4316045"/>
              <a:ext cx="2019245" cy="41279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381" name="组合 42"/>
            <p:cNvGrpSpPr/>
            <p:nvPr/>
          </p:nvGrpSpPr>
          <p:grpSpPr bwMode="auto">
            <a:xfrm>
              <a:off x="683568" y="4379761"/>
              <a:ext cx="327703" cy="285359"/>
              <a:chOff x="3108980" y="1413397"/>
              <a:chExt cx="516304" cy="449589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3132543" y="1413068"/>
                <a:ext cx="492713" cy="44024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1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45" name="椭圆 44"/>
              <p:cNvSpPr/>
              <p:nvPr/>
            </p:nvSpPr>
            <p:spPr>
              <a:xfrm>
                <a:off x="3110034" y="1430577"/>
                <a:ext cx="430185" cy="432743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46" name="Freeform 51"/>
          <p:cNvSpPr>
            <a:spLocks noEditPoints="1"/>
          </p:cNvSpPr>
          <p:nvPr/>
        </p:nvSpPr>
        <p:spPr bwMode="auto">
          <a:xfrm rot="5400000" flipH="1" flipV="1">
            <a:off x="1478757" y="4044156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7" name="Freeform 51"/>
          <p:cNvSpPr>
            <a:spLocks noEditPoints="1"/>
          </p:cNvSpPr>
          <p:nvPr/>
        </p:nvSpPr>
        <p:spPr bwMode="auto">
          <a:xfrm rot="5400000" flipH="1" flipV="1">
            <a:off x="3521870" y="4044156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8" name="Freeform 51"/>
          <p:cNvSpPr>
            <a:spLocks noEditPoints="1"/>
          </p:cNvSpPr>
          <p:nvPr/>
        </p:nvSpPr>
        <p:spPr bwMode="auto">
          <a:xfrm rot="5400000" flipH="1" flipV="1">
            <a:off x="5564982" y="4044156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9" name="Freeform 51"/>
          <p:cNvSpPr>
            <a:spLocks noEditPoints="1"/>
          </p:cNvSpPr>
          <p:nvPr/>
        </p:nvSpPr>
        <p:spPr bwMode="auto">
          <a:xfrm rot="5400000" flipH="1" flipV="1">
            <a:off x="7609682" y="4044156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0" name="Rectangle 11"/>
          <p:cNvSpPr>
            <a:spLocks noChangeArrowheads="1"/>
          </p:cNvSpPr>
          <p:nvPr/>
        </p:nvSpPr>
        <p:spPr bwMode="auto">
          <a:xfrm>
            <a:off x="2605088" y="1497013"/>
            <a:ext cx="19923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2" tIns="34290" rIns="34290" bIns="68582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ts val="17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en-US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Rectangle 11"/>
          <p:cNvSpPr>
            <a:spLocks noChangeArrowheads="1"/>
          </p:cNvSpPr>
          <p:nvPr/>
        </p:nvSpPr>
        <p:spPr bwMode="auto">
          <a:xfrm>
            <a:off x="4648200" y="1497013"/>
            <a:ext cx="1992313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2" tIns="34290" rIns="34290" bIns="68582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ts val="17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en-US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Rectangle 11"/>
          <p:cNvSpPr>
            <a:spLocks noChangeArrowheads="1"/>
          </p:cNvSpPr>
          <p:nvPr/>
        </p:nvSpPr>
        <p:spPr bwMode="auto">
          <a:xfrm>
            <a:off x="6704013" y="1497013"/>
            <a:ext cx="19923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2" tIns="34290" rIns="34290" bIns="68582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ts val="17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en-US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330" name="组合 5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61" name="矩形 60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3377" name="组合 62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3378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5" name="矩形 64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3" name="组合 2"/>
          <p:cNvGrpSpPr/>
          <p:nvPr/>
        </p:nvGrpSpPr>
        <p:grpSpPr bwMode="auto">
          <a:xfrm>
            <a:off x="2590800" y="4316413"/>
            <a:ext cx="2019300" cy="412750"/>
            <a:chOff x="2591111" y="4316045"/>
            <a:chExt cx="2019740" cy="412793"/>
          </a:xfrm>
        </p:grpSpPr>
        <p:sp>
          <p:nvSpPr>
            <p:cNvPr id="9" name="Rectangle 6"/>
            <p:cNvSpPr/>
            <p:nvPr/>
          </p:nvSpPr>
          <p:spPr>
            <a:xfrm>
              <a:off x="2591111" y="4316045"/>
              <a:ext cx="2019740" cy="41279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372" name="组合 65"/>
            <p:cNvGrpSpPr/>
            <p:nvPr/>
          </p:nvGrpSpPr>
          <p:grpSpPr bwMode="auto">
            <a:xfrm>
              <a:off x="2751964" y="4379761"/>
              <a:ext cx="327703" cy="338554"/>
              <a:chOff x="3108980" y="1413397"/>
              <a:chExt cx="516304" cy="533399"/>
            </a:xfrm>
          </p:grpSpPr>
          <p:sp>
            <p:nvSpPr>
              <p:cNvPr id="67" name="TextBox 66"/>
              <p:cNvSpPr txBox="1"/>
              <p:nvPr/>
            </p:nvSpPr>
            <p:spPr>
              <a:xfrm>
                <a:off x="3130738" y="1413068"/>
                <a:ext cx="495334" cy="53279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2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68" name="椭圆 67"/>
              <p:cNvSpPr/>
              <p:nvPr/>
            </p:nvSpPr>
            <p:spPr>
              <a:xfrm>
                <a:off x="3108224" y="1430577"/>
                <a:ext cx="432791" cy="432743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4" name="组合 3"/>
          <p:cNvGrpSpPr/>
          <p:nvPr/>
        </p:nvGrpSpPr>
        <p:grpSpPr bwMode="auto">
          <a:xfrm>
            <a:off x="4633913" y="4316413"/>
            <a:ext cx="2020887" cy="412750"/>
            <a:chOff x="4634505" y="4316045"/>
            <a:chExt cx="2019740" cy="412793"/>
          </a:xfrm>
        </p:grpSpPr>
        <p:sp>
          <p:nvSpPr>
            <p:cNvPr id="8" name="Rectangle 5"/>
            <p:cNvSpPr/>
            <p:nvPr/>
          </p:nvSpPr>
          <p:spPr>
            <a:xfrm>
              <a:off x="4634505" y="4316045"/>
              <a:ext cx="2019740" cy="41279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368" name="组合 68"/>
            <p:cNvGrpSpPr/>
            <p:nvPr/>
          </p:nvGrpSpPr>
          <p:grpSpPr bwMode="auto">
            <a:xfrm>
              <a:off x="4754116" y="4379761"/>
              <a:ext cx="327703" cy="338554"/>
              <a:chOff x="3108980" y="1413397"/>
              <a:chExt cx="516304" cy="533399"/>
            </a:xfrm>
          </p:grpSpPr>
          <p:sp>
            <p:nvSpPr>
              <p:cNvPr id="70" name="TextBox 69"/>
              <p:cNvSpPr txBox="1"/>
              <p:nvPr/>
            </p:nvSpPr>
            <p:spPr>
              <a:xfrm>
                <a:off x="3130507" y="1413068"/>
                <a:ext cx="494946" cy="53279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3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71" name="椭圆 70"/>
              <p:cNvSpPr/>
              <p:nvPr/>
            </p:nvSpPr>
            <p:spPr>
              <a:xfrm>
                <a:off x="3108008" y="1430577"/>
                <a:ext cx="432453" cy="432743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" name="组合 4"/>
          <p:cNvGrpSpPr/>
          <p:nvPr/>
        </p:nvGrpSpPr>
        <p:grpSpPr bwMode="auto">
          <a:xfrm>
            <a:off x="6678613" y="4316413"/>
            <a:ext cx="2019300" cy="412750"/>
            <a:chOff x="6677899" y="4316045"/>
            <a:chExt cx="2019740" cy="412793"/>
          </a:xfrm>
        </p:grpSpPr>
        <p:sp>
          <p:nvSpPr>
            <p:cNvPr id="7" name="Rectangle 4"/>
            <p:cNvSpPr/>
            <p:nvPr/>
          </p:nvSpPr>
          <p:spPr>
            <a:xfrm>
              <a:off x="6677899" y="4316045"/>
              <a:ext cx="2019740" cy="41279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364" name="组合 71"/>
            <p:cNvGrpSpPr/>
            <p:nvPr/>
          </p:nvGrpSpPr>
          <p:grpSpPr bwMode="auto">
            <a:xfrm>
              <a:off x="6804248" y="4370236"/>
              <a:ext cx="327703" cy="338554"/>
              <a:chOff x="3108980" y="1413397"/>
              <a:chExt cx="516304" cy="533399"/>
            </a:xfrm>
          </p:grpSpPr>
          <p:sp>
            <p:nvSpPr>
              <p:cNvPr id="73" name="TextBox 72"/>
              <p:cNvSpPr txBox="1"/>
              <p:nvPr/>
            </p:nvSpPr>
            <p:spPr>
              <a:xfrm>
                <a:off x="3132564" y="1413066"/>
                <a:ext cx="492833" cy="53279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4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74" name="椭圆 73"/>
              <p:cNvSpPr/>
              <p:nvPr/>
            </p:nvSpPr>
            <p:spPr>
              <a:xfrm>
                <a:off x="3110050" y="1430575"/>
                <a:ext cx="430290" cy="432743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85" name="组合 84"/>
          <p:cNvGrpSpPr/>
          <p:nvPr/>
        </p:nvGrpSpPr>
        <p:grpSpPr bwMode="auto">
          <a:xfrm>
            <a:off x="5305425" y="3270250"/>
            <a:ext cx="677863" cy="677863"/>
            <a:chOff x="10598957" y="1563638"/>
            <a:chExt cx="678477" cy="678477"/>
          </a:xfrm>
        </p:grpSpPr>
        <p:sp>
          <p:nvSpPr>
            <p:cNvPr id="86" name="Freeform 6"/>
            <p:cNvSpPr/>
            <p:nvPr/>
          </p:nvSpPr>
          <p:spPr bwMode="auto">
            <a:xfrm>
              <a:off x="10598957" y="1563638"/>
              <a:ext cx="678477" cy="678477"/>
            </a:xfrm>
            <a:custGeom>
              <a:avLst/>
              <a:gdLst>
                <a:gd name="T0" fmla="*/ 687 w 687"/>
                <a:gd name="T1" fmla="*/ 625 h 687"/>
                <a:gd name="T2" fmla="*/ 625 w 687"/>
                <a:gd name="T3" fmla="*/ 687 h 687"/>
                <a:gd name="T4" fmla="*/ 62 w 687"/>
                <a:gd name="T5" fmla="*/ 687 h 687"/>
                <a:gd name="T6" fmla="*/ 0 w 687"/>
                <a:gd name="T7" fmla="*/ 625 h 687"/>
                <a:gd name="T8" fmla="*/ 0 w 687"/>
                <a:gd name="T9" fmla="*/ 62 h 687"/>
                <a:gd name="T10" fmla="*/ 62 w 687"/>
                <a:gd name="T11" fmla="*/ 0 h 687"/>
                <a:gd name="T12" fmla="*/ 625 w 687"/>
                <a:gd name="T13" fmla="*/ 0 h 687"/>
                <a:gd name="T14" fmla="*/ 687 w 687"/>
                <a:gd name="T15" fmla="*/ 62 h 687"/>
                <a:gd name="T16" fmla="*/ 687 w 687"/>
                <a:gd name="T17" fmla="*/ 625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687" y="625"/>
                  </a:moveTo>
                  <a:cubicBezTo>
                    <a:pt x="687" y="659"/>
                    <a:pt x="659" y="687"/>
                    <a:pt x="625" y="687"/>
                  </a:cubicBezTo>
                  <a:cubicBezTo>
                    <a:pt x="62" y="687"/>
                    <a:pt x="62" y="687"/>
                    <a:pt x="62" y="687"/>
                  </a:cubicBezTo>
                  <a:cubicBezTo>
                    <a:pt x="28" y="687"/>
                    <a:pt x="0" y="659"/>
                    <a:pt x="0" y="62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625" y="0"/>
                    <a:pt x="625" y="0"/>
                    <a:pt x="625" y="0"/>
                  </a:cubicBezTo>
                  <a:cubicBezTo>
                    <a:pt x="659" y="0"/>
                    <a:pt x="687" y="28"/>
                    <a:pt x="687" y="62"/>
                  </a:cubicBezTo>
                  <a:lnTo>
                    <a:pt x="687" y="625"/>
                  </a:lnTo>
                  <a:close/>
                </a:path>
              </a:pathLst>
            </a:cu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56" name="Freeform 8"/>
            <p:cNvSpPr/>
            <p:nvPr/>
          </p:nvSpPr>
          <p:spPr bwMode="auto">
            <a:xfrm>
              <a:off x="10687581" y="1752174"/>
              <a:ext cx="589853" cy="489941"/>
            </a:xfrm>
            <a:custGeom>
              <a:avLst/>
              <a:gdLst>
                <a:gd name="T0" fmla="*/ 2147483646 w 597"/>
                <a:gd name="T1" fmla="*/ 2147483646 h 496"/>
                <a:gd name="T2" fmla="*/ 2147483646 w 597"/>
                <a:gd name="T3" fmla="*/ 2147483646 h 496"/>
                <a:gd name="T4" fmla="*/ 2147483646 w 597"/>
                <a:gd name="T5" fmla="*/ 2147483646 h 496"/>
                <a:gd name="T6" fmla="*/ 2147483646 w 597"/>
                <a:gd name="T7" fmla="*/ 2147483646 h 496"/>
                <a:gd name="T8" fmla="*/ 2147483646 w 597"/>
                <a:gd name="T9" fmla="*/ 2147483646 h 496"/>
                <a:gd name="T10" fmla="*/ 2147483646 w 597"/>
                <a:gd name="T11" fmla="*/ 2147483646 h 496"/>
                <a:gd name="T12" fmla="*/ 2147483646 w 597"/>
                <a:gd name="T13" fmla="*/ 2147483646 h 496"/>
                <a:gd name="T14" fmla="*/ 2147483646 w 597"/>
                <a:gd name="T15" fmla="*/ 2147483646 h 496"/>
                <a:gd name="T16" fmla="*/ 2147483646 w 597"/>
                <a:gd name="T17" fmla="*/ 2147483646 h 496"/>
                <a:gd name="T18" fmla="*/ 2147483646 w 597"/>
                <a:gd name="T19" fmla="*/ 2147483646 h 496"/>
                <a:gd name="T20" fmla="*/ 2147483646 w 597"/>
                <a:gd name="T21" fmla="*/ 2147483646 h 496"/>
                <a:gd name="T22" fmla="*/ 2147483646 w 597"/>
                <a:gd name="T23" fmla="*/ 2147483646 h 496"/>
                <a:gd name="T24" fmla="*/ 2147483646 w 597"/>
                <a:gd name="T25" fmla="*/ 2147483646 h 496"/>
                <a:gd name="T26" fmla="*/ 2147483646 w 597"/>
                <a:gd name="T27" fmla="*/ 2147483646 h 496"/>
                <a:gd name="T28" fmla="*/ 2147483646 w 597"/>
                <a:gd name="T29" fmla="*/ 2147483646 h 496"/>
                <a:gd name="T30" fmla="*/ 2147483646 w 597"/>
                <a:gd name="T31" fmla="*/ 0 h 496"/>
                <a:gd name="T32" fmla="*/ 2147483646 w 597"/>
                <a:gd name="T33" fmla="*/ 2147483646 h 496"/>
                <a:gd name="T34" fmla="*/ 2147483646 w 597"/>
                <a:gd name="T35" fmla="*/ 2147483646 h 496"/>
                <a:gd name="T36" fmla="*/ 2147483646 w 597"/>
                <a:gd name="T37" fmla="*/ 2147483646 h 496"/>
                <a:gd name="T38" fmla="*/ 2147483646 w 597"/>
                <a:gd name="T39" fmla="*/ 2147483646 h 496"/>
                <a:gd name="T40" fmla="*/ 2147483646 w 597"/>
                <a:gd name="T41" fmla="*/ 2147483646 h 496"/>
                <a:gd name="T42" fmla="*/ 2147483646 w 597"/>
                <a:gd name="T43" fmla="*/ 2147483646 h 496"/>
                <a:gd name="T44" fmla="*/ 2147483646 w 597"/>
                <a:gd name="T45" fmla="*/ 2147483646 h 496"/>
                <a:gd name="T46" fmla="*/ 2147483646 w 597"/>
                <a:gd name="T47" fmla="*/ 2147483646 h 496"/>
                <a:gd name="T48" fmla="*/ 2147483646 w 597"/>
                <a:gd name="T49" fmla="*/ 2147483646 h 496"/>
                <a:gd name="T50" fmla="*/ 2147483646 w 597"/>
                <a:gd name="T51" fmla="*/ 2147483646 h 496"/>
                <a:gd name="T52" fmla="*/ 2147483646 w 597"/>
                <a:gd name="T53" fmla="*/ 2147483646 h 49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597" h="496">
                  <a:moveTo>
                    <a:pt x="480" y="17"/>
                  </a:moveTo>
                  <a:cubicBezTo>
                    <a:pt x="465" y="32"/>
                    <a:pt x="465" y="32"/>
                    <a:pt x="465" y="32"/>
                  </a:cubicBezTo>
                  <a:cubicBezTo>
                    <a:pt x="489" y="56"/>
                    <a:pt x="489" y="56"/>
                    <a:pt x="489" y="56"/>
                  </a:cubicBezTo>
                  <a:cubicBezTo>
                    <a:pt x="491" y="72"/>
                    <a:pt x="492" y="93"/>
                    <a:pt x="491" y="114"/>
                  </a:cubicBezTo>
                  <a:cubicBezTo>
                    <a:pt x="418" y="41"/>
                    <a:pt x="418" y="41"/>
                    <a:pt x="418" y="41"/>
                  </a:cubicBezTo>
                  <a:cubicBezTo>
                    <a:pt x="403" y="56"/>
                    <a:pt x="403" y="56"/>
                    <a:pt x="403" y="56"/>
                  </a:cubicBezTo>
                  <a:cubicBezTo>
                    <a:pt x="403" y="56"/>
                    <a:pt x="436" y="61"/>
                    <a:pt x="440" y="97"/>
                  </a:cubicBezTo>
                  <a:cubicBezTo>
                    <a:pt x="444" y="133"/>
                    <a:pt x="418" y="133"/>
                    <a:pt x="418" y="133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47" y="105"/>
                    <a:pt x="347" y="105"/>
                    <a:pt x="347" y="105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54" y="267"/>
                    <a:pt x="354" y="267"/>
                    <a:pt x="354" y="267"/>
                  </a:cubicBezTo>
                  <a:cubicBezTo>
                    <a:pt x="331" y="247"/>
                    <a:pt x="331" y="247"/>
                    <a:pt x="331" y="247"/>
                  </a:cubicBezTo>
                  <a:cubicBezTo>
                    <a:pt x="186" y="102"/>
                    <a:pt x="186" y="102"/>
                    <a:pt x="186" y="102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9" y="47"/>
                    <a:pt x="0" y="117"/>
                    <a:pt x="65" y="181"/>
                  </a:cubicBezTo>
                  <a:cubicBezTo>
                    <a:pt x="59" y="187"/>
                    <a:pt x="59" y="187"/>
                    <a:pt x="59" y="187"/>
                  </a:cubicBezTo>
                  <a:cubicBezTo>
                    <a:pt x="158" y="286"/>
                    <a:pt x="158" y="286"/>
                    <a:pt x="158" y="286"/>
                  </a:cubicBezTo>
                  <a:cubicBezTo>
                    <a:pt x="80" y="364"/>
                    <a:pt x="80" y="364"/>
                    <a:pt x="80" y="364"/>
                  </a:cubicBezTo>
                  <a:cubicBezTo>
                    <a:pt x="212" y="496"/>
                    <a:pt x="212" y="496"/>
                    <a:pt x="212" y="496"/>
                  </a:cubicBezTo>
                  <a:cubicBezTo>
                    <a:pt x="535" y="496"/>
                    <a:pt x="535" y="496"/>
                    <a:pt x="535" y="496"/>
                  </a:cubicBezTo>
                  <a:cubicBezTo>
                    <a:pt x="569" y="496"/>
                    <a:pt x="597" y="468"/>
                    <a:pt x="597" y="434"/>
                  </a:cubicBezTo>
                  <a:cubicBezTo>
                    <a:pt x="597" y="134"/>
                    <a:pt x="597" y="134"/>
                    <a:pt x="597" y="134"/>
                  </a:cubicBezTo>
                  <a:lnTo>
                    <a:pt x="480" y="17"/>
                  </a:lnTo>
                  <a:close/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357" name="组合 94"/>
            <p:cNvGrpSpPr/>
            <p:nvPr/>
          </p:nvGrpSpPr>
          <p:grpSpPr bwMode="auto">
            <a:xfrm>
              <a:off x="10705557" y="1747993"/>
              <a:ext cx="487851" cy="388358"/>
              <a:chOff x="10705557" y="1747993"/>
              <a:chExt cx="487851" cy="388358"/>
            </a:xfrm>
          </p:grpSpPr>
          <p:sp>
            <p:nvSpPr>
              <p:cNvPr id="13358" name="Freeform 9"/>
              <p:cNvSpPr>
                <a:spLocks noEditPoints="1"/>
              </p:cNvSpPr>
              <p:nvPr/>
            </p:nvSpPr>
            <p:spPr bwMode="auto">
              <a:xfrm>
                <a:off x="10755721" y="1833273"/>
                <a:ext cx="389194" cy="303078"/>
              </a:xfrm>
              <a:custGeom>
                <a:avLst/>
                <a:gdLst>
                  <a:gd name="T0" fmla="*/ 2147483646 w 394"/>
                  <a:gd name="T1" fmla="*/ 2147483646 h 307"/>
                  <a:gd name="T2" fmla="*/ 2147483646 w 394"/>
                  <a:gd name="T3" fmla="*/ 2147483646 h 307"/>
                  <a:gd name="T4" fmla="*/ 2147483646 w 394"/>
                  <a:gd name="T5" fmla="*/ 2147483646 h 307"/>
                  <a:gd name="T6" fmla="*/ 2147483646 w 394"/>
                  <a:gd name="T7" fmla="*/ 2147483646 h 307"/>
                  <a:gd name="T8" fmla="*/ 2147483646 w 394"/>
                  <a:gd name="T9" fmla="*/ 0 h 307"/>
                  <a:gd name="T10" fmla="*/ 2147483646 w 394"/>
                  <a:gd name="T11" fmla="*/ 2147483646 h 307"/>
                  <a:gd name="T12" fmla="*/ 2147483646 w 394"/>
                  <a:gd name="T13" fmla="*/ 2147483646 h 307"/>
                  <a:gd name="T14" fmla="*/ 2147483646 w 394"/>
                  <a:gd name="T15" fmla="*/ 2147483646 h 307"/>
                  <a:gd name="T16" fmla="*/ 2147483646 w 394"/>
                  <a:gd name="T17" fmla="*/ 2147483646 h 307"/>
                  <a:gd name="T18" fmla="*/ 2147483646 w 394"/>
                  <a:gd name="T19" fmla="*/ 2147483646 h 307"/>
                  <a:gd name="T20" fmla="*/ 2147483646 w 394"/>
                  <a:gd name="T21" fmla="*/ 2147483646 h 307"/>
                  <a:gd name="T22" fmla="*/ 2147483646 w 394"/>
                  <a:gd name="T23" fmla="*/ 0 h 307"/>
                  <a:gd name="T24" fmla="*/ 2147483646 w 394"/>
                  <a:gd name="T25" fmla="*/ 2147483646 h 307"/>
                  <a:gd name="T26" fmla="*/ 2147483646 w 394"/>
                  <a:gd name="T27" fmla="*/ 2147483646 h 307"/>
                  <a:gd name="T28" fmla="*/ 2147483646 w 394"/>
                  <a:gd name="T29" fmla="*/ 2147483646 h 307"/>
                  <a:gd name="T30" fmla="*/ 2147483646 w 394"/>
                  <a:gd name="T31" fmla="*/ 2147483646 h 307"/>
                  <a:gd name="T32" fmla="*/ 0 w 394"/>
                  <a:gd name="T33" fmla="*/ 2147483646 h 307"/>
                  <a:gd name="T34" fmla="*/ 0 w 394"/>
                  <a:gd name="T35" fmla="*/ 2147483646 h 307"/>
                  <a:gd name="T36" fmla="*/ 2147483646 w 394"/>
                  <a:gd name="T37" fmla="*/ 2147483646 h 307"/>
                  <a:gd name="T38" fmla="*/ 2147483646 w 394"/>
                  <a:gd name="T39" fmla="*/ 2147483646 h 307"/>
                  <a:gd name="T40" fmla="*/ 2147483646 w 394"/>
                  <a:gd name="T41" fmla="*/ 2147483646 h 307"/>
                  <a:gd name="T42" fmla="*/ 2147483646 w 394"/>
                  <a:gd name="T43" fmla="*/ 2147483646 h 307"/>
                  <a:gd name="T44" fmla="*/ 2147483646 w 394"/>
                  <a:gd name="T45" fmla="*/ 2147483646 h 307"/>
                  <a:gd name="T46" fmla="*/ 2147483646 w 394"/>
                  <a:gd name="T47" fmla="*/ 2147483646 h 307"/>
                  <a:gd name="T48" fmla="*/ 2147483646 w 394"/>
                  <a:gd name="T49" fmla="*/ 2147483646 h 307"/>
                  <a:gd name="T50" fmla="*/ 2147483646 w 394"/>
                  <a:gd name="T51" fmla="*/ 2147483646 h 307"/>
                  <a:gd name="T52" fmla="*/ 2147483646 w 394"/>
                  <a:gd name="T53" fmla="*/ 2147483646 h 307"/>
                  <a:gd name="T54" fmla="*/ 2147483646 w 394"/>
                  <a:gd name="T55" fmla="*/ 2147483646 h 307"/>
                  <a:gd name="T56" fmla="*/ 2147483646 w 394"/>
                  <a:gd name="T57" fmla="*/ 2147483646 h 307"/>
                  <a:gd name="T58" fmla="*/ 2147483646 w 394"/>
                  <a:gd name="T59" fmla="*/ 2147483646 h 307"/>
                  <a:gd name="T60" fmla="*/ 2147483646 w 394"/>
                  <a:gd name="T61" fmla="*/ 2147483646 h 307"/>
                  <a:gd name="T62" fmla="*/ 2147483646 w 394"/>
                  <a:gd name="T63" fmla="*/ 2147483646 h 307"/>
                  <a:gd name="T64" fmla="*/ 2147483646 w 394"/>
                  <a:gd name="T65" fmla="*/ 2147483646 h 30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94" h="307">
                    <a:moveTo>
                      <a:pt x="348" y="163"/>
                    </a:moveTo>
                    <a:cubicBezTo>
                      <a:pt x="309" y="163"/>
                      <a:pt x="309" y="163"/>
                      <a:pt x="309" y="163"/>
                    </a:cubicBezTo>
                    <a:cubicBezTo>
                      <a:pt x="306" y="124"/>
                      <a:pt x="302" y="75"/>
                      <a:pt x="298" y="46"/>
                    </a:cubicBezTo>
                    <a:cubicBezTo>
                      <a:pt x="308" y="43"/>
                      <a:pt x="315" y="34"/>
                      <a:pt x="315" y="24"/>
                    </a:cubicBezTo>
                    <a:cubicBezTo>
                      <a:pt x="315" y="11"/>
                      <a:pt x="304" y="0"/>
                      <a:pt x="290" y="0"/>
                    </a:cubicBezTo>
                    <a:cubicBezTo>
                      <a:pt x="276" y="0"/>
                      <a:pt x="265" y="11"/>
                      <a:pt x="265" y="24"/>
                    </a:cubicBezTo>
                    <a:cubicBezTo>
                      <a:pt x="265" y="34"/>
                      <a:pt x="272" y="43"/>
                      <a:pt x="282" y="46"/>
                    </a:cubicBezTo>
                    <a:cubicBezTo>
                      <a:pt x="277" y="75"/>
                      <a:pt x="273" y="124"/>
                      <a:pt x="270" y="163"/>
                    </a:cubicBezTo>
                    <a:cubicBezTo>
                      <a:pt x="122" y="163"/>
                      <a:pt x="122" y="163"/>
                      <a:pt x="122" y="163"/>
                    </a:cubicBezTo>
                    <a:cubicBezTo>
                      <a:pt x="119" y="124"/>
                      <a:pt x="115" y="75"/>
                      <a:pt x="110" y="46"/>
                    </a:cubicBezTo>
                    <a:cubicBezTo>
                      <a:pt x="120" y="43"/>
                      <a:pt x="127" y="34"/>
                      <a:pt x="127" y="24"/>
                    </a:cubicBezTo>
                    <a:cubicBezTo>
                      <a:pt x="127" y="11"/>
                      <a:pt x="116" y="0"/>
                      <a:pt x="102" y="0"/>
                    </a:cubicBezTo>
                    <a:cubicBezTo>
                      <a:pt x="88" y="0"/>
                      <a:pt x="77" y="11"/>
                      <a:pt x="77" y="24"/>
                    </a:cubicBezTo>
                    <a:cubicBezTo>
                      <a:pt x="77" y="34"/>
                      <a:pt x="84" y="43"/>
                      <a:pt x="94" y="46"/>
                    </a:cubicBezTo>
                    <a:cubicBezTo>
                      <a:pt x="90" y="75"/>
                      <a:pt x="86" y="124"/>
                      <a:pt x="83" y="163"/>
                    </a:cubicBezTo>
                    <a:cubicBezTo>
                      <a:pt x="46" y="163"/>
                      <a:pt x="46" y="163"/>
                      <a:pt x="46" y="163"/>
                    </a:cubicBezTo>
                    <a:cubicBezTo>
                      <a:pt x="21" y="163"/>
                      <a:pt x="0" y="183"/>
                      <a:pt x="0" y="206"/>
                    </a:cubicBezTo>
                    <a:cubicBezTo>
                      <a:pt x="0" y="264"/>
                      <a:pt x="0" y="264"/>
                      <a:pt x="0" y="264"/>
                    </a:cubicBezTo>
                    <a:cubicBezTo>
                      <a:pt x="0" y="288"/>
                      <a:pt x="21" y="307"/>
                      <a:pt x="46" y="307"/>
                    </a:cubicBezTo>
                    <a:cubicBezTo>
                      <a:pt x="348" y="307"/>
                      <a:pt x="348" y="307"/>
                      <a:pt x="348" y="307"/>
                    </a:cubicBezTo>
                    <a:cubicBezTo>
                      <a:pt x="373" y="307"/>
                      <a:pt x="394" y="288"/>
                      <a:pt x="394" y="264"/>
                    </a:cubicBezTo>
                    <a:cubicBezTo>
                      <a:pt x="394" y="206"/>
                      <a:pt x="394" y="206"/>
                      <a:pt x="394" y="206"/>
                    </a:cubicBezTo>
                    <a:cubicBezTo>
                      <a:pt x="394" y="183"/>
                      <a:pt x="373" y="163"/>
                      <a:pt x="348" y="163"/>
                    </a:cubicBezTo>
                    <a:close/>
                    <a:moveTo>
                      <a:pt x="276" y="257"/>
                    </a:moveTo>
                    <a:cubicBezTo>
                      <a:pt x="263" y="257"/>
                      <a:pt x="253" y="247"/>
                      <a:pt x="253" y="235"/>
                    </a:cubicBezTo>
                    <a:cubicBezTo>
                      <a:pt x="253" y="223"/>
                      <a:pt x="263" y="214"/>
                      <a:pt x="276" y="214"/>
                    </a:cubicBezTo>
                    <a:cubicBezTo>
                      <a:pt x="289" y="214"/>
                      <a:pt x="299" y="223"/>
                      <a:pt x="299" y="235"/>
                    </a:cubicBezTo>
                    <a:cubicBezTo>
                      <a:pt x="299" y="247"/>
                      <a:pt x="289" y="257"/>
                      <a:pt x="276" y="257"/>
                    </a:cubicBezTo>
                    <a:close/>
                    <a:moveTo>
                      <a:pt x="340" y="257"/>
                    </a:moveTo>
                    <a:cubicBezTo>
                      <a:pt x="327" y="257"/>
                      <a:pt x="317" y="247"/>
                      <a:pt x="317" y="235"/>
                    </a:cubicBezTo>
                    <a:cubicBezTo>
                      <a:pt x="317" y="223"/>
                      <a:pt x="327" y="214"/>
                      <a:pt x="340" y="214"/>
                    </a:cubicBezTo>
                    <a:cubicBezTo>
                      <a:pt x="353" y="214"/>
                      <a:pt x="363" y="223"/>
                      <a:pt x="363" y="235"/>
                    </a:cubicBezTo>
                    <a:cubicBezTo>
                      <a:pt x="363" y="247"/>
                      <a:pt x="353" y="257"/>
                      <a:pt x="340" y="25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59" name="Freeform 10"/>
              <p:cNvSpPr/>
              <p:nvPr/>
            </p:nvSpPr>
            <p:spPr bwMode="auto">
              <a:xfrm>
                <a:off x="11079702" y="1790633"/>
                <a:ext cx="50583" cy="111616"/>
              </a:xfrm>
              <a:custGeom>
                <a:avLst/>
                <a:gdLst>
                  <a:gd name="T0" fmla="*/ 2147483646 w 51"/>
                  <a:gd name="T1" fmla="*/ 2147483646 h 113"/>
                  <a:gd name="T2" fmla="*/ 2147483646 w 51"/>
                  <a:gd name="T3" fmla="*/ 2147483646 h 113"/>
                  <a:gd name="T4" fmla="*/ 2147483646 w 51"/>
                  <a:gd name="T5" fmla="*/ 2147483646 h 113"/>
                  <a:gd name="T6" fmla="*/ 2147483646 w 51"/>
                  <a:gd name="T7" fmla="*/ 2147483646 h 113"/>
                  <a:gd name="T8" fmla="*/ 2147483646 w 51"/>
                  <a:gd name="T9" fmla="*/ 2147483646 h 113"/>
                  <a:gd name="T10" fmla="*/ 2147483646 w 51"/>
                  <a:gd name="T11" fmla="*/ 2147483646 h 113"/>
                  <a:gd name="T12" fmla="*/ 2147483646 w 51"/>
                  <a:gd name="T13" fmla="*/ 2147483646 h 113"/>
                  <a:gd name="T14" fmla="*/ 2147483646 w 51"/>
                  <a:gd name="T15" fmla="*/ 2147483646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113">
                    <a:moveTo>
                      <a:pt x="6" y="6"/>
                    </a:moveTo>
                    <a:cubicBezTo>
                      <a:pt x="0" y="11"/>
                      <a:pt x="0" y="20"/>
                      <a:pt x="6" y="26"/>
                    </a:cubicBezTo>
                    <a:cubicBezTo>
                      <a:pt x="24" y="43"/>
                      <a:pt x="24" y="70"/>
                      <a:pt x="6" y="87"/>
                    </a:cubicBezTo>
                    <a:cubicBezTo>
                      <a:pt x="0" y="93"/>
                      <a:pt x="0" y="102"/>
                      <a:pt x="6" y="107"/>
                    </a:cubicBezTo>
                    <a:cubicBezTo>
                      <a:pt x="12" y="113"/>
                      <a:pt x="22" y="113"/>
                      <a:pt x="28" y="107"/>
                    </a:cubicBezTo>
                    <a:cubicBezTo>
                      <a:pt x="43" y="94"/>
                      <a:pt x="51" y="76"/>
                      <a:pt x="51" y="56"/>
                    </a:cubicBezTo>
                    <a:cubicBezTo>
                      <a:pt x="51" y="37"/>
                      <a:pt x="43" y="19"/>
                      <a:pt x="28" y="6"/>
                    </a:cubicBezTo>
                    <a:cubicBezTo>
                      <a:pt x="22" y="0"/>
                      <a:pt x="12" y="0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60" name="Freeform 11"/>
              <p:cNvSpPr/>
              <p:nvPr/>
            </p:nvSpPr>
            <p:spPr bwMode="auto">
              <a:xfrm>
                <a:off x="11125268" y="1747993"/>
                <a:ext cx="68140" cy="195642"/>
              </a:xfrm>
              <a:custGeom>
                <a:avLst/>
                <a:gdLst>
                  <a:gd name="T0" fmla="*/ 2147483646 w 69"/>
                  <a:gd name="T1" fmla="*/ 2147483646 h 198"/>
                  <a:gd name="T2" fmla="*/ 2147483646 w 69"/>
                  <a:gd name="T3" fmla="*/ 2147483646 h 198"/>
                  <a:gd name="T4" fmla="*/ 2147483646 w 69"/>
                  <a:gd name="T5" fmla="*/ 2147483646 h 198"/>
                  <a:gd name="T6" fmla="*/ 2147483646 w 69"/>
                  <a:gd name="T7" fmla="*/ 2147483646 h 198"/>
                  <a:gd name="T8" fmla="*/ 2147483646 w 69"/>
                  <a:gd name="T9" fmla="*/ 2147483646 h 198"/>
                  <a:gd name="T10" fmla="*/ 2147483646 w 69"/>
                  <a:gd name="T11" fmla="*/ 2147483646 h 198"/>
                  <a:gd name="T12" fmla="*/ 2147483646 w 69"/>
                  <a:gd name="T13" fmla="*/ 2147483646 h 198"/>
                  <a:gd name="T14" fmla="*/ 2147483646 w 69"/>
                  <a:gd name="T15" fmla="*/ 2147483646 h 198"/>
                  <a:gd name="T16" fmla="*/ 2147483646 w 69"/>
                  <a:gd name="T17" fmla="*/ 2147483646 h 19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9" h="198">
                    <a:moveTo>
                      <a:pt x="6" y="6"/>
                    </a:moveTo>
                    <a:cubicBezTo>
                      <a:pt x="0" y="12"/>
                      <a:pt x="0" y="21"/>
                      <a:pt x="6" y="26"/>
                    </a:cubicBezTo>
                    <a:cubicBezTo>
                      <a:pt x="27" y="46"/>
                      <a:pt x="38" y="72"/>
                      <a:pt x="38" y="99"/>
                    </a:cubicBezTo>
                    <a:cubicBezTo>
                      <a:pt x="38" y="127"/>
                      <a:pt x="27" y="153"/>
                      <a:pt x="6" y="172"/>
                    </a:cubicBezTo>
                    <a:cubicBezTo>
                      <a:pt x="0" y="178"/>
                      <a:pt x="0" y="187"/>
                      <a:pt x="6" y="193"/>
                    </a:cubicBezTo>
                    <a:cubicBezTo>
                      <a:pt x="12" y="198"/>
                      <a:pt x="21" y="198"/>
                      <a:pt x="27" y="193"/>
                    </a:cubicBezTo>
                    <a:cubicBezTo>
                      <a:pt x="54" y="168"/>
                      <a:pt x="69" y="135"/>
                      <a:pt x="69" y="99"/>
                    </a:cubicBezTo>
                    <a:cubicBezTo>
                      <a:pt x="69" y="64"/>
                      <a:pt x="54" y="31"/>
                      <a:pt x="27" y="6"/>
                    </a:cubicBezTo>
                    <a:cubicBezTo>
                      <a:pt x="21" y="0"/>
                      <a:pt x="12" y="0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61" name="Freeform 12"/>
              <p:cNvSpPr/>
              <p:nvPr/>
            </p:nvSpPr>
            <p:spPr bwMode="auto">
              <a:xfrm>
                <a:off x="10761992" y="1790633"/>
                <a:ext cx="57271" cy="111616"/>
              </a:xfrm>
              <a:custGeom>
                <a:avLst/>
                <a:gdLst>
                  <a:gd name="T0" fmla="*/ 2147483646 w 58"/>
                  <a:gd name="T1" fmla="*/ 2147483646 h 113"/>
                  <a:gd name="T2" fmla="*/ 2147483646 w 58"/>
                  <a:gd name="T3" fmla="*/ 2147483646 h 113"/>
                  <a:gd name="T4" fmla="*/ 2147483646 w 58"/>
                  <a:gd name="T5" fmla="*/ 2147483646 h 113"/>
                  <a:gd name="T6" fmla="*/ 2147483646 w 58"/>
                  <a:gd name="T7" fmla="*/ 2147483646 h 113"/>
                  <a:gd name="T8" fmla="*/ 2147483646 w 58"/>
                  <a:gd name="T9" fmla="*/ 2147483646 h 113"/>
                  <a:gd name="T10" fmla="*/ 2147483646 w 58"/>
                  <a:gd name="T11" fmla="*/ 2147483646 h 113"/>
                  <a:gd name="T12" fmla="*/ 2147483646 w 58"/>
                  <a:gd name="T13" fmla="*/ 2147483646 h 1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8" h="113">
                    <a:moveTo>
                      <a:pt x="30" y="6"/>
                    </a:moveTo>
                    <a:cubicBezTo>
                      <a:pt x="0" y="34"/>
                      <a:pt x="0" y="79"/>
                      <a:pt x="30" y="107"/>
                    </a:cubicBezTo>
                    <a:cubicBezTo>
                      <a:pt x="36" y="113"/>
                      <a:pt x="46" y="113"/>
                      <a:pt x="52" y="107"/>
                    </a:cubicBezTo>
                    <a:cubicBezTo>
                      <a:pt x="58" y="102"/>
                      <a:pt x="58" y="93"/>
                      <a:pt x="52" y="87"/>
                    </a:cubicBezTo>
                    <a:cubicBezTo>
                      <a:pt x="34" y="70"/>
                      <a:pt x="34" y="43"/>
                      <a:pt x="52" y="26"/>
                    </a:cubicBezTo>
                    <a:cubicBezTo>
                      <a:pt x="58" y="20"/>
                      <a:pt x="58" y="11"/>
                      <a:pt x="52" y="6"/>
                    </a:cubicBezTo>
                    <a:cubicBezTo>
                      <a:pt x="46" y="0"/>
                      <a:pt x="36" y="0"/>
                      <a:pt x="30" y="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62" name="Freeform 13"/>
              <p:cNvSpPr/>
              <p:nvPr/>
            </p:nvSpPr>
            <p:spPr bwMode="auto">
              <a:xfrm>
                <a:off x="10705557" y="1747993"/>
                <a:ext cx="68140" cy="195642"/>
              </a:xfrm>
              <a:custGeom>
                <a:avLst/>
                <a:gdLst>
                  <a:gd name="T0" fmla="*/ 2147483646 w 69"/>
                  <a:gd name="T1" fmla="*/ 2147483646 h 198"/>
                  <a:gd name="T2" fmla="*/ 0 w 69"/>
                  <a:gd name="T3" fmla="*/ 2147483646 h 198"/>
                  <a:gd name="T4" fmla="*/ 2147483646 w 69"/>
                  <a:gd name="T5" fmla="*/ 2147483646 h 198"/>
                  <a:gd name="T6" fmla="*/ 2147483646 w 69"/>
                  <a:gd name="T7" fmla="*/ 2147483646 h 198"/>
                  <a:gd name="T8" fmla="*/ 2147483646 w 69"/>
                  <a:gd name="T9" fmla="*/ 2147483646 h 198"/>
                  <a:gd name="T10" fmla="*/ 2147483646 w 69"/>
                  <a:gd name="T11" fmla="*/ 2147483646 h 198"/>
                  <a:gd name="T12" fmla="*/ 2147483646 w 69"/>
                  <a:gd name="T13" fmla="*/ 2147483646 h 198"/>
                  <a:gd name="T14" fmla="*/ 2147483646 w 69"/>
                  <a:gd name="T15" fmla="*/ 2147483646 h 198"/>
                  <a:gd name="T16" fmla="*/ 2147483646 w 69"/>
                  <a:gd name="T17" fmla="*/ 2147483646 h 19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9" h="198">
                    <a:moveTo>
                      <a:pt x="42" y="6"/>
                    </a:moveTo>
                    <a:cubicBezTo>
                      <a:pt x="15" y="31"/>
                      <a:pt x="0" y="64"/>
                      <a:pt x="0" y="99"/>
                    </a:cubicBezTo>
                    <a:cubicBezTo>
                      <a:pt x="0" y="135"/>
                      <a:pt x="15" y="168"/>
                      <a:pt x="42" y="193"/>
                    </a:cubicBezTo>
                    <a:cubicBezTo>
                      <a:pt x="48" y="198"/>
                      <a:pt x="57" y="198"/>
                      <a:pt x="63" y="193"/>
                    </a:cubicBezTo>
                    <a:cubicBezTo>
                      <a:pt x="69" y="187"/>
                      <a:pt x="69" y="178"/>
                      <a:pt x="63" y="172"/>
                    </a:cubicBezTo>
                    <a:cubicBezTo>
                      <a:pt x="42" y="153"/>
                      <a:pt x="31" y="127"/>
                      <a:pt x="31" y="99"/>
                    </a:cubicBezTo>
                    <a:cubicBezTo>
                      <a:pt x="31" y="72"/>
                      <a:pt x="42" y="46"/>
                      <a:pt x="63" y="26"/>
                    </a:cubicBezTo>
                    <a:cubicBezTo>
                      <a:pt x="69" y="21"/>
                      <a:pt x="69" y="12"/>
                      <a:pt x="63" y="6"/>
                    </a:cubicBezTo>
                    <a:cubicBezTo>
                      <a:pt x="57" y="0"/>
                      <a:pt x="48" y="0"/>
                      <a:pt x="4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01" name="组合 100"/>
          <p:cNvGrpSpPr/>
          <p:nvPr/>
        </p:nvGrpSpPr>
        <p:grpSpPr bwMode="auto">
          <a:xfrm>
            <a:off x="1217613" y="3270250"/>
            <a:ext cx="679450" cy="677863"/>
            <a:chOff x="10778923" y="2667340"/>
            <a:chExt cx="678477" cy="677641"/>
          </a:xfrm>
        </p:grpSpPr>
        <p:sp>
          <p:nvSpPr>
            <p:cNvPr id="102" name="Freeform 14"/>
            <p:cNvSpPr/>
            <p:nvPr/>
          </p:nvSpPr>
          <p:spPr bwMode="auto">
            <a:xfrm>
              <a:off x="10778923" y="2667340"/>
              <a:ext cx="678477" cy="677641"/>
            </a:xfrm>
            <a:custGeom>
              <a:avLst/>
              <a:gdLst>
                <a:gd name="T0" fmla="*/ 687 w 687"/>
                <a:gd name="T1" fmla="*/ 624 h 686"/>
                <a:gd name="T2" fmla="*/ 624 w 687"/>
                <a:gd name="T3" fmla="*/ 686 h 686"/>
                <a:gd name="T4" fmla="*/ 62 w 687"/>
                <a:gd name="T5" fmla="*/ 686 h 686"/>
                <a:gd name="T6" fmla="*/ 0 w 687"/>
                <a:gd name="T7" fmla="*/ 624 h 686"/>
                <a:gd name="T8" fmla="*/ 0 w 687"/>
                <a:gd name="T9" fmla="*/ 62 h 686"/>
                <a:gd name="T10" fmla="*/ 62 w 687"/>
                <a:gd name="T11" fmla="*/ 0 h 686"/>
                <a:gd name="T12" fmla="*/ 624 w 687"/>
                <a:gd name="T13" fmla="*/ 0 h 686"/>
                <a:gd name="T14" fmla="*/ 687 w 687"/>
                <a:gd name="T15" fmla="*/ 62 h 686"/>
                <a:gd name="T16" fmla="*/ 687 w 687"/>
                <a:gd name="T17" fmla="*/ 62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6">
                  <a:moveTo>
                    <a:pt x="687" y="624"/>
                  </a:moveTo>
                  <a:cubicBezTo>
                    <a:pt x="687" y="659"/>
                    <a:pt x="659" y="686"/>
                    <a:pt x="624" y="686"/>
                  </a:cubicBezTo>
                  <a:cubicBezTo>
                    <a:pt x="62" y="686"/>
                    <a:pt x="62" y="686"/>
                    <a:pt x="62" y="686"/>
                  </a:cubicBezTo>
                  <a:cubicBezTo>
                    <a:pt x="28" y="686"/>
                    <a:pt x="0" y="659"/>
                    <a:pt x="0" y="62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59" y="0"/>
                    <a:pt x="687" y="28"/>
                    <a:pt x="687" y="62"/>
                  </a:cubicBezTo>
                  <a:lnTo>
                    <a:pt x="687" y="624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51" name="Freeform 15"/>
            <p:cNvSpPr/>
            <p:nvPr/>
          </p:nvSpPr>
          <p:spPr bwMode="auto">
            <a:xfrm>
              <a:off x="10938196" y="2720013"/>
              <a:ext cx="519204" cy="624968"/>
            </a:xfrm>
            <a:custGeom>
              <a:avLst/>
              <a:gdLst>
                <a:gd name="T0" fmla="*/ 2147483646 w 526"/>
                <a:gd name="T1" fmla="*/ 2147483646 h 633"/>
                <a:gd name="T2" fmla="*/ 2147483646 w 526"/>
                <a:gd name="T3" fmla="*/ 2147483646 h 633"/>
                <a:gd name="T4" fmla="*/ 2147483646 w 526"/>
                <a:gd name="T5" fmla="*/ 2147483646 h 633"/>
                <a:gd name="T6" fmla="*/ 2147483646 w 526"/>
                <a:gd name="T7" fmla="*/ 2147483646 h 633"/>
                <a:gd name="T8" fmla="*/ 2147483646 w 526"/>
                <a:gd name="T9" fmla="*/ 2147483646 h 633"/>
                <a:gd name="T10" fmla="*/ 2147483646 w 526"/>
                <a:gd name="T11" fmla="*/ 2147483646 h 633"/>
                <a:gd name="T12" fmla="*/ 2147483646 w 526"/>
                <a:gd name="T13" fmla="*/ 2147483646 h 633"/>
                <a:gd name="T14" fmla="*/ 2147483646 w 526"/>
                <a:gd name="T15" fmla="*/ 2147483646 h 633"/>
                <a:gd name="T16" fmla="*/ 2147483646 w 526"/>
                <a:gd name="T17" fmla="*/ 2147483646 h 633"/>
                <a:gd name="T18" fmla="*/ 2147483646 w 526"/>
                <a:gd name="T19" fmla="*/ 2147483646 h 6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26" h="633">
                  <a:moveTo>
                    <a:pt x="526" y="571"/>
                  </a:moveTo>
                  <a:cubicBezTo>
                    <a:pt x="526" y="324"/>
                    <a:pt x="526" y="324"/>
                    <a:pt x="526" y="324"/>
                  </a:cubicBezTo>
                  <a:cubicBezTo>
                    <a:pt x="273" y="71"/>
                    <a:pt x="273" y="71"/>
                    <a:pt x="273" y="71"/>
                  </a:cubicBezTo>
                  <a:cubicBezTo>
                    <a:pt x="273" y="71"/>
                    <a:pt x="160" y="0"/>
                    <a:pt x="80" y="86"/>
                  </a:cubicBezTo>
                  <a:cubicBezTo>
                    <a:pt x="0" y="172"/>
                    <a:pt x="74" y="266"/>
                    <a:pt x="74" y="266"/>
                  </a:cubicBezTo>
                  <a:cubicBezTo>
                    <a:pt x="157" y="349"/>
                    <a:pt x="157" y="349"/>
                    <a:pt x="157" y="349"/>
                  </a:cubicBezTo>
                  <a:cubicBezTo>
                    <a:pt x="100" y="584"/>
                    <a:pt x="100" y="584"/>
                    <a:pt x="100" y="584"/>
                  </a:cubicBezTo>
                  <a:cubicBezTo>
                    <a:pt x="150" y="633"/>
                    <a:pt x="150" y="633"/>
                    <a:pt x="150" y="633"/>
                  </a:cubicBezTo>
                  <a:cubicBezTo>
                    <a:pt x="463" y="633"/>
                    <a:pt x="463" y="633"/>
                    <a:pt x="463" y="633"/>
                  </a:cubicBezTo>
                  <a:cubicBezTo>
                    <a:pt x="498" y="633"/>
                    <a:pt x="526" y="606"/>
                    <a:pt x="526" y="571"/>
                  </a:cubicBez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52" name="Freeform 16"/>
            <p:cNvSpPr/>
            <p:nvPr/>
          </p:nvSpPr>
          <p:spPr bwMode="auto">
            <a:xfrm>
              <a:off x="11029746" y="2814490"/>
              <a:ext cx="170978" cy="141297"/>
            </a:xfrm>
            <a:custGeom>
              <a:avLst/>
              <a:gdLst>
                <a:gd name="T0" fmla="*/ 2147483646 w 173"/>
                <a:gd name="T1" fmla="*/ 2147483646 h 143"/>
                <a:gd name="T2" fmla="*/ 2147483646 w 173"/>
                <a:gd name="T3" fmla="*/ 2147483646 h 143"/>
                <a:gd name="T4" fmla="*/ 2147483646 w 173"/>
                <a:gd name="T5" fmla="*/ 2147483646 h 143"/>
                <a:gd name="T6" fmla="*/ 2147483646 w 173"/>
                <a:gd name="T7" fmla="*/ 2147483646 h 143"/>
                <a:gd name="T8" fmla="*/ 2147483646 w 173"/>
                <a:gd name="T9" fmla="*/ 2147483646 h 143"/>
                <a:gd name="T10" fmla="*/ 2147483646 w 173"/>
                <a:gd name="T11" fmla="*/ 2147483646 h 143"/>
                <a:gd name="T12" fmla="*/ 2147483646 w 173"/>
                <a:gd name="T13" fmla="*/ 2147483646 h 143"/>
                <a:gd name="T14" fmla="*/ 2147483646 w 173"/>
                <a:gd name="T15" fmla="*/ 2147483646 h 143"/>
                <a:gd name="T16" fmla="*/ 2147483646 w 173"/>
                <a:gd name="T17" fmla="*/ 2147483646 h 143"/>
                <a:gd name="T18" fmla="*/ 2147483646 w 173"/>
                <a:gd name="T19" fmla="*/ 2147483646 h 143"/>
                <a:gd name="T20" fmla="*/ 2147483646 w 173"/>
                <a:gd name="T21" fmla="*/ 2147483646 h 1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73" h="143">
                  <a:moveTo>
                    <a:pt x="31" y="29"/>
                  </a:moveTo>
                  <a:cubicBezTo>
                    <a:pt x="0" y="59"/>
                    <a:pt x="0" y="107"/>
                    <a:pt x="31" y="137"/>
                  </a:cubicBezTo>
                  <a:cubicBezTo>
                    <a:pt x="37" y="143"/>
                    <a:pt x="47" y="143"/>
                    <a:pt x="53" y="137"/>
                  </a:cubicBezTo>
                  <a:cubicBezTo>
                    <a:pt x="60" y="131"/>
                    <a:pt x="60" y="121"/>
                    <a:pt x="53" y="116"/>
                  </a:cubicBezTo>
                  <a:cubicBezTo>
                    <a:pt x="35" y="98"/>
                    <a:pt x="35" y="69"/>
                    <a:pt x="53" y="51"/>
                  </a:cubicBezTo>
                  <a:cubicBezTo>
                    <a:pt x="72" y="33"/>
                    <a:pt x="102" y="33"/>
                    <a:pt x="120" y="51"/>
                  </a:cubicBezTo>
                  <a:cubicBezTo>
                    <a:pt x="139" y="69"/>
                    <a:pt x="139" y="98"/>
                    <a:pt x="120" y="116"/>
                  </a:cubicBezTo>
                  <a:cubicBezTo>
                    <a:pt x="114" y="121"/>
                    <a:pt x="114" y="131"/>
                    <a:pt x="120" y="137"/>
                  </a:cubicBezTo>
                  <a:cubicBezTo>
                    <a:pt x="127" y="143"/>
                    <a:pt x="137" y="143"/>
                    <a:pt x="143" y="137"/>
                  </a:cubicBezTo>
                  <a:cubicBezTo>
                    <a:pt x="173" y="107"/>
                    <a:pt x="173" y="59"/>
                    <a:pt x="143" y="29"/>
                  </a:cubicBezTo>
                  <a:cubicBezTo>
                    <a:pt x="112" y="0"/>
                    <a:pt x="62" y="0"/>
                    <a:pt x="31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53" name="Freeform 17"/>
            <p:cNvSpPr/>
            <p:nvPr/>
          </p:nvSpPr>
          <p:spPr bwMode="auto">
            <a:xfrm>
              <a:off x="10972475" y="2752620"/>
              <a:ext cx="286357" cy="240790"/>
            </a:xfrm>
            <a:custGeom>
              <a:avLst/>
              <a:gdLst>
                <a:gd name="T0" fmla="*/ 2147483646 w 290"/>
                <a:gd name="T1" fmla="*/ 0 h 244"/>
                <a:gd name="T2" fmla="*/ 2147483646 w 290"/>
                <a:gd name="T3" fmla="*/ 2147483646 h 244"/>
                <a:gd name="T4" fmla="*/ 0 w 290"/>
                <a:gd name="T5" fmla="*/ 2147483646 h 244"/>
                <a:gd name="T6" fmla="*/ 2147483646 w 290"/>
                <a:gd name="T7" fmla="*/ 2147483646 h 244"/>
                <a:gd name="T8" fmla="*/ 2147483646 w 290"/>
                <a:gd name="T9" fmla="*/ 2147483646 h 244"/>
                <a:gd name="T10" fmla="*/ 2147483646 w 290"/>
                <a:gd name="T11" fmla="*/ 2147483646 h 244"/>
                <a:gd name="T12" fmla="*/ 2147483646 w 290"/>
                <a:gd name="T13" fmla="*/ 2147483646 h 244"/>
                <a:gd name="T14" fmla="*/ 2147483646 w 290"/>
                <a:gd name="T15" fmla="*/ 2147483646 h 244"/>
                <a:gd name="T16" fmla="*/ 2147483646 w 290"/>
                <a:gd name="T17" fmla="*/ 2147483646 h 244"/>
                <a:gd name="T18" fmla="*/ 2147483646 w 290"/>
                <a:gd name="T19" fmla="*/ 2147483646 h 244"/>
                <a:gd name="T20" fmla="*/ 2147483646 w 290"/>
                <a:gd name="T21" fmla="*/ 2147483646 h 244"/>
                <a:gd name="T22" fmla="*/ 2147483646 w 290"/>
                <a:gd name="T23" fmla="*/ 2147483646 h 244"/>
                <a:gd name="T24" fmla="*/ 2147483646 w 290"/>
                <a:gd name="T25" fmla="*/ 2147483646 h 244"/>
                <a:gd name="T26" fmla="*/ 2147483646 w 290"/>
                <a:gd name="T27" fmla="*/ 2147483646 h 244"/>
                <a:gd name="T28" fmla="*/ 2147483646 w 290"/>
                <a:gd name="T29" fmla="*/ 2147483646 h 244"/>
                <a:gd name="T30" fmla="*/ 2147483646 w 290"/>
                <a:gd name="T31" fmla="*/ 2147483646 h 244"/>
                <a:gd name="T32" fmla="*/ 2147483646 w 290"/>
                <a:gd name="T33" fmla="*/ 0 h 24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90" h="244">
                  <a:moveTo>
                    <a:pt x="145" y="0"/>
                  </a:moveTo>
                  <a:cubicBezTo>
                    <a:pt x="106" y="0"/>
                    <a:pt x="70" y="14"/>
                    <a:pt x="43" y="41"/>
                  </a:cubicBezTo>
                  <a:cubicBezTo>
                    <a:pt x="15" y="67"/>
                    <a:pt x="0" y="102"/>
                    <a:pt x="0" y="139"/>
                  </a:cubicBezTo>
                  <a:cubicBezTo>
                    <a:pt x="0" y="177"/>
                    <a:pt x="15" y="212"/>
                    <a:pt x="43" y="238"/>
                  </a:cubicBezTo>
                  <a:cubicBezTo>
                    <a:pt x="49" y="244"/>
                    <a:pt x="59" y="244"/>
                    <a:pt x="65" y="238"/>
                  </a:cubicBezTo>
                  <a:cubicBezTo>
                    <a:pt x="71" y="232"/>
                    <a:pt x="71" y="223"/>
                    <a:pt x="65" y="217"/>
                  </a:cubicBezTo>
                  <a:cubicBezTo>
                    <a:pt x="44" y="196"/>
                    <a:pt x="32" y="169"/>
                    <a:pt x="32" y="139"/>
                  </a:cubicBezTo>
                  <a:cubicBezTo>
                    <a:pt x="32" y="110"/>
                    <a:pt x="44" y="83"/>
                    <a:pt x="65" y="62"/>
                  </a:cubicBezTo>
                  <a:cubicBezTo>
                    <a:pt x="86" y="42"/>
                    <a:pt x="115" y="30"/>
                    <a:pt x="145" y="30"/>
                  </a:cubicBezTo>
                  <a:cubicBezTo>
                    <a:pt x="175" y="30"/>
                    <a:pt x="203" y="42"/>
                    <a:pt x="225" y="62"/>
                  </a:cubicBezTo>
                  <a:cubicBezTo>
                    <a:pt x="246" y="83"/>
                    <a:pt x="258" y="110"/>
                    <a:pt x="258" y="139"/>
                  </a:cubicBezTo>
                  <a:cubicBezTo>
                    <a:pt x="258" y="169"/>
                    <a:pt x="246" y="196"/>
                    <a:pt x="225" y="217"/>
                  </a:cubicBezTo>
                  <a:cubicBezTo>
                    <a:pt x="219" y="223"/>
                    <a:pt x="219" y="232"/>
                    <a:pt x="225" y="238"/>
                  </a:cubicBezTo>
                  <a:cubicBezTo>
                    <a:pt x="231" y="244"/>
                    <a:pt x="241" y="244"/>
                    <a:pt x="247" y="238"/>
                  </a:cubicBezTo>
                  <a:cubicBezTo>
                    <a:pt x="274" y="212"/>
                    <a:pt x="289" y="177"/>
                    <a:pt x="289" y="139"/>
                  </a:cubicBezTo>
                  <a:cubicBezTo>
                    <a:pt x="290" y="102"/>
                    <a:pt x="274" y="67"/>
                    <a:pt x="247" y="41"/>
                  </a:cubicBezTo>
                  <a:cubicBezTo>
                    <a:pt x="220" y="14"/>
                    <a:pt x="184" y="0"/>
                    <a:pt x="1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54" name="Freeform 18"/>
            <p:cNvSpPr>
              <a:spLocks noEditPoints="1"/>
            </p:cNvSpPr>
            <p:nvPr/>
          </p:nvSpPr>
          <p:spPr bwMode="auto">
            <a:xfrm>
              <a:off x="11026820" y="2962893"/>
              <a:ext cx="185609" cy="339447"/>
            </a:xfrm>
            <a:custGeom>
              <a:avLst/>
              <a:gdLst>
                <a:gd name="T0" fmla="*/ 2147483646 w 188"/>
                <a:gd name="T1" fmla="*/ 2147483646 h 344"/>
                <a:gd name="T2" fmla="*/ 2147483646 w 188"/>
                <a:gd name="T3" fmla="*/ 2147483646 h 344"/>
                <a:gd name="T4" fmla="*/ 2147483646 w 188"/>
                <a:gd name="T5" fmla="*/ 2147483646 h 344"/>
                <a:gd name="T6" fmla="*/ 2147483646 w 188"/>
                <a:gd name="T7" fmla="*/ 2147483646 h 344"/>
                <a:gd name="T8" fmla="*/ 2147483646 w 188"/>
                <a:gd name="T9" fmla="*/ 2147483646 h 344"/>
                <a:gd name="T10" fmla="*/ 2147483646 w 188"/>
                <a:gd name="T11" fmla="*/ 2147483646 h 344"/>
                <a:gd name="T12" fmla="*/ 2147483646 w 188"/>
                <a:gd name="T13" fmla="*/ 2147483646 h 344"/>
                <a:gd name="T14" fmla="*/ 2147483646 w 188"/>
                <a:gd name="T15" fmla="*/ 2147483646 h 344"/>
                <a:gd name="T16" fmla="*/ 2147483646 w 188"/>
                <a:gd name="T17" fmla="*/ 2147483646 h 344"/>
                <a:gd name="T18" fmla="*/ 2147483646 w 188"/>
                <a:gd name="T19" fmla="*/ 2147483646 h 344"/>
                <a:gd name="T20" fmla="*/ 2147483646 w 188"/>
                <a:gd name="T21" fmla="*/ 2147483646 h 344"/>
                <a:gd name="T22" fmla="*/ 2147483646 w 188"/>
                <a:gd name="T23" fmla="*/ 2147483646 h 344"/>
                <a:gd name="T24" fmla="*/ 2147483646 w 188"/>
                <a:gd name="T25" fmla="*/ 2147483646 h 344"/>
                <a:gd name="T26" fmla="*/ 2147483646 w 188"/>
                <a:gd name="T27" fmla="*/ 2147483646 h 344"/>
                <a:gd name="T28" fmla="*/ 2147483646 w 188"/>
                <a:gd name="T29" fmla="*/ 2147483646 h 344"/>
                <a:gd name="T30" fmla="*/ 2147483646 w 188"/>
                <a:gd name="T31" fmla="*/ 2147483646 h 344"/>
                <a:gd name="T32" fmla="*/ 2147483646 w 188"/>
                <a:gd name="T33" fmla="*/ 2147483646 h 344"/>
                <a:gd name="T34" fmla="*/ 2147483646 w 188"/>
                <a:gd name="T35" fmla="*/ 2147483646 h 344"/>
                <a:gd name="T36" fmla="*/ 2147483646 w 188"/>
                <a:gd name="T37" fmla="*/ 2147483646 h 344"/>
                <a:gd name="T38" fmla="*/ 2147483646 w 188"/>
                <a:gd name="T39" fmla="*/ 2147483646 h 344"/>
                <a:gd name="T40" fmla="*/ 2147483646 w 188"/>
                <a:gd name="T41" fmla="*/ 2147483646 h 344"/>
                <a:gd name="T42" fmla="*/ 2147483646 w 188"/>
                <a:gd name="T43" fmla="*/ 2147483646 h 344"/>
                <a:gd name="T44" fmla="*/ 2147483646 w 188"/>
                <a:gd name="T45" fmla="*/ 2147483646 h 3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88" h="344">
                  <a:moveTo>
                    <a:pt x="187" y="328"/>
                  </a:moveTo>
                  <a:cubicBezTo>
                    <a:pt x="121" y="13"/>
                    <a:pt x="121" y="13"/>
                    <a:pt x="121" y="13"/>
                  </a:cubicBezTo>
                  <a:cubicBezTo>
                    <a:pt x="120" y="5"/>
                    <a:pt x="109" y="0"/>
                    <a:pt x="97" y="1"/>
                  </a:cubicBezTo>
                  <a:cubicBezTo>
                    <a:pt x="96" y="1"/>
                    <a:pt x="95" y="1"/>
                    <a:pt x="94" y="1"/>
                  </a:cubicBezTo>
                  <a:cubicBezTo>
                    <a:pt x="93" y="1"/>
                    <a:pt x="92" y="1"/>
                    <a:pt x="91" y="1"/>
                  </a:cubicBezTo>
                  <a:cubicBezTo>
                    <a:pt x="79" y="0"/>
                    <a:pt x="68" y="5"/>
                    <a:pt x="67" y="13"/>
                  </a:cubicBezTo>
                  <a:cubicBezTo>
                    <a:pt x="1" y="328"/>
                    <a:pt x="1" y="328"/>
                    <a:pt x="1" y="328"/>
                  </a:cubicBezTo>
                  <a:cubicBezTo>
                    <a:pt x="0" y="335"/>
                    <a:pt x="8" y="342"/>
                    <a:pt x="20" y="343"/>
                  </a:cubicBezTo>
                  <a:cubicBezTo>
                    <a:pt x="32" y="344"/>
                    <a:pt x="43" y="338"/>
                    <a:pt x="45" y="331"/>
                  </a:cubicBezTo>
                  <a:cubicBezTo>
                    <a:pt x="51" y="302"/>
                    <a:pt x="51" y="302"/>
                    <a:pt x="51" y="302"/>
                  </a:cubicBezTo>
                  <a:cubicBezTo>
                    <a:pt x="54" y="301"/>
                    <a:pt x="57" y="300"/>
                    <a:pt x="60" y="299"/>
                  </a:cubicBezTo>
                  <a:cubicBezTo>
                    <a:pt x="129" y="260"/>
                    <a:pt x="129" y="260"/>
                    <a:pt x="129" y="260"/>
                  </a:cubicBezTo>
                  <a:cubicBezTo>
                    <a:pt x="143" y="331"/>
                    <a:pt x="143" y="331"/>
                    <a:pt x="143" y="331"/>
                  </a:cubicBezTo>
                  <a:cubicBezTo>
                    <a:pt x="145" y="338"/>
                    <a:pt x="156" y="344"/>
                    <a:pt x="168" y="343"/>
                  </a:cubicBezTo>
                  <a:cubicBezTo>
                    <a:pt x="180" y="342"/>
                    <a:pt x="188" y="335"/>
                    <a:pt x="187" y="328"/>
                  </a:cubicBezTo>
                  <a:close/>
                  <a:moveTo>
                    <a:pt x="116" y="201"/>
                  </a:moveTo>
                  <a:cubicBezTo>
                    <a:pt x="76" y="179"/>
                    <a:pt x="76" y="179"/>
                    <a:pt x="76" y="179"/>
                  </a:cubicBezTo>
                  <a:cubicBezTo>
                    <a:pt x="94" y="94"/>
                    <a:pt x="94" y="94"/>
                    <a:pt x="94" y="94"/>
                  </a:cubicBezTo>
                  <a:lnTo>
                    <a:pt x="116" y="201"/>
                  </a:lnTo>
                  <a:close/>
                  <a:moveTo>
                    <a:pt x="59" y="263"/>
                  </a:moveTo>
                  <a:cubicBezTo>
                    <a:pt x="70" y="211"/>
                    <a:pt x="70" y="211"/>
                    <a:pt x="70" y="211"/>
                  </a:cubicBezTo>
                  <a:cubicBezTo>
                    <a:pt x="110" y="234"/>
                    <a:pt x="110" y="234"/>
                    <a:pt x="110" y="234"/>
                  </a:cubicBezTo>
                  <a:lnTo>
                    <a:pt x="59" y="26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07" name="组合 106"/>
          <p:cNvGrpSpPr/>
          <p:nvPr/>
        </p:nvGrpSpPr>
        <p:grpSpPr bwMode="auto">
          <a:xfrm>
            <a:off x="7348538" y="3270250"/>
            <a:ext cx="677862" cy="677863"/>
            <a:chOff x="11459590" y="4056295"/>
            <a:chExt cx="677223" cy="678477"/>
          </a:xfrm>
        </p:grpSpPr>
        <p:sp>
          <p:nvSpPr>
            <p:cNvPr id="108" name="Freeform 20"/>
            <p:cNvSpPr/>
            <p:nvPr/>
          </p:nvSpPr>
          <p:spPr bwMode="auto">
            <a:xfrm>
              <a:off x="11459590" y="4056295"/>
              <a:ext cx="677223" cy="678477"/>
            </a:xfrm>
            <a:custGeom>
              <a:avLst/>
              <a:gdLst>
                <a:gd name="T0" fmla="*/ 686 w 686"/>
                <a:gd name="T1" fmla="*/ 624 h 687"/>
                <a:gd name="T2" fmla="*/ 624 w 686"/>
                <a:gd name="T3" fmla="*/ 687 h 687"/>
                <a:gd name="T4" fmla="*/ 62 w 686"/>
                <a:gd name="T5" fmla="*/ 687 h 687"/>
                <a:gd name="T6" fmla="*/ 0 w 686"/>
                <a:gd name="T7" fmla="*/ 624 h 687"/>
                <a:gd name="T8" fmla="*/ 0 w 686"/>
                <a:gd name="T9" fmla="*/ 62 h 687"/>
                <a:gd name="T10" fmla="*/ 62 w 686"/>
                <a:gd name="T11" fmla="*/ 0 h 687"/>
                <a:gd name="T12" fmla="*/ 624 w 686"/>
                <a:gd name="T13" fmla="*/ 0 h 687"/>
                <a:gd name="T14" fmla="*/ 686 w 686"/>
                <a:gd name="T15" fmla="*/ 62 h 687"/>
                <a:gd name="T16" fmla="*/ 686 w 686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687">
                  <a:moveTo>
                    <a:pt x="686" y="624"/>
                  </a:moveTo>
                  <a:cubicBezTo>
                    <a:pt x="686" y="659"/>
                    <a:pt x="659" y="687"/>
                    <a:pt x="624" y="687"/>
                  </a:cubicBezTo>
                  <a:cubicBezTo>
                    <a:pt x="62" y="687"/>
                    <a:pt x="62" y="687"/>
                    <a:pt x="62" y="687"/>
                  </a:cubicBezTo>
                  <a:cubicBezTo>
                    <a:pt x="28" y="687"/>
                    <a:pt x="0" y="659"/>
                    <a:pt x="0" y="62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59" y="0"/>
                    <a:pt x="686" y="28"/>
                    <a:pt x="686" y="62"/>
                  </a:cubicBezTo>
                  <a:lnTo>
                    <a:pt x="686" y="624"/>
                  </a:lnTo>
                  <a:close/>
                </a:path>
              </a:pathLst>
            </a:cu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48" name="Freeform 21"/>
            <p:cNvSpPr/>
            <p:nvPr/>
          </p:nvSpPr>
          <p:spPr bwMode="auto">
            <a:xfrm>
              <a:off x="11626388" y="4162059"/>
              <a:ext cx="510425" cy="572713"/>
            </a:xfrm>
            <a:custGeom>
              <a:avLst/>
              <a:gdLst>
                <a:gd name="T0" fmla="*/ 2147483646 w 517"/>
                <a:gd name="T1" fmla="*/ 2147483646 h 580"/>
                <a:gd name="T2" fmla="*/ 2147483646 w 517"/>
                <a:gd name="T3" fmla="*/ 2147483646 h 580"/>
                <a:gd name="T4" fmla="*/ 2147483646 w 517"/>
                <a:gd name="T5" fmla="*/ 2147483646 h 580"/>
                <a:gd name="T6" fmla="*/ 2147483646 w 517"/>
                <a:gd name="T7" fmla="*/ 2147483646 h 580"/>
                <a:gd name="T8" fmla="*/ 2147483646 w 517"/>
                <a:gd name="T9" fmla="*/ 2147483646 h 580"/>
                <a:gd name="T10" fmla="*/ 2147483646 w 517"/>
                <a:gd name="T11" fmla="*/ 0 h 580"/>
                <a:gd name="T12" fmla="*/ 2147483646 w 517"/>
                <a:gd name="T13" fmla="*/ 2147483646 h 580"/>
                <a:gd name="T14" fmla="*/ 2147483646 w 517"/>
                <a:gd name="T15" fmla="*/ 2147483646 h 580"/>
                <a:gd name="T16" fmla="*/ 2147483646 w 517"/>
                <a:gd name="T17" fmla="*/ 2147483646 h 580"/>
                <a:gd name="T18" fmla="*/ 2147483646 w 517"/>
                <a:gd name="T19" fmla="*/ 2147483646 h 580"/>
                <a:gd name="T20" fmla="*/ 2147483646 w 517"/>
                <a:gd name="T21" fmla="*/ 2147483646 h 580"/>
                <a:gd name="T22" fmla="*/ 2147483646 w 517"/>
                <a:gd name="T23" fmla="*/ 2147483646 h 580"/>
                <a:gd name="T24" fmla="*/ 2147483646 w 517"/>
                <a:gd name="T25" fmla="*/ 2147483646 h 580"/>
                <a:gd name="T26" fmla="*/ 2147483646 w 517"/>
                <a:gd name="T27" fmla="*/ 2147483646 h 580"/>
                <a:gd name="T28" fmla="*/ 2147483646 w 517"/>
                <a:gd name="T29" fmla="*/ 2147483646 h 580"/>
                <a:gd name="T30" fmla="*/ 2147483646 w 517"/>
                <a:gd name="T31" fmla="*/ 2147483646 h 580"/>
                <a:gd name="T32" fmla="*/ 2147483646 w 517"/>
                <a:gd name="T33" fmla="*/ 2147483646 h 580"/>
                <a:gd name="T34" fmla="*/ 2147483646 w 517"/>
                <a:gd name="T35" fmla="*/ 2147483646 h 580"/>
                <a:gd name="T36" fmla="*/ 2147483646 w 517"/>
                <a:gd name="T37" fmla="*/ 2147483646 h 580"/>
                <a:gd name="T38" fmla="*/ 2147483646 w 517"/>
                <a:gd name="T39" fmla="*/ 2147483646 h 580"/>
                <a:gd name="T40" fmla="*/ 2147483646 w 517"/>
                <a:gd name="T41" fmla="*/ 2147483646 h 580"/>
                <a:gd name="T42" fmla="*/ 2147483646 w 517"/>
                <a:gd name="T43" fmla="*/ 2147483646 h 580"/>
                <a:gd name="T44" fmla="*/ 2147483646 w 517"/>
                <a:gd name="T45" fmla="*/ 2147483646 h 580"/>
                <a:gd name="T46" fmla="*/ 2147483646 w 517"/>
                <a:gd name="T47" fmla="*/ 2147483646 h 580"/>
                <a:gd name="T48" fmla="*/ 2147483646 w 517"/>
                <a:gd name="T49" fmla="*/ 2147483646 h 580"/>
                <a:gd name="T50" fmla="*/ 0 w 517"/>
                <a:gd name="T51" fmla="*/ 2147483646 h 580"/>
                <a:gd name="T52" fmla="*/ 2147483646 w 517"/>
                <a:gd name="T53" fmla="*/ 2147483646 h 580"/>
                <a:gd name="T54" fmla="*/ 2147483646 w 517"/>
                <a:gd name="T55" fmla="*/ 2147483646 h 580"/>
                <a:gd name="T56" fmla="*/ 2147483646 w 517"/>
                <a:gd name="T57" fmla="*/ 2147483646 h 5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17" h="580">
                  <a:moveTo>
                    <a:pt x="517" y="517"/>
                  </a:moveTo>
                  <a:cubicBezTo>
                    <a:pt x="517" y="207"/>
                    <a:pt x="517" y="207"/>
                    <a:pt x="517" y="207"/>
                  </a:cubicBezTo>
                  <a:cubicBezTo>
                    <a:pt x="399" y="88"/>
                    <a:pt x="399" y="88"/>
                    <a:pt x="399" y="88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63" y="44"/>
                    <a:pt x="316" y="27"/>
                    <a:pt x="293" y="21"/>
                  </a:cubicBezTo>
                  <a:cubicBezTo>
                    <a:pt x="272" y="0"/>
                    <a:pt x="272" y="0"/>
                    <a:pt x="272" y="0"/>
                  </a:cubicBezTo>
                  <a:cubicBezTo>
                    <a:pt x="253" y="19"/>
                    <a:pt x="253" y="19"/>
                    <a:pt x="253" y="19"/>
                  </a:cubicBezTo>
                  <a:cubicBezTo>
                    <a:pt x="307" y="73"/>
                    <a:pt x="307" y="73"/>
                    <a:pt x="307" y="73"/>
                  </a:cubicBezTo>
                  <a:cubicBezTo>
                    <a:pt x="307" y="93"/>
                    <a:pt x="307" y="93"/>
                    <a:pt x="307" y="93"/>
                  </a:cubicBezTo>
                  <a:cubicBezTo>
                    <a:pt x="301" y="93"/>
                    <a:pt x="301" y="93"/>
                    <a:pt x="301" y="93"/>
                  </a:cubicBezTo>
                  <a:cubicBezTo>
                    <a:pt x="270" y="62"/>
                    <a:pt x="270" y="62"/>
                    <a:pt x="270" y="62"/>
                  </a:cubicBezTo>
                  <a:cubicBezTo>
                    <a:pt x="251" y="81"/>
                    <a:pt x="251" y="81"/>
                    <a:pt x="251" y="81"/>
                  </a:cubicBezTo>
                  <a:cubicBezTo>
                    <a:pt x="281" y="111"/>
                    <a:pt x="281" y="111"/>
                    <a:pt x="281" y="111"/>
                  </a:cubicBezTo>
                  <a:cubicBezTo>
                    <a:pt x="281" y="145"/>
                    <a:pt x="281" y="145"/>
                    <a:pt x="281" y="145"/>
                  </a:cubicBezTo>
                  <a:cubicBezTo>
                    <a:pt x="263" y="127"/>
                    <a:pt x="263" y="127"/>
                    <a:pt x="263" y="12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19" y="167"/>
                    <a:pt x="219" y="167"/>
                    <a:pt x="219" y="167"/>
                  </a:cubicBezTo>
                  <a:cubicBezTo>
                    <a:pt x="219" y="172"/>
                    <a:pt x="219" y="172"/>
                    <a:pt x="219" y="172"/>
                  </a:cubicBezTo>
                  <a:cubicBezTo>
                    <a:pt x="209" y="181"/>
                    <a:pt x="209" y="181"/>
                    <a:pt x="209" y="181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337"/>
                    <a:pt x="219" y="337"/>
                    <a:pt x="219" y="337"/>
                  </a:cubicBezTo>
                  <a:cubicBezTo>
                    <a:pt x="123" y="279"/>
                    <a:pt x="123" y="279"/>
                    <a:pt x="123" y="279"/>
                  </a:cubicBezTo>
                  <a:cubicBezTo>
                    <a:pt x="133" y="467"/>
                    <a:pt x="133" y="467"/>
                    <a:pt x="133" y="467"/>
                  </a:cubicBezTo>
                  <a:cubicBezTo>
                    <a:pt x="48" y="481"/>
                    <a:pt x="48" y="481"/>
                    <a:pt x="48" y="481"/>
                  </a:cubicBezTo>
                  <a:cubicBezTo>
                    <a:pt x="20" y="467"/>
                    <a:pt x="20" y="467"/>
                    <a:pt x="20" y="467"/>
                  </a:cubicBezTo>
                  <a:cubicBezTo>
                    <a:pt x="0" y="487"/>
                    <a:pt x="0" y="487"/>
                    <a:pt x="0" y="487"/>
                  </a:cubicBezTo>
                  <a:cubicBezTo>
                    <a:pt x="93" y="580"/>
                    <a:pt x="93" y="580"/>
                    <a:pt x="93" y="580"/>
                  </a:cubicBezTo>
                  <a:cubicBezTo>
                    <a:pt x="455" y="580"/>
                    <a:pt x="455" y="580"/>
                    <a:pt x="455" y="580"/>
                  </a:cubicBezTo>
                  <a:cubicBezTo>
                    <a:pt x="490" y="580"/>
                    <a:pt x="517" y="552"/>
                    <a:pt x="517" y="517"/>
                  </a:cubicBezTo>
                  <a:close/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10" name="组合 109"/>
            <p:cNvGrpSpPr/>
            <p:nvPr/>
          </p:nvGrpSpPr>
          <p:grpSpPr>
            <a:xfrm>
              <a:off x="11616773" y="4162059"/>
              <a:ext cx="411768" cy="488687"/>
              <a:chOff x="7729538" y="-5087937"/>
              <a:chExt cx="1563688" cy="1855788"/>
            </a:xfrm>
            <a:solidFill>
              <a:schemeClr val="bg1"/>
            </a:solidFill>
          </p:grpSpPr>
          <p:sp>
            <p:nvSpPr>
              <p:cNvPr id="111" name="Freeform 22"/>
              <p:cNvSpPr/>
              <p:nvPr/>
            </p:nvSpPr>
            <p:spPr bwMode="auto">
              <a:xfrm>
                <a:off x="7729538" y="-4862512"/>
                <a:ext cx="1333500" cy="1630363"/>
              </a:xfrm>
              <a:custGeom>
                <a:avLst/>
                <a:gdLst>
                  <a:gd name="T0" fmla="*/ 246 w 356"/>
                  <a:gd name="T1" fmla="*/ 389 h 435"/>
                  <a:gd name="T2" fmla="*/ 171 w 356"/>
                  <a:gd name="T3" fmla="*/ 389 h 435"/>
                  <a:gd name="T4" fmla="*/ 172 w 356"/>
                  <a:gd name="T5" fmla="*/ 385 h 435"/>
                  <a:gd name="T6" fmla="*/ 172 w 356"/>
                  <a:gd name="T7" fmla="*/ 323 h 435"/>
                  <a:gd name="T8" fmla="*/ 356 w 356"/>
                  <a:gd name="T9" fmla="*/ 272 h 435"/>
                  <a:gd name="T10" fmla="*/ 77 w 356"/>
                  <a:gd name="T11" fmla="*/ 0 h 435"/>
                  <a:gd name="T12" fmla="*/ 77 w 356"/>
                  <a:gd name="T13" fmla="*/ 272 h 435"/>
                  <a:gd name="T14" fmla="*/ 103 w 356"/>
                  <a:gd name="T15" fmla="*/ 293 h 435"/>
                  <a:gd name="T16" fmla="*/ 103 w 356"/>
                  <a:gd name="T17" fmla="*/ 385 h 435"/>
                  <a:gd name="T18" fmla="*/ 103 w 356"/>
                  <a:gd name="T19" fmla="*/ 389 h 435"/>
                  <a:gd name="T20" fmla="*/ 28 w 356"/>
                  <a:gd name="T21" fmla="*/ 389 h 435"/>
                  <a:gd name="T22" fmla="*/ 5 w 356"/>
                  <a:gd name="T23" fmla="*/ 412 h 435"/>
                  <a:gd name="T24" fmla="*/ 28 w 356"/>
                  <a:gd name="T25" fmla="*/ 435 h 435"/>
                  <a:gd name="T26" fmla="*/ 246 w 356"/>
                  <a:gd name="T27" fmla="*/ 435 h 435"/>
                  <a:gd name="T28" fmla="*/ 270 w 356"/>
                  <a:gd name="T29" fmla="*/ 412 h 435"/>
                  <a:gd name="T30" fmla="*/ 246 w 356"/>
                  <a:gd name="T31" fmla="*/ 389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6" h="435">
                    <a:moveTo>
                      <a:pt x="246" y="389"/>
                    </a:moveTo>
                    <a:cubicBezTo>
                      <a:pt x="171" y="389"/>
                      <a:pt x="171" y="389"/>
                      <a:pt x="171" y="389"/>
                    </a:cubicBezTo>
                    <a:cubicBezTo>
                      <a:pt x="171" y="387"/>
                      <a:pt x="172" y="386"/>
                      <a:pt x="172" y="385"/>
                    </a:cubicBezTo>
                    <a:cubicBezTo>
                      <a:pt x="172" y="323"/>
                      <a:pt x="172" y="323"/>
                      <a:pt x="172" y="323"/>
                    </a:cubicBezTo>
                    <a:cubicBezTo>
                      <a:pt x="236" y="338"/>
                      <a:pt x="306" y="321"/>
                      <a:pt x="356" y="272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0" y="75"/>
                      <a:pt x="0" y="197"/>
                      <a:pt x="77" y="272"/>
                    </a:cubicBezTo>
                    <a:cubicBezTo>
                      <a:pt x="85" y="280"/>
                      <a:pt x="94" y="287"/>
                      <a:pt x="103" y="293"/>
                    </a:cubicBezTo>
                    <a:cubicBezTo>
                      <a:pt x="103" y="385"/>
                      <a:pt x="103" y="385"/>
                      <a:pt x="103" y="385"/>
                    </a:cubicBezTo>
                    <a:cubicBezTo>
                      <a:pt x="103" y="386"/>
                      <a:pt x="103" y="387"/>
                      <a:pt x="103" y="389"/>
                    </a:cubicBezTo>
                    <a:cubicBezTo>
                      <a:pt x="28" y="389"/>
                      <a:pt x="28" y="389"/>
                      <a:pt x="28" y="389"/>
                    </a:cubicBezTo>
                    <a:cubicBezTo>
                      <a:pt x="15" y="389"/>
                      <a:pt x="5" y="399"/>
                      <a:pt x="5" y="412"/>
                    </a:cubicBezTo>
                    <a:cubicBezTo>
                      <a:pt x="5" y="424"/>
                      <a:pt x="15" y="435"/>
                      <a:pt x="28" y="435"/>
                    </a:cubicBezTo>
                    <a:cubicBezTo>
                      <a:pt x="246" y="435"/>
                      <a:pt x="246" y="435"/>
                      <a:pt x="246" y="435"/>
                    </a:cubicBezTo>
                    <a:cubicBezTo>
                      <a:pt x="259" y="435"/>
                      <a:pt x="270" y="424"/>
                      <a:pt x="270" y="412"/>
                    </a:cubicBezTo>
                    <a:cubicBezTo>
                      <a:pt x="270" y="399"/>
                      <a:pt x="259" y="389"/>
                      <a:pt x="246" y="3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2" name="Freeform 23"/>
              <p:cNvSpPr/>
              <p:nvPr/>
            </p:nvSpPr>
            <p:spPr bwMode="auto">
              <a:xfrm>
                <a:off x="8516938" y="-4641850"/>
                <a:ext cx="317500" cy="311150"/>
              </a:xfrm>
              <a:custGeom>
                <a:avLst/>
                <a:gdLst>
                  <a:gd name="T0" fmla="*/ 70 w 85"/>
                  <a:gd name="T1" fmla="*/ 68 h 83"/>
                  <a:gd name="T2" fmla="*/ 15 w 85"/>
                  <a:gd name="T3" fmla="*/ 68 h 83"/>
                  <a:gd name="T4" fmla="*/ 15 w 85"/>
                  <a:gd name="T5" fmla="*/ 15 h 83"/>
                  <a:gd name="T6" fmla="*/ 70 w 85"/>
                  <a:gd name="T7" fmla="*/ 15 h 83"/>
                  <a:gd name="T8" fmla="*/ 70 w 85"/>
                  <a:gd name="T9" fmla="*/ 68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3">
                    <a:moveTo>
                      <a:pt x="70" y="68"/>
                    </a:moveTo>
                    <a:cubicBezTo>
                      <a:pt x="55" y="83"/>
                      <a:pt x="31" y="83"/>
                      <a:pt x="15" y="68"/>
                    </a:cubicBezTo>
                    <a:cubicBezTo>
                      <a:pt x="0" y="53"/>
                      <a:pt x="0" y="30"/>
                      <a:pt x="15" y="15"/>
                    </a:cubicBezTo>
                    <a:cubicBezTo>
                      <a:pt x="31" y="0"/>
                      <a:pt x="55" y="0"/>
                      <a:pt x="70" y="15"/>
                    </a:cubicBezTo>
                    <a:cubicBezTo>
                      <a:pt x="85" y="30"/>
                      <a:pt x="85" y="53"/>
                      <a:pt x="70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3" name="Freeform 24"/>
              <p:cNvSpPr/>
              <p:nvPr/>
            </p:nvSpPr>
            <p:spPr bwMode="auto">
              <a:xfrm>
                <a:off x="8696326" y="-5087937"/>
                <a:ext cx="596900" cy="581025"/>
              </a:xfrm>
              <a:custGeom>
                <a:avLst/>
                <a:gdLst>
                  <a:gd name="T0" fmla="*/ 13 w 159"/>
                  <a:gd name="T1" fmla="*/ 0 h 155"/>
                  <a:gd name="T2" fmla="*/ 0 w 159"/>
                  <a:gd name="T3" fmla="*/ 13 h 155"/>
                  <a:gd name="T4" fmla="*/ 13 w 159"/>
                  <a:gd name="T5" fmla="*/ 25 h 155"/>
                  <a:gd name="T6" fmla="*/ 98 w 159"/>
                  <a:gd name="T7" fmla="*/ 60 h 155"/>
                  <a:gd name="T8" fmla="*/ 133 w 159"/>
                  <a:gd name="T9" fmla="*/ 142 h 155"/>
                  <a:gd name="T10" fmla="*/ 146 w 159"/>
                  <a:gd name="T11" fmla="*/ 155 h 155"/>
                  <a:gd name="T12" fmla="*/ 159 w 159"/>
                  <a:gd name="T13" fmla="*/ 142 h 155"/>
                  <a:gd name="T14" fmla="*/ 116 w 159"/>
                  <a:gd name="T15" fmla="*/ 42 h 155"/>
                  <a:gd name="T16" fmla="*/ 13 w 159"/>
                  <a:gd name="T17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9" h="155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5"/>
                      <a:pt x="13" y="25"/>
                    </a:cubicBezTo>
                    <a:cubicBezTo>
                      <a:pt x="45" y="25"/>
                      <a:pt x="75" y="37"/>
                      <a:pt x="98" y="60"/>
                    </a:cubicBezTo>
                    <a:cubicBezTo>
                      <a:pt x="121" y="82"/>
                      <a:pt x="133" y="111"/>
                      <a:pt x="133" y="142"/>
                    </a:cubicBezTo>
                    <a:cubicBezTo>
                      <a:pt x="133" y="149"/>
                      <a:pt x="139" y="155"/>
                      <a:pt x="146" y="155"/>
                    </a:cubicBezTo>
                    <a:cubicBezTo>
                      <a:pt x="153" y="155"/>
                      <a:pt x="159" y="149"/>
                      <a:pt x="159" y="142"/>
                    </a:cubicBezTo>
                    <a:cubicBezTo>
                      <a:pt x="159" y="104"/>
                      <a:pt x="144" y="69"/>
                      <a:pt x="116" y="42"/>
                    </a:cubicBezTo>
                    <a:cubicBezTo>
                      <a:pt x="89" y="15"/>
                      <a:pt x="52" y="0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4" name="Freeform 25"/>
              <p:cNvSpPr/>
              <p:nvPr/>
            </p:nvSpPr>
            <p:spPr bwMode="auto">
              <a:xfrm>
                <a:off x="8696326" y="-4851400"/>
                <a:ext cx="352425" cy="344488"/>
              </a:xfrm>
              <a:custGeom>
                <a:avLst/>
                <a:gdLst>
                  <a:gd name="T0" fmla="*/ 13 w 94"/>
                  <a:gd name="T1" fmla="*/ 0 h 92"/>
                  <a:gd name="T2" fmla="*/ 0 w 94"/>
                  <a:gd name="T3" fmla="*/ 12 h 92"/>
                  <a:gd name="T4" fmla="*/ 13 w 94"/>
                  <a:gd name="T5" fmla="*/ 25 h 92"/>
                  <a:gd name="T6" fmla="*/ 69 w 94"/>
                  <a:gd name="T7" fmla="*/ 79 h 92"/>
                  <a:gd name="T8" fmla="*/ 82 w 94"/>
                  <a:gd name="T9" fmla="*/ 92 h 92"/>
                  <a:gd name="T10" fmla="*/ 94 w 94"/>
                  <a:gd name="T11" fmla="*/ 79 h 92"/>
                  <a:gd name="T12" fmla="*/ 13 w 94"/>
                  <a:gd name="T13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" h="92">
                    <a:moveTo>
                      <a:pt x="13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9"/>
                      <a:pt x="6" y="25"/>
                      <a:pt x="13" y="25"/>
                    </a:cubicBezTo>
                    <a:cubicBezTo>
                      <a:pt x="44" y="25"/>
                      <a:pt x="69" y="49"/>
                      <a:pt x="69" y="79"/>
                    </a:cubicBezTo>
                    <a:cubicBezTo>
                      <a:pt x="69" y="86"/>
                      <a:pt x="75" y="92"/>
                      <a:pt x="82" y="92"/>
                    </a:cubicBezTo>
                    <a:cubicBezTo>
                      <a:pt x="89" y="92"/>
                      <a:pt x="94" y="86"/>
                      <a:pt x="94" y="79"/>
                    </a:cubicBezTo>
                    <a:cubicBezTo>
                      <a:pt x="94" y="36"/>
                      <a:pt x="58" y="0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15" name="组合 114"/>
          <p:cNvGrpSpPr/>
          <p:nvPr/>
        </p:nvGrpSpPr>
        <p:grpSpPr bwMode="auto">
          <a:xfrm>
            <a:off x="3260725" y="3270250"/>
            <a:ext cx="679450" cy="677863"/>
            <a:chOff x="10259719" y="4229212"/>
            <a:chExt cx="678477" cy="678477"/>
          </a:xfrm>
        </p:grpSpPr>
        <p:sp>
          <p:nvSpPr>
            <p:cNvPr id="116" name="Freeform 26"/>
            <p:cNvSpPr/>
            <p:nvPr/>
          </p:nvSpPr>
          <p:spPr bwMode="auto">
            <a:xfrm>
              <a:off x="10259719" y="4229212"/>
              <a:ext cx="678477" cy="678477"/>
            </a:xfrm>
            <a:custGeom>
              <a:avLst/>
              <a:gdLst>
                <a:gd name="T0" fmla="*/ 687 w 687"/>
                <a:gd name="T1" fmla="*/ 624 h 687"/>
                <a:gd name="T2" fmla="*/ 624 w 687"/>
                <a:gd name="T3" fmla="*/ 687 h 687"/>
                <a:gd name="T4" fmla="*/ 62 w 687"/>
                <a:gd name="T5" fmla="*/ 687 h 687"/>
                <a:gd name="T6" fmla="*/ 0 w 687"/>
                <a:gd name="T7" fmla="*/ 624 h 687"/>
                <a:gd name="T8" fmla="*/ 0 w 687"/>
                <a:gd name="T9" fmla="*/ 62 h 687"/>
                <a:gd name="T10" fmla="*/ 62 w 687"/>
                <a:gd name="T11" fmla="*/ 0 h 687"/>
                <a:gd name="T12" fmla="*/ 624 w 687"/>
                <a:gd name="T13" fmla="*/ 0 h 687"/>
                <a:gd name="T14" fmla="*/ 687 w 687"/>
                <a:gd name="T15" fmla="*/ 62 h 687"/>
                <a:gd name="T16" fmla="*/ 687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687" y="624"/>
                  </a:moveTo>
                  <a:cubicBezTo>
                    <a:pt x="687" y="659"/>
                    <a:pt x="659" y="687"/>
                    <a:pt x="624" y="687"/>
                  </a:cubicBezTo>
                  <a:cubicBezTo>
                    <a:pt x="62" y="687"/>
                    <a:pt x="62" y="687"/>
                    <a:pt x="62" y="687"/>
                  </a:cubicBezTo>
                  <a:cubicBezTo>
                    <a:pt x="28" y="687"/>
                    <a:pt x="0" y="659"/>
                    <a:pt x="0" y="62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59" y="0"/>
                    <a:pt x="687" y="28"/>
                    <a:pt x="687" y="62"/>
                  </a:cubicBezTo>
                  <a:lnTo>
                    <a:pt x="687" y="624"/>
                  </a:ln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39" name="Freeform 27"/>
            <p:cNvSpPr/>
            <p:nvPr/>
          </p:nvSpPr>
          <p:spPr bwMode="auto">
            <a:xfrm>
              <a:off x="10339982" y="4361730"/>
              <a:ext cx="598214" cy="545959"/>
            </a:xfrm>
            <a:custGeom>
              <a:avLst/>
              <a:gdLst>
                <a:gd name="T0" fmla="*/ 2147483646 w 606"/>
                <a:gd name="T1" fmla="*/ 2147483646 h 553"/>
                <a:gd name="T2" fmla="*/ 2147483646 w 606"/>
                <a:gd name="T3" fmla="*/ 2147483646 h 553"/>
                <a:gd name="T4" fmla="*/ 2147483646 w 606"/>
                <a:gd name="T5" fmla="*/ 2147483646 h 553"/>
                <a:gd name="T6" fmla="*/ 2147483646 w 606"/>
                <a:gd name="T7" fmla="*/ 2147483646 h 553"/>
                <a:gd name="T8" fmla="*/ 2147483646 w 606"/>
                <a:gd name="T9" fmla="*/ 2147483646 h 553"/>
                <a:gd name="T10" fmla="*/ 2147483646 w 606"/>
                <a:gd name="T11" fmla="*/ 2147483646 h 553"/>
                <a:gd name="T12" fmla="*/ 2147483646 w 606"/>
                <a:gd name="T13" fmla="*/ 2147483646 h 553"/>
                <a:gd name="T14" fmla="*/ 2147483646 w 606"/>
                <a:gd name="T15" fmla="*/ 2147483646 h 553"/>
                <a:gd name="T16" fmla="*/ 2147483646 w 606"/>
                <a:gd name="T17" fmla="*/ 2147483646 h 553"/>
                <a:gd name="T18" fmla="*/ 2147483646 w 606"/>
                <a:gd name="T19" fmla="*/ 2147483646 h 553"/>
                <a:gd name="T20" fmla="*/ 2147483646 w 606"/>
                <a:gd name="T21" fmla="*/ 2147483646 h 553"/>
                <a:gd name="T22" fmla="*/ 2147483646 w 606"/>
                <a:gd name="T23" fmla="*/ 2147483646 h 5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6" h="553">
                  <a:moveTo>
                    <a:pt x="606" y="209"/>
                  </a:moveTo>
                  <a:cubicBezTo>
                    <a:pt x="494" y="97"/>
                    <a:pt x="494" y="97"/>
                    <a:pt x="494" y="97"/>
                  </a:cubicBezTo>
                  <a:cubicBezTo>
                    <a:pt x="436" y="92"/>
                    <a:pt x="436" y="92"/>
                    <a:pt x="436" y="92"/>
                  </a:cubicBezTo>
                  <a:cubicBezTo>
                    <a:pt x="366" y="21"/>
                    <a:pt x="366" y="21"/>
                    <a:pt x="366" y="21"/>
                  </a:cubicBezTo>
                  <a:cubicBezTo>
                    <a:pt x="366" y="21"/>
                    <a:pt x="64" y="0"/>
                    <a:pt x="32" y="42"/>
                  </a:cubicBezTo>
                  <a:cubicBezTo>
                    <a:pt x="0" y="84"/>
                    <a:pt x="28" y="304"/>
                    <a:pt x="28" y="304"/>
                  </a:cubicBezTo>
                  <a:cubicBezTo>
                    <a:pt x="28" y="304"/>
                    <a:pt x="109" y="340"/>
                    <a:pt x="105" y="339"/>
                  </a:cubicBezTo>
                  <a:cubicBezTo>
                    <a:pt x="100" y="338"/>
                    <a:pt x="7" y="395"/>
                    <a:pt x="7" y="395"/>
                  </a:cubicBezTo>
                  <a:cubicBezTo>
                    <a:pt x="165" y="553"/>
                    <a:pt x="165" y="553"/>
                    <a:pt x="165" y="553"/>
                  </a:cubicBezTo>
                  <a:cubicBezTo>
                    <a:pt x="543" y="553"/>
                    <a:pt x="543" y="553"/>
                    <a:pt x="543" y="553"/>
                  </a:cubicBezTo>
                  <a:cubicBezTo>
                    <a:pt x="578" y="553"/>
                    <a:pt x="606" y="525"/>
                    <a:pt x="606" y="490"/>
                  </a:cubicBezTo>
                  <a:lnTo>
                    <a:pt x="606" y="209"/>
                  </a:lnTo>
                  <a:close/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340" name="组合 117"/>
            <p:cNvGrpSpPr/>
            <p:nvPr/>
          </p:nvGrpSpPr>
          <p:grpSpPr bwMode="auto">
            <a:xfrm>
              <a:off x="10339982" y="4368837"/>
              <a:ext cx="509590" cy="441031"/>
              <a:chOff x="10339982" y="4368837"/>
              <a:chExt cx="509590" cy="441031"/>
            </a:xfrm>
          </p:grpSpPr>
          <p:sp>
            <p:nvSpPr>
              <p:cNvPr id="13341" name="Freeform 28"/>
              <p:cNvSpPr>
                <a:spLocks noEditPoints="1"/>
              </p:cNvSpPr>
              <p:nvPr/>
            </p:nvSpPr>
            <p:spPr bwMode="auto">
              <a:xfrm>
                <a:off x="10339982" y="4368837"/>
                <a:ext cx="391702" cy="393792"/>
              </a:xfrm>
              <a:custGeom>
                <a:avLst/>
                <a:gdLst>
                  <a:gd name="T0" fmla="*/ 2147483646 w 397"/>
                  <a:gd name="T1" fmla="*/ 0 h 399"/>
                  <a:gd name="T2" fmla="*/ 0 w 397"/>
                  <a:gd name="T3" fmla="*/ 2147483646 h 399"/>
                  <a:gd name="T4" fmla="*/ 0 w 397"/>
                  <a:gd name="T5" fmla="*/ 2147483646 h 399"/>
                  <a:gd name="T6" fmla="*/ 2147483646 w 397"/>
                  <a:gd name="T7" fmla="*/ 2147483646 h 399"/>
                  <a:gd name="T8" fmla="*/ 2147483646 w 397"/>
                  <a:gd name="T9" fmla="*/ 2147483646 h 399"/>
                  <a:gd name="T10" fmla="*/ 2147483646 w 397"/>
                  <a:gd name="T11" fmla="*/ 2147483646 h 399"/>
                  <a:gd name="T12" fmla="*/ 2147483646 w 397"/>
                  <a:gd name="T13" fmla="*/ 2147483646 h 399"/>
                  <a:gd name="T14" fmla="*/ 2147483646 w 397"/>
                  <a:gd name="T15" fmla="*/ 2147483646 h 399"/>
                  <a:gd name="T16" fmla="*/ 2147483646 w 397"/>
                  <a:gd name="T17" fmla="*/ 2147483646 h 399"/>
                  <a:gd name="T18" fmla="*/ 2147483646 w 397"/>
                  <a:gd name="T19" fmla="*/ 2147483646 h 399"/>
                  <a:gd name="T20" fmla="*/ 2147483646 w 397"/>
                  <a:gd name="T21" fmla="*/ 2147483646 h 399"/>
                  <a:gd name="T22" fmla="*/ 2147483646 w 397"/>
                  <a:gd name="T23" fmla="*/ 2147483646 h 399"/>
                  <a:gd name="T24" fmla="*/ 2147483646 w 397"/>
                  <a:gd name="T25" fmla="*/ 2147483646 h 399"/>
                  <a:gd name="T26" fmla="*/ 2147483646 w 397"/>
                  <a:gd name="T27" fmla="*/ 2147483646 h 399"/>
                  <a:gd name="T28" fmla="*/ 2147483646 w 397"/>
                  <a:gd name="T29" fmla="*/ 0 h 399"/>
                  <a:gd name="T30" fmla="*/ 2147483646 w 397"/>
                  <a:gd name="T31" fmla="*/ 0 h 399"/>
                  <a:gd name="T32" fmla="*/ 2147483646 w 397"/>
                  <a:gd name="T33" fmla="*/ 2147483646 h 399"/>
                  <a:gd name="T34" fmla="*/ 2147483646 w 397"/>
                  <a:gd name="T35" fmla="*/ 2147483646 h 399"/>
                  <a:gd name="T36" fmla="*/ 2147483646 w 397"/>
                  <a:gd name="T37" fmla="*/ 2147483646 h 399"/>
                  <a:gd name="T38" fmla="*/ 2147483646 w 397"/>
                  <a:gd name="T39" fmla="*/ 2147483646 h 399"/>
                  <a:gd name="T40" fmla="*/ 2147483646 w 397"/>
                  <a:gd name="T41" fmla="*/ 2147483646 h 399"/>
                  <a:gd name="T42" fmla="*/ 2147483646 w 397"/>
                  <a:gd name="T43" fmla="*/ 2147483646 h 399"/>
                  <a:gd name="T44" fmla="*/ 2147483646 w 397"/>
                  <a:gd name="T45" fmla="*/ 2147483646 h 399"/>
                  <a:gd name="T46" fmla="*/ 2147483646 w 397"/>
                  <a:gd name="T47" fmla="*/ 2147483646 h 399"/>
                  <a:gd name="T48" fmla="*/ 2147483646 w 397"/>
                  <a:gd name="T49" fmla="*/ 2147483646 h 399"/>
                  <a:gd name="T50" fmla="*/ 2147483646 w 397"/>
                  <a:gd name="T51" fmla="*/ 2147483646 h 399"/>
                  <a:gd name="T52" fmla="*/ 2147483646 w 397"/>
                  <a:gd name="T53" fmla="*/ 2147483646 h 399"/>
                  <a:gd name="T54" fmla="*/ 2147483646 w 397"/>
                  <a:gd name="T55" fmla="*/ 2147483646 h 399"/>
                  <a:gd name="T56" fmla="*/ 2147483646 w 397"/>
                  <a:gd name="T57" fmla="*/ 2147483646 h 399"/>
                  <a:gd name="T58" fmla="*/ 2147483646 w 397"/>
                  <a:gd name="T59" fmla="*/ 2147483646 h 399"/>
                  <a:gd name="T60" fmla="*/ 2147483646 w 397"/>
                  <a:gd name="T61" fmla="*/ 2147483646 h 399"/>
                  <a:gd name="T62" fmla="*/ 2147483646 w 397"/>
                  <a:gd name="T63" fmla="*/ 2147483646 h 399"/>
                  <a:gd name="T64" fmla="*/ 2147483646 w 397"/>
                  <a:gd name="T65" fmla="*/ 2147483646 h 39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97" h="399">
                    <a:moveTo>
                      <a:pt x="77" y="0"/>
                    </a:moveTo>
                    <a:cubicBezTo>
                      <a:pt x="35" y="0"/>
                      <a:pt x="0" y="34"/>
                      <a:pt x="0" y="77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0" y="294"/>
                      <a:pt x="35" y="329"/>
                      <a:pt x="77" y="329"/>
                    </a:cubicBezTo>
                    <a:cubicBezTo>
                      <a:pt x="77" y="329"/>
                      <a:pt x="83" y="329"/>
                      <a:pt x="86" y="329"/>
                    </a:cubicBezTo>
                    <a:cubicBezTo>
                      <a:pt x="67" y="348"/>
                      <a:pt x="42" y="366"/>
                      <a:pt x="16" y="371"/>
                    </a:cubicBezTo>
                    <a:cubicBezTo>
                      <a:pt x="10" y="372"/>
                      <a:pt x="5" y="377"/>
                      <a:pt x="5" y="383"/>
                    </a:cubicBezTo>
                    <a:cubicBezTo>
                      <a:pt x="5" y="384"/>
                      <a:pt x="5" y="384"/>
                      <a:pt x="5" y="384"/>
                    </a:cubicBezTo>
                    <a:cubicBezTo>
                      <a:pt x="6" y="391"/>
                      <a:pt x="11" y="396"/>
                      <a:pt x="18" y="396"/>
                    </a:cubicBezTo>
                    <a:cubicBezTo>
                      <a:pt x="24" y="396"/>
                      <a:pt x="157" y="399"/>
                      <a:pt x="206" y="333"/>
                    </a:cubicBezTo>
                    <a:cubicBezTo>
                      <a:pt x="206" y="333"/>
                      <a:pt x="207" y="331"/>
                      <a:pt x="209" y="329"/>
                    </a:cubicBezTo>
                    <a:cubicBezTo>
                      <a:pt x="220" y="329"/>
                      <a:pt x="320" y="329"/>
                      <a:pt x="320" y="329"/>
                    </a:cubicBezTo>
                    <a:cubicBezTo>
                      <a:pt x="362" y="329"/>
                      <a:pt x="397" y="294"/>
                      <a:pt x="397" y="251"/>
                    </a:cubicBezTo>
                    <a:cubicBezTo>
                      <a:pt x="397" y="77"/>
                      <a:pt x="397" y="77"/>
                      <a:pt x="397" y="77"/>
                    </a:cubicBezTo>
                    <a:cubicBezTo>
                      <a:pt x="397" y="34"/>
                      <a:pt x="362" y="0"/>
                      <a:pt x="320" y="0"/>
                    </a:cubicBezTo>
                    <a:lnTo>
                      <a:pt x="77" y="0"/>
                    </a:lnTo>
                    <a:close/>
                    <a:moveTo>
                      <a:pt x="26" y="251"/>
                    </a:moveTo>
                    <a:cubicBezTo>
                      <a:pt x="26" y="77"/>
                      <a:pt x="26" y="77"/>
                      <a:pt x="26" y="77"/>
                    </a:cubicBezTo>
                    <a:cubicBezTo>
                      <a:pt x="26" y="49"/>
                      <a:pt x="49" y="25"/>
                      <a:pt x="77" y="25"/>
                    </a:cubicBezTo>
                    <a:cubicBezTo>
                      <a:pt x="320" y="25"/>
                      <a:pt x="320" y="25"/>
                      <a:pt x="320" y="25"/>
                    </a:cubicBezTo>
                    <a:cubicBezTo>
                      <a:pt x="348" y="25"/>
                      <a:pt x="371" y="49"/>
                      <a:pt x="371" y="77"/>
                    </a:cubicBezTo>
                    <a:cubicBezTo>
                      <a:pt x="371" y="251"/>
                      <a:pt x="371" y="251"/>
                      <a:pt x="371" y="251"/>
                    </a:cubicBezTo>
                    <a:cubicBezTo>
                      <a:pt x="371" y="280"/>
                      <a:pt x="348" y="303"/>
                      <a:pt x="320" y="303"/>
                    </a:cubicBezTo>
                    <a:cubicBezTo>
                      <a:pt x="202" y="303"/>
                      <a:pt x="202" y="303"/>
                      <a:pt x="202" y="303"/>
                    </a:cubicBezTo>
                    <a:cubicBezTo>
                      <a:pt x="198" y="303"/>
                      <a:pt x="195" y="305"/>
                      <a:pt x="192" y="308"/>
                    </a:cubicBezTo>
                    <a:cubicBezTo>
                      <a:pt x="185" y="318"/>
                      <a:pt x="185" y="318"/>
                      <a:pt x="185" y="318"/>
                    </a:cubicBezTo>
                    <a:cubicBezTo>
                      <a:pt x="164" y="346"/>
                      <a:pt x="121" y="360"/>
                      <a:pt x="83" y="366"/>
                    </a:cubicBezTo>
                    <a:cubicBezTo>
                      <a:pt x="100" y="353"/>
                      <a:pt x="114" y="338"/>
                      <a:pt x="126" y="324"/>
                    </a:cubicBezTo>
                    <a:cubicBezTo>
                      <a:pt x="128" y="322"/>
                      <a:pt x="129" y="319"/>
                      <a:pt x="129" y="316"/>
                    </a:cubicBezTo>
                    <a:cubicBezTo>
                      <a:pt x="129" y="314"/>
                      <a:pt x="128" y="312"/>
                      <a:pt x="128" y="310"/>
                    </a:cubicBezTo>
                    <a:cubicBezTo>
                      <a:pt x="126" y="306"/>
                      <a:pt x="121" y="303"/>
                      <a:pt x="116" y="303"/>
                    </a:cubicBezTo>
                    <a:cubicBezTo>
                      <a:pt x="77" y="303"/>
                      <a:pt x="77" y="303"/>
                      <a:pt x="77" y="303"/>
                    </a:cubicBezTo>
                    <a:cubicBezTo>
                      <a:pt x="49" y="303"/>
                      <a:pt x="26" y="280"/>
                      <a:pt x="26" y="2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2" name="Freeform 29"/>
              <p:cNvSpPr/>
              <p:nvPr/>
            </p:nvSpPr>
            <p:spPr bwMode="auto">
              <a:xfrm>
                <a:off x="10408123" y="4468330"/>
                <a:ext cx="261692" cy="25918"/>
              </a:xfrm>
              <a:custGeom>
                <a:avLst/>
                <a:gdLst>
                  <a:gd name="T0" fmla="*/ 2147483646 w 265"/>
                  <a:gd name="T1" fmla="*/ 2147483646 h 26"/>
                  <a:gd name="T2" fmla="*/ 2147483646 w 265"/>
                  <a:gd name="T3" fmla="*/ 2147483646 h 26"/>
                  <a:gd name="T4" fmla="*/ 2147483646 w 265"/>
                  <a:gd name="T5" fmla="*/ 2147483646 h 26"/>
                  <a:gd name="T6" fmla="*/ 2147483646 w 265"/>
                  <a:gd name="T7" fmla="*/ 2147483646 h 26"/>
                  <a:gd name="T8" fmla="*/ 2147483646 w 265"/>
                  <a:gd name="T9" fmla="*/ 0 h 26"/>
                  <a:gd name="T10" fmla="*/ 2147483646 w 265"/>
                  <a:gd name="T11" fmla="*/ 0 h 26"/>
                  <a:gd name="T12" fmla="*/ 2147483646 w 265"/>
                  <a:gd name="T13" fmla="*/ 0 h 26"/>
                  <a:gd name="T14" fmla="*/ 2147483646 w 265"/>
                  <a:gd name="T15" fmla="*/ 0 h 26"/>
                  <a:gd name="T16" fmla="*/ 0 w 265"/>
                  <a:gd name="T17" fmla="*/ 2147483646 h 26"/>
                  <a:gd name="T18" fmla="*/ 2147483646 w 265"/>
                  <a:gd name="T19" fmla="*/ 2147483646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5" h="26">
                    <a:moveTo>
                      <a:pt x="15" y="26"/>
                    </a:moveTo>
                    <a:cubicBezTo>
                      <a:pt x="251" y="26"/>
                      <a:pt x="251" y="26"/>
                      <a:pt x="251" y="26"/>
                    </a:cubicBezTo>
                    <a:cubicBezTo>
                      <a:pt x="251" y="26"/>
                      <a:pt x="251" y="26"/>
                      <a:pt x="251" y="26"/>
                    </a:cubicBezTo>
                    <a:cubicBezTo>
                      <a:pt x="259" y="26"/>
                      <a:pt x="265" y="20"/>
                      <a:pt x="265" y="13"/>
                    </a:cubicBezTo>
                    <a:cubicBezTo>
                      <a:pt x="265" y="6"/>
                      <a:pt x="259" y="0"/>
                      <a:pt x="251" y="0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3" name="Freeform 30"/>
              <p:cNvSpPr/>
              <p:nvPr/>
            </p:nvSpPr>
            <p:spPr bwMode="auto">
              <a:xfrm>
                <a:off x="10408123" y="4515569"/>
                <a:ext cx="261692" cy="25918"/>
              </a:xfrm>
              <a:custGeom>
                <a:avLst/>
                <a:gdLst>
                  <a:gd name="T0" fmla="*/ 2147483646 w 265"/>
                  <a:gd name="T1" fmla="*/ 2147483646 h 26"/>
                  <a:gd name="T2" fmla="*/ 2147483646 w 265"/>
                  <a:gd name="T3" fmla="*/ 2147483646 h 26"/>
                  <a:gd name="T4" fmla="*/ 2147483646 w 265"/>
                  <a:gd name="T5" fmla="*/ 2147483646 h 26"/>
                  <a:gd name="T6" fmla="*/ 2147483646 w 265"/>
                  <a:gd name="T7" fmla="*/ 2147483646 h 26"/>
                  <a:gd name="T8" fmla="*/ 2147483646 w 265"/>
                  <a:gd name="T9" fmla="*/ 0 h 26"/>
                  <a:gd name="T10" fmla="*/ 2147483646 w 265"/>
                  <a:gd name="T11" fmla="*/ 0 h 26"/>
                  <a:gd name="T12" fmla="*/ 2147483646 w 265"/>
                  <a:gd name="T13" fmla="*/ 0 h 26"/>
                  <a:gd name="T14" fmla="*/ 2147483646 w 265"/>
                  <a:gd name="T15" fmla="*/ 0 h 26"/>
                  <a:gd name="T16" fmla="*/ 0 w 265"/>
                  <a:gd name="T17" fmla="*/ 2147483646 h 26"/>
                  <a:gd name="T18" fmla="*/ 2147483646 w 265"/>
                  <a:gd name="T19" fmla="*/ 2147483646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5" h="26">
                    <a:moveTo>
                      <a:pt x="15" y="26"/>
                    </a:moveTo>
                    <a:cubicBezTo>
                      <a:pt x="251" y="26"/>
                      <a:pt x="251" y="26"/>
                      <a:pt x="251" y="26"/>
                    </a:cubicBezTo>
                    <a:cubicBezTo>
                      <a:pt x="251" y="26"/>
                      <a:pt x="251" y="26"/>
                      <a:pt x="251" y="26"/>
                    </a:cubicBezTo>
                    <a:cubicBezTo>
                      <a:pt x="259" y="26"/>
                      <a:pt x="265" y="20"/>
                      <a:pt x="265" y="13"/>
                    </a:cubicBezTo>
                    <a:cubicBezTo>
                      <a:pt x="265" y="6"/>
                      <a:pt x="259" y="0"/>
                      <a:pt x="251" y="0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4" name="Freeform 31"/>
              <p:cNvSpPr/>
              <p:nvPr/>
            </p:nvSpPr>
            <p:spPr bwMode="auto">
              <a:xfrm>
                <a:off x="10408123" y="4563225"/>
                <a:ext cx="261692" cy="26754"/>
              </a:xfrm>
              <a:custGeom>
                <a:avLst/>
                <a:gdLst>
                  <a:gd name="T0" fmla="*/ 2147483646 w 265"/>
                  <a:gd name="T1" fmla="*/ 2147483646 h 27"/>
                  <a:gd name="T2" fmla="*/ 2147483646 w 265"/>
                  <a:gd name="T3" fmla="*/ 2147483646 h 27"/>
                  <a:gd name="T4" fmla="*/ 2147483646 w 265"/>
                  <a:gd name="T5" fmla="*/ 2147483646 h 27"/>
                  <a:gd name="T6" fmla="*/ 2147483646 w 265"/>
                  <a:gd name="T7" fmla="*/ 2147483646 h 27"/>
                  <a:gd name="T8" fmla="*/ 2147483646 w 265"/>
                  <a:gd name="T9" fmla="*/ 0 h 27"/>
                  <a:gd name="T10" fmla="*/ 2147483646 w 265"/>
                  <a:gd name="T11" fmla="*/ 0 h 27"/>
                  <a:gd name="T12" fmla="*/ 2147483646 w 265"/>
                  <a:gd name="T13" fmla="*/ 0 h 27"/>
                  <a:gd name="T14" fmla="*/ 2147483646 w 265"/>
                  <a:gd name="T15" fmla="*/ 0 h 27"/>
                  <a:gd name="T16" fmla="*/ 0 w 265"/>
                  <a:gd name="T17" fmla="*/ 2147483646 h 27"/>
                  <a:gd name="T18" fmla="*/ 2147483646 w 265"/>
                  <a:gd name="T19" fmla="*/ 2147483646 h 2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5" h="27">
                    <a:moveTo>
                      <a:pt x="15" y="27"/>
                    </a:moveTo>
                    <a:cubicBezTo>
                      <a:pt x="251" y="27"/>
                      <a:pt x="251" y="27"/>
                      <a:pt x="251" y="27"/>
                    </a:cubicBezTo>
                    <a:cubicBezTo>
                      <a:pt x="251" y="27"/>
                      <a:pt x="251" y="27"/>
                      <a:pt x="251" y="27"/>
                    </a:cubicBezTo>
                    <a:cubicBezTo>
                      <a:pt x="259" y="27"/>
                      <a:pt x="265" y="21"/>
                      <a:pt x="265" y="14"/>
                    </a:cubicBezTo>
                    <a:cubicBezTo>
                      <a:pt x="265" y="6"/>
                      <a:pt x="259" y="0"/>
                      <a:pt x="251" y="0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1"/>
                      <a:pt x="6" y="27"/>
                      <a:pt x="15" y="2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5" name="Freeform 32"/>
              <p:cNvSpPr/>
              <p:nvPr/>
            </p:nvSpPr>
            <p:spPr bwMode="auto">
              <a:xfrm>
                <a:off x="10531444" y="4434887"/>
                <a:ext cx="318128" cy="374981"/>
              </a:xfrm>
              <a:custGeom>
                <a:avLst/>
                <a:gdLst>
                  <a:gd name="T0" fmla="*/ 2147483646 w 322"/>
                  <a:gd name="T1" fmla="*/ 2147483646 h 380"/>
                  <a:gd name="T2" fmla="*/ 2147483646 w 322"/>
                  <a:gd name="T3" fmla="*/ 2147483646 h 380"/>
                  <a:gd name="T4" fmla="*/ 2147483646 w 322"/>
                  <a:gd name="T5" fmla="*/ 0 h 380"/>
                  <a:gd name="T6" fmla="*/ 2147483646 w 322"/>
                  <a:gd name="T7" fmla="*/ 0 h 380"/>
                  <a:gd name="T8" fmla="*/ 2147483646 w 322"/>
                  <a:gd name="T9" fmla="*/ 2147483646 h 380"/>
                  <a:gd name="T10" fmla="*/ 2147483646 w 322"/>
                  <a:gd name="T11" fmla="*/ 2147483646 h 380"/>
                  <a:gd name="T12" fmla="*/ 2147483646 w 322"/>
                  <a:gd name="T13" fmla="*/ 2147483646 h 380"/>
                  <a:gd name="T14" fmla="*/ 2147483646 w 322"/>
                  <a:gd name="T15" fmla="*/ 2147483646 h 380"/>
                  <a:gd name="T16" fmla="*/ 2147483646 w 322"/>
                  <a:gd name="T17" fmla="*/ 2147483646 h 380"/>
                  <a:gd name="T18" fmla="*/ 2147483646 w 322"/>
                  <a:gd name="T19" fmla="*/ 2147483646 h 380"/>
                  <a:gd name="T20" fmla="*/ 2147483646 w 322"/>
                  <a:gd name="T21" fmla="*/ 2147483646 h 380"/>
                  <a:gd name="T22" fmla="*/ 2147483646 w 322"/>
                  <a:gd name="T23" fmla="*/ 2147483646 h 380"/>
                  <a:gd name="T24" fmla="*/ 2147483646 w 322"/>
                  <a:gd name="T25" fmla="*/ 2147483646 h 380"/>
                  <a:gd name="T26" fmla="*/ 2147483646 w 322"/>
                  <a:gd name="T27" fmla="*/ 2147483646 h 380"/>
                  <a:gd name="T28" fmla="*/ 2147483646 w 322"/>
                  <a:gd name="T29" fmla="*/ 2147483646 h 380"/>
                  <a:gd name="T30" fmla="*/ 2147483646 w 322"/>
                  <a:gd name="T31" fmla="*/ 2147483646 h 380"/>
                  <a:gd name="T32" fmla="*/ 2147483646 w 322"/>
                  <a:gd name="T33" fmla="*/ 2147483646 h 380"/>
                  <a:gd name="T34" fmla="*/ 2147483646 w 322"/>
                  <a:gd name="T35" fmla="*/ 2147483646 h 380"/>
                  <a:gd name="T36" fmla="*/ 0 w 322"/>
                  <a:gd name="T37" fmla="*/ 2147483646 h 380"/>
                  <a:gd name="T38" fmla="*/ 2147483646 w 322"/>
                  <a:gd name="T39" fmla="*/ 2147483646 h 380"/>
                  <a:gd name="T40" fmla="*/ 2147483646 w 322"/>
                  <a:gd name="T41" fmla="*/ 2147483646 h 380"/>
                  <a:gd name="T42" fmla="*/ 2147483646 w 322"/>
                  <a:gd name="T43" fmla="*/ 2147483646 h 380"/>
                  <a:gd name="T44" fmla="*/ 2147483646 w 322"/>
                  <a:gd name="T45" fmla="*/ 2147483646 h 380"/>
                  <a:gd name="T46" fmla="*/ 2147483646 w 322"/>
                  <a:gd name="T47" fmla="*/ 2147483646 h 380"/>
                  <a:gd name="T48" fmla="*/ 2147483646 w 322"/>
                  <a:gd name="T49" fmla="*/ 2147483646 h 380"/>
                  <a:gd name="T50" fmla="*/ 2147483646 w 322"/>
                  <a:gd name="T51" fmla="*/ 2147483646 h 380"/>
                  <a:gd name="T52" fmla="*/ 2147483646 w 322"/>
                  <a:gd name="T53" fmla="*/ 2147483646 h 380"/>
                  <a:gd name="T54" fmla="*/ 2147483646 w 322"/>
                  <a:gd name="T55" fmla="*/ 2147483646 h 380"/>
                  <a:gd name="T56" fmla="*/ 2147483646 w 322"/>
                  <a:gd name="T57" fmla="*/ 2147483646 h 38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22" h="380">
                    <a:moveTo>
                      <a:pt x="322" y="239"/>
                    </a:moveTo>
                    <a:cubicBezTo>
                      <a:pt x="322" y="74"/>
                      <a:pt x="322" y="74"/>
                      <a:pt x="322" y="74"/>
                    </a:cubicBezTo>
                    <a:cubicBezTo>
                      <a:pt x="322" y="33"/>
                      <a:pt x="289" y="0"/>
                      <a:pt x="249" y="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239" y="25"/>
                      <a:pt x="239" y="25"/>
                      <a:pt x="239" y="25"/>
                    </a:cubicBezTo>
                    <a:cubicBezTo>
                      <a:pt x="249" y="25"/>
                      <a:pt x="249" y="25"/>
                      <a:pt x="249" y="25"/>
                    </a:cubicBezTo>
                    <a:cubicBezTo>
                      <a:pt x="276" y="25"/>
                      <a:pt x="298" y="47"/>
                      <a:pt x="298" y="74"/>
                    </a:cubicBezTo>
                    <a:cubicBezTo>
                      <a:pt x="298" y="239"/>
                      <a:pt x="298" y="239"/>
                      <a:pt x="298" y="239"/>
                    </a:cubicBezTo>
                    <a:cubicBezTo>
                      <a:pt x="298" y="266"/>
                      <a:pt x="276" y="288"/>
                      <a:pt x="249" y="288"/>
                    </a:cubicBezTo>
                    <a:cubicBezTo>
                      <a:pt x="212" y="288"/>
                      <a:pt x="212" y="288"/>
                      <a:pt x="212" y="288"/>
                    </a:cubicBezTo>
                    <a:cubicBezTo>
                      <a:pt x="207" y="288"/>
                      <a:pt x="203" y="291"/>
                      <a:pt x="201" y="295"/>
                    </a:cubicBezTo>
                    <a:cubicBezTo>
                      <a:pt x="200" y="297"/>
                      <a:pt x="200" y="299"/>
                      <a:pt x="200" y="301"/>
                    </a:cubicBezTo>
                    <a:cubicBezTo>
                      <a:pt x="200" y="303"/>
                      <a:pt x="201" y="306"/>
                      <a:pt x="203" y="309"/>
                    </a:cubicBezTo>
                    <a:cubicBezTo>
                      <a:pt x="213" y="321"/>
                      <a:pt x="227" y="335"/>
                      <a:pt x="243" y="348"/>
                    </a:cubicBezTo>
                    <a:cubicBezTo>
                      <a:pt x="208" y="342"/>
                      <a:pt x="166" y="330"/>
                      <a:pt x="146" y="303"/>
                    </a:cubicBezTo>
                    <a:cubicBezTo>
                      <a:pt x="139" y="293"/>
                      <a:pt x="139" y="293"/>
                      <a:pt x="139" y="293"/>
                    </a:cubicBezTo>
                    <a:cubicBezTo>
                      <a:pt x="137" y="290"/>
                      <a:pt x="134" y="288"/>
                      <a:pt x="130" y="288"/>
                    </a:cubicBezTo>
                    <a:cubicBezTo>
                      <a:pt x="28" y="288"/>
                      <a:pt x="28" y="288"/>
                      <a:pt x="28" y="288"/>
                    </a:cubicBezTo>
                    <a:cubicBezTo>
                      <a:pt x="19" y="297"/>
                      <a:pt x="10" y="304"/>
                      <a:pt x="0" y="311"/>
                    </a:cubicBezTo>
                    <a:cubicBezTo>
                      <a:pt x="6" y="312"/>
                      <a:pt x="12" y="313"/>
                      <a:pt x="18" y="313"/>
                    </a:cubicBezTo>
                    <a:cubicBezTo>
                      <a:pt x="18" y="313"/>
                      <a:pt x="113" y="313"/>
                      <a:pt x="124" y="313"/>
                    </a:cubicBezTo>
                    <a:cubicBezTo>
                      <a:pt x="125" y="315"/>
                      <a:pt x="127" y="317"/>
                      <a:pt x="127" y="317"/>
                    </a:cubicBezTo>
                    <a:cubicBezTo>
                      <a:pt x="173" y="380"/>
                      <a:pt x="300" y="377"/>
                      <a:pt x="305" y="377"/>
                    </a:cubicBezTo>
                    <a:cubicBezTo>
                      <a:pt x="311" y="377"/>
                      <a:pt x="316" y="372"/>
                      <a:pt x="317" y="366"/>
                    </a:cubicBezTo>
                    <a:cubicBezTo>
                      <a:pt x="317" y="365"/>
                      <a:pt x="317" y="365"/>
                      <a:pt x="317" y="365"/>
                    </a:cubicBezTo>
                    <a:cubicBezTo>
                      <a:pt x="317" y="359"/>
                      <a:pt x="313" y="354"/>
                      <a:pt x="307" y="353"/>
                    </a:cubicBezTo>
                    <a:cubicBezTo>
                      <a:pt x="282" y="348"/>
                      <a:pt x="259" y="331"/>
                      <a:pt x="240" y="313"/>
                    </a:cubicBezTo>
                    <a:cubicBezTo>
                      <a:pt x="243" y="313"/>
                      <a:pt x="249" y="313"/>
                      <a:pt x="249" y="313"/>
                    </a:cubicBezTo>
                    <a:cubicBezTo>
                      <a:pt x="289" y="313"/>
                      <a:pt x="322" y="280"/>
                      <a:pt x="322" y="23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6" name="Freeform 33"/>
              <p:cNvSpPr>
                <a:spLocks noEditPoints="1"/>
              </p:cNvSpPr>
              <p:nvPr/>
            </p:nvSpPr>
            <p:spPr bwMode="auto">
              <a:xfrm>
                <a:off x="10339982" y="4368837"/>
                <a:ext cx="391702" cy="393792"/>
              </a:xfrm>
              <a:custGeom>
                <a:avLst/>
                <a:gdLst>
                  <a:gd name="T0" fmla="*/ 2147483646 w 397"/>
                  <a:gd name="T1" fmla="*/ 0 h 399"/>
                  <a:gd name="T2" fmla="*/ 0 w 397"/>
                  <a:gd name="T3" fmla="*/ 2147483646 h 399"/>
                  <a:gd name="T4" fmla="*/ 0 w 397"/>
                  <a:gd name="T5" fmla="*/ 2147483646 h 399"/>
                  <a:gd name="T6" fmla="*/ 2147483646 w 397"/>
                  <a:gd name="T7" fmla="*/ 2147483646 h 399"/>
                  <a:gd name="T8" fmla="*/ 2147483646 w 397"/>
                  <a:gd name="T9" fmla="*/ 2147483646 h 399"/>
                  <a:gd name="T10" fmla="*/ 2147483646 w 397"/>
                  <a:gd name="T11" fmla="*/ 2147483646 h 399"/>
                  <a:gd name="T12" fmla="*/ 2147483646 w 397"/>
                  <a:gd name="T13" fmla="*/ 2147483646 h 399"/>
                  <a:gd name="T14" fmla="*/ 2147483646 w 397"/>
                  <a:gd name="T15" fmla="*/ 2147483646 h 399"/>
                  <a:gd name="T16" fmla="*/ 2147483646 w 397"/>
                  <a:gd name="T17" fmla="*/ 2147483646 h 399"/>
                  <a:gd name="T18" fmla="*/ 2147483646 w 397"/>
                  <a:gd name="T19" fmla="*/ 2147483646 h 399"/>
                  <a:gd name="T20" fmla="*/ 2147483646 w 397"/>
                  <a:gd name="T21" fmla="*/ 2147483646 h 399"/>
                  <a:gd name="T22" fmla="*/ 2147483646 w 397"/>
                  <a:gd name="T23" fmla="*/ 2147483646 h 399"/>
                  <a:gd name="T24" fmla="*/ 2147483646 w 397"/>
                  <a:gd name="T25" fmla="*/ 2147483646 h 399"/>
                  <a:gd name="T26" fmla="*/ 2147483646 w 397"/>
                  <a:gd name="T27" fmla="*/ 2147483646 h 399"/>
                  <a:gd name="T28" fmla="*/ 2147483646 w 397"/>
                  <a:gd name="T29" fmla="*/ 0 h 399"/>
                  <a:gd name="T30" fmla="*/ 2147483646 w 397"/>
                  <a:gd name="T31" fmla="*/ 0 h 399"/>
                  <a:gd name="T32" fmla="*/ 2147483646 w 397"/>
                  <a:gd name="T33" fmla="*/ 2147483646 h 399"/>
                  <a:gd name="T34" fmla="*/ 2147483646 w 397"/>
                  <a:gd name="T35" fmla="*/ 2147483646 h 399"/>
                  <a:gd name="T36" fmla="*/ 2147483646 w 397"/>
                  <a:gd name="T37" fmla="*/ 2147483646 h 399"/>
                  <a:gd name="T38" fmla="*/ 2147483646 w 397"/>
                  <a:gd name="T39" fmla="*/ 2147483646 h 399"/>
                  <a:gd name="T40" fmla="*/ 2147483646 w 397"/>
                  <a:gd name="T41" fmla="*/ 2147483646 h 399"/>
                  <a:gd name="T42" fmla="*/ 2147483646 w 397"/>
                  <a:gd name="T43" fmla="*/ 2147483646 h 399"/>
                  <a:gd name="T44" fmla="*/ 2147483646 w 397"/>
                  <a:gd name="T45" fmla="*/ 2147483646 h 399"/>
                  <a:gd name="T46" fmla="*/ 2147483646 w 397"/>
                  <a:gd name="T47" fmla="*/ 2147483646 h 399"/>
                  <a:gd name="T48" fmla="*/ 2147483646 w 397"/>
                  <a:gd name="T49" fmla="*/ 2147483646 h 399"/>
                  <a:gd name="T50" fmla="*/ 2147483646 w 397"/>
                  <a:gd name="T51" fmla="*/ 2147483646 h 399"/>
                  <a:gd name="T52" fmla="*/ 2147483646 w 397"/>
                  <a:gd name="T53" fmla="*/ 2147483646 h 399"/>
                  <a:gd name="T54" fmla="*/ 2147483646 w 397"/>
                  <a:gd name="T55" fmla="*/ 2147483646 h 399"/>
                  <a:gd name="T56" fmla="*/ 2147483646 w 397"/>
                  <a:gd name="T57" fmla="*/ 2147483646 h 399"/>
                  <a:gd name="T58" fmla="*/ 2147483646 w 397"/>
                  <a:gd name="T59" fmla="*/ 2147483646 h 399"/>
                  <a:gd name="T60" fmla="*/ 2147483646 w 397"/>
                  <a:gd name="T61" fmla="*/ 2147483646 h 399"/>
                  <a:gd name="T62" fmla="*/ 2147483646 w 397"/>
                  <a:gd name="T63" fmla="*/ 2147483646 h 399"/>
                  <a:gd name="T64" fmla="*/ 2147483646 w 397"/>
                  <a:gd name="T65" fmla="*/ 2147483646 h 39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97" h="399">
                    <a:moveTo>
                      <a:pt x="77" y="0"/>
                    </a:moveTo>
                    <a:cubicBezTo>
                      <a:pt x="35" y="0"/>
                      <a:pt x="0" y="34"/>
                      <a:pt x="0" y="77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0" y="294"/>
                      <a:pt x="35" y="329"/>
                      <a:pt x="77" y="329"/>
                    </a:cubicBezTo>
                    <a:cubicBezTo>
                      <a:pt x="77" y="329"/>
                      <a:pt x="83" y="329"/>
                      <a:pt x="86" y="329"/>
                    </a:cubicBezTo>
                    <a:cubicBezTo>
                      <a:pt x="67" y="348"/>
                      <a:pt x="42" y="366"/>
                      <a:pt x="16" y="371"/>
                    </a:cubicBezTo>
                    <a:cubicBezTo>
                      <a:pt x="10" y="372"/>
                      <a:pt x="5" y="377"/>
                      <a:pt x="5" y="383"/>
                    </a:cubicBezTo>
                    <a:cubicBezTo>
                      <a:pt x="5" y="384"/>
                      <a:pt x="5" y="384"/>
                      <a:pt x="5" y="384"/>
                    </a:cubicBezTo>
                    <a:cubicBezTo>
                      <a:pt x="6" y="391"/>
                      <a:pt x="11" y="396"/>
                      <a:pt x="18" y="396"/>
                    </a:cubicBezTo>
                    <a:cubicBezTo>
                      <a:pt x="24" y="396"/>
                      <a:pt x="157" y="399"/>
                      <a:pt x="206" y="333"/>
                    </a:cubicBezTo>
                    <a:cubicBezTo>
                      <a:pt x="206" y="333"/>
                      <a:pt x="207" y="331"/>
                      <a:pt x="209" y="329"/>
                    </a:cubicBezTo>
                    <a:cubicBezTo>
                      <a:pt x="220" y="329"/>
                      <a:pt x="320" y="329"/>
                      <a:pt x="320" y="329"/>
                    </a:cubicBezTo>
                    <a:cubicBezTo>
                      <a:pt x="362" y="329"/>
                      <a:pt x="397" y="294"/>
                      <a:pt x="397" y="251"/>
                    </a:cubicBezTo>
                    <a:cubicBezTo>
                      <a:pt x="397" y="77"/>
                      <a:pt x="397" y="77"/>
                      <a:pt x="397" y="77"/>
                    </a:cubicBezTo>
                    <a:cubicBezTo>
                      <a:pt x="397" y="34"/>
                      <a:pt x="362" y="0"/>
                      <a:pt x="320" y="0"/>
                    </a:cubicBezTo>
                    <a:lnTo>
                      <a:pt x="77" y="0"/>
                    </a:lnTo>
                    <a:close/>
                    <a:moveTo>
                      <a:pt x="26" y="251"/>
                    </a:moveTo>
                    <a:cubicBezTo>
                      <a:pt x="26" y="77"/>
                      <a:pt x="26" y="77"/>
                      <a:pt x="26" y="77"/>
                    </a:cubicBezTo>
                    <a:cubicBezTo>
                      <a:pt x="26" y="49"/>
                      <a:pt x="49" y="25"/>
                      <a:pt x="77" y="25"/>
                    </a:cubicBezTo>
                    <a:cubicBezTo>
                      <a:pt x="320" y="25"/>
                      <a:pt x="320" y="25"/>
                      <a:pt x="320" y="25"/>
                    </a:cubicBezTo>
                    <a:cubicBezTo>
                      <a:pt x="348" y="25"/>
                      <a:pt x="371" y="49"/>
                      <a:pt x="371" y="77"/>
                    </a:cubicBezTo>
                    <a:cubicBezTo>
                      <a:pt x="371" y="251"/>
                      <a:pt x="371" y="251"/>
                      <a:pt x="371" y="251"/>
                    </a:cubicBezTo>
                    <a:cubicBezTo>
                      <a:pt x="371" y="280"/>
                      <a:pt x="348" y="303"/>
                      <a:pt x="320" y="303"/>
                    </a:cubicBezTo>
                    <a:cubicBezTo>
                      <a:pt x="202" y="303"/>
                      <a:pt x="202" y="303"/>
                      <a:pt x="202" y="303"/>
                    </a:cubicBezTo>
                    <a:cubicBezTo>
                      <a:pt x="198" y="303"/>
                      <a:pt x="195" y="305"/>
                      <a:pt x="192" y="308"/>
                    </a:cubicBezTo>
                    <a:cubicBezTo>
                      <a:pt x="185" y="318"/>
                      <a:pt x="185" y="318"/>
                      <a:pt x="185" y="318"/>
                    </a:cubicBezTo>
                    <a:cubicBezTo>
                      <a:pt x="164" y="346"/>
                      <a:pt x="121" y="360"/>
                      <a:pt x="83" y="366"/>
                    </a:cubicBezTo>
                    <a:cubicBezTo>
                      <a:pt x="100" y="353"/>
                      <a:pt x="114" y="338"/>
                      <a:pt x="126" y="324"/>
                    </a:cubicBezTo>
                    <a:cubicBezTo>
                      <a:pt x="128" y="322"/>
                      <a:pt x="129" y="319"/>
                      <a:pt x="129" y="316"/>
                    </a:cubicBezTo>
                    <a:cubicBezTo>
                      <a:pt x="129" y="314"/>
                      <a:pt x="128" y="312"/>
                      <a:pt x="128" y="310"/>
                    </a:cubicBezTo>
                    <a:cubicBezTo>
                      <a:pt x="126" y="306"/>
                      <a:pt x="121" y="303"/>
                      <a:pt x="116" y="303"/>
                    </a:cubicBezTo>
                    <a:cubicBezTo>
                      <a:pt x="77" y="303"/>
                      <a:pt x="77" y="303"/>
                      <a:pt x="77" y="303"/>
                    </a:cubicBezTo>
                    <a:cubicBezTo>
                      <a:pt x="49" y="303"/>
                      <a:pt x="26" y="280"/>
                      <a:pt x="26" y="2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1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3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0" dur="3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3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4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1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3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8" dur="3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3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2" dur="3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4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8" dur="4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4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2" dur="4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4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6" dur="4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4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0" dur="4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2" presetClass="entr" presetSubtype="4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3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4" dur="3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2" presetClass="entr" presetSubtype="4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300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8" dur="3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2" presetClass="entr" presetSubtype="4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3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92" dur="3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2" presetClass="entr" presetSubtype="4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300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96" dur="3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  <p:bldP spid="42" grpId="0"/>
      <p:bldP spid="50" grpId="0"/>
      <p:bldP spid="51" grpId="0"/>
      <p:bldP spid="5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组合 70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73" name="矩形 72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4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4383" name="组合 74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4384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7" name="矩形 76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2" name="组合 1"/>
          <p:cNvGrpSpPr/>
          <p:nvPr/>
        </p:nvGrpSpPr>
        <p:grpSpPr bwMode="auto">
          <a:xfrm>
            <a:off x="328613" y="1276350"/>
            <a:ext cx="2011362" cy="2786063"/>
            <a:chOff x="328072" y="1275606"/>
            <a:chExt cx="2011680" cy="2786779"/>
          </a:xfrm>
        </p:grpSpPr>
        <p:sp>
          <p:nvSpPr>
            <p:cNvPr id="21" name="Rectangle 146"/>
            <p:cNvSpPr/>
            <p:nvPr/>
          </p:nvSpPr>
          <p:spPr bwMode="auto">
            <a:xfrm>
              <a:off x="328072" y="1275606"/>
              <a:ext cx="2011680" cy="278677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371" name="Freeform 51"/>
            <p:cNvSpPr>
              <a:spLocks noEditPoints="1"/>
            </p:cNvSpPr>
            <p:nvPr/>
          </p:nvSpPr>
          <p:spPr bwMode="auto">
            <a:xfrm rot="5400000" flipH="1" flipV="1">
              <a:off x="676148" y="303124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pic>
          <p:nvPicPr>
            <p:cNvPr id="14372" name="Picture 5"/>
            <p:cNvPicPr>
              <a:picLocks noChangeAspect="1" noChangeArrowheads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83" y="1347279"/>
              <a:ext cx="1908234" cy="1466138"/>
            </a:xfrm>
            <a:prstGeom prst="rect">
              <a:avLst/>
            </a:prstGeom>
            <a:noFill/>
            <a:ln>
              <a:noFill/>
            </a:ln>
            <a:effectLst>
              <a:outerShdw dist="50800" dir="5400000" algn="t" rotWithShape="0">
                <a:srgbClr val="000000">
                  <a:alpha val="39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73" name="矩形 102"/>
            <p:cNvSpPr>
              <a:spLocks noChangeArrowheads="1"/>
            </p:cNvSpPr>
            <p:nvPr/>
          </p:nvSpPr>
          <p:spPr bwMode="auto">
            <a:xfrm>
              <a:off x="1083576" y="2949501"/>
              <a:ext cx="1242665" cy="849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374" name="组合 46"/>
            <p:cNvGrpSpPr/>
            <p:nvPr/>
          </p:nvGrpSpPr>
          <p:grpSpPr bwMode="auto">
            <a:xfrm>
              <a:off x="459809" y="3338746"/>
              <a:ext cx="590393" cy="590393"/>
              <a:chOff x="10115551" y="1298576"/>
              <a:chExt cx="785813" cy="785813"/>
            </a:xfrm>
          </p:grpSpPr>
          <p:sp>
            <p:nvSpPr>
              <p:cNvPr id="48" name="Freeform 7"/>
              <p:cNvSpPr/>
              <p:nvPr/>
            </p:nvSpPr>
            <p:spPr bwMode="auto">
              <a:xfrm>
                <a:off x="10115612" y="1297981"/>
                <a:ext cx="786146" cy="786224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76" name="Freeform 8"/>
              <p:cNvSpPr/>
              <p:nvPr/>
            </p:nvSpPr>
            <p:spPr bwMode="auto">
              <a:xfrm>
                <a:off x="10340976" y="1382713"/>
                <a:ext cx="560388" cy="701675"/>
              </a:xfrm>
              <a:custGeom>
                <a:avLst/>
                <a:gdLst>
                  <a:gd name="T0" fmla="*/ 2147483646 w 491"/>
                  <a:gd name="T1" fmla="*/ 2147483646 h 613"/>
                  <a:gd name="T2" fmla="*/ 2147483646 w 491"/>
                  <a:gd name="T3" fmla="*/ 2147483646 h 613"/>
                  <a:gd name="T4" fmla="*/ 2147483646 w 491"/>
                  <a:gd name="T5" fmla="*/ 2147483646 h 613"/>
                  <a:gd name="T6" fmla="*/ 2147483646 w 491"/>
                  <a:gd name="T7" fmla="*/ 2147483646 h 613"/>
                  <a:gd name="T8" fmla="*/ 2147483646 w 491"/>
                  <a:gd name="T9" fmla="*/ 2147483646 h 613"/>
                  <a:gd name="T10" fmla="*/ 2147483646 w 491"/>
                  <a:gd name="T11" fmla="*/ 2147483646 h 613"/>
                  <a:gd name="T12" fmla="*/ 2147483646 w 491"/>
                  <a:gd name="T13" fmla="*/ 2147483646 h 613"/>
                  <a:gd name="T14" fmla="*/ 0 w 491"/>
                  <a:gd name="T15" fmla="*/ 2147483646 h 613"/>
                  <a:gd name="T16" fmla="*/ 2147483646 w 491"/>
                  <a:gd name="T17" fmla="*/ 2147483646 h 613"/>
                  <a:gd name="T18" fmla="*/ 2147483646 w 491"/>
                  <a:gd name="T19" fmla="*/ 2147483646 h 613"/>
                  <a:gd name="T20" fmla="*/ 2147483646 w 491"/>
                  <a:gd name="T21" fmla="*/ 2147483646 h 613"/>
                  <a:gd name="T22" fmla="*/ 2147483646 w 491"/>
                  <a:gd name="T23" fmla="*/ 2147483646 h 613"/>
                  <a:gd name="T24" fmla="*/ 2147483646 w 491"/>
                  <a:gd name="T25" fmla="*/ 2147483646 h 613"/>
                  <a:gd name="T26" fmla="*/ 2147483646 w 491"/>
                  <a:gd name="T27" fmla="*/ 2147483646 h 61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91" h="613">
                    <a:moveTo>
                      <a:pt x="491" y="550"/>
                    </a:moveTo>
                    <a:cubicBezTo>
                      <a:pt x="491" y="298"/>
                      <a:pt x="491" y="298"/>
                      <a:pt x="491" y="298"/>
                    </a:cubicBezTo>
                    <a:cubicBezTo>
                      <a:pt x="243" y="50"/>
                      <a:pt x="243" y="50"/>
                      <a:pt x="243" y="50"/>
                    </a:cubicBezTo>
                    <a:cubicBezTo>
                      <a:pt x="170" y="10"/>
                      <a:pt x="170" y="10"/>
                      <a:pt x="170" y="10"/>
                    </a:cubicBezTo>
                    <a:cubicBezTo>
                      <a:pt x="170" y="10"/>
                      <a:pt x="111" y="0"/>
                      <a:pt x="61" y="36"/>
                    </a:cubicBezTo>
                    <a:cubicBezTo>
                      <a:pt x="12" y="72"/>
                      <a:pt x="12" y="197"/>
                      <a:pt x="12" y="197"/>
                    </a:cubicBezTo>
                    <a:cubicBezTo>
                      <a:pt x="83" y="269"/>
                      <a:pt x="83" y="269"/>
                      <a:pt x="83" y="269"/>
                    </a:cubicBezTo>
                    <a:cubicBezTo>
                      <a:pt x="0" y="507"/>
                      <a:pt x="0" y="507"/>
                      <a:pt x="0" y="507"/>
                    </a:cubicBezTo>
                    <a:cubicBezTo>
                      <a:pt x="105" y="613"/>
                      <a:pt x="105" y="613"/>
                      <a:pt x="105" y="613"/>
                    </a:cubicBezTo>
                    <a:cubicBezTo>
                      <a:pt x="429" y="613"/>
                      <a:pt x="429" y="613"/>
                      <a:pt x="429" y="613"/>
                    </a:cubicBezTo>
                    <a:cubicBezTo>
                      <a:pt x="447" y="613"/>
                      <a:pt x="464" y="604"/>
                      <a:pt x="475" y="592"/>
                    </a:cubicBezTo>
                    <a:cubicBezTo>
                      <a:pt x="473" y="590"/>
                      <a:pt x="473" y="590"/>
                      <a:pt x="473" y="590"/>
                    </a:cubicBezTo>
                    <a:cubicBezTo>
                      <a:pt x="484" y="579"/>
                      <a:pt x="484" y="579"/>
                      <a:pt x="484" y="579"/>
                    </a:cubicBezTo>
                    <a:cubicBezTo>
                      <a:pt x="488" y="570"/>
                      <a:pt x="491" y="561"/>
                      <a:pt x="491" y="550"/>
                    </a:cubicBez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77" name="Freeform 9"/>
              <p:cNvSpPr>
                <a:spLocks noEditPoints="1"/>
              </p:cNvSpPr>
              <p:nvPr/>
            </p:nvSpPr>
            <p:spPr bwMode="auto">
              <a:xfrm>
                <a:off x="10339388" y="1479551"/>
                <a:ext cx="336550" cy="496888"/>
              </a:xfrm>
              <a:custGeom>
                <a:avLst/>
                <a:gdLst>
                  <a:gd name="T0" fmla="*/ 2147483646 w 294"/>
                  <a:gd name="T1" fmla="*/ 2147483646 h 435"/>
                  <a:gd name="T2" fmla="*/ 2147483646 w 294"/>
                  <a:gd name="T3" fmla="*/ 2147483646 h 435"/>
                  <a:gd name="T4" fmla="*/ 2147483646 w 294"/>
                  <a:gd name="T5" fmla="*/ 0 h 435"/>
                  <a:gd name="T6" fmla="*/ 2147483646 w 294"/>
                  <a:gd name="T7" fmla="*/ 2147483646 h 435"/>
                  <a:gd name="T8" fmla="*/ 2147483646 w 294"/>
                  <a:gd name="T9" fmla="*/ 2147483646 h 435"/>
                  <a:gd name="T10" fmla="*/ 0 w 294"/>
                  <a:gd name="T11" fmla="*/ 2147483646 h 435"/>
                  <a:gd name="T12" fmla="*/ 2147483646 w 294"/>
                  <a:gd name="T13" fmla="*/ 2147483646 h 435"/>
                  <a:gd name="T14" fmla="*/ 2147483646 w 294"/>
                  <a:gd name="T15" fmla="*/ 2147483646 h 435"/>
                  <a:gd name="T16" fmla="*/ 2147483646 w 294"/>
                  <a:gd name="T17" fmla="*/ 2147483646 h 435"/>
                  <a:gd name="T18" fmla="*/ 2147483646 w 294"/>
                  <a:gd name="T19" fmla="*/ 2147483646 h 435"/>
                  <a:gd name="T20" fmla="*/ 2147483646 w 294"/>
                  <a:gd name="T21" fmla="*/ 2147483646 h 435"/>
                  <a:gd name="T22" fmla="*/ 2147483646 w 294"/>
                  <a:gd name="T23" fmla="*/ 2147483646 h 435"/>
                  <a:gd name="T24" fmla="*/ 2147483646 w 294"/>
                  <a:gd name="T25" fmla="*/ 2147483646 h 435"/>
                  <a:gd name="T26" fmla="*/ 2147483646 w 294"/>
                  <a:gd name="T27" fmla="*/ 2147483646 h 435"/>
                  <a:gd name="T28" fmla="*/ 2147483646 w 294"/>
                  <a:gd name="T29" fmla="*/ 2147483646 h 435"/>
                  <a:gd name="T30" fmla="*/ 2147483646 w 294"/>
                  <a:gd name="T31" fmla="*/ 2147483646 h 435"/>
                  <a:gd name="T32" fmla="*/ 2147483646 w 294"/>
                  <a:gd name="T33" fmla="*/ 2147483646 h 435"/>
                  <a:gd name="T34" fmla="*/ 2147483646 w 294"/>
                  <a:gd name="T35" fmla="*/ 2147483646 h 435"/>
                  <a:gd name="T36" fmla="*/ 2147483646 w 294"/>
                  <a:gd name="T37" fmla="*/ 2147483646 h 435"/>
                  <a:gd name="T38" fmla="*/ 2147483646 w 294"/>
                  <a:gd name="T39" fmla="*/ 2147483646 h 435"/>
                  <a:gd name="T40" fmla="*/ 2147483646 w 294"/>
                  <a:gd name="T41" fmla="*/ 2147483646 h 435"/>
                  <a:gd name="T42" fmla="*/ 2147483646 w 294"/>
                  <a:gd name="T43" fmla="*/ 2147483646 h 435"/>
                  <a:gd name="T44" fmla="*/ 2147483646 w 294"/>
                  <a:gd name="T45" fmla="*/ 2147483646 h 435"/>
                  <a:gd name="T46" fmla="*/ 2147483646 w 294"/>
                  <a:gd name="T47" fmla="*/ 2147483646 h 43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94" h="435">
                    <a:moveTo>
                      <a:pt x="208" y="148"/>
                    </a:moveTo>
                    <a:cubicBezTo>
                      <a:pt x="227" y="133"/>
                      <a:pt x="240" y="110"/>
                      <a:pt x="240" y="84"/>
                    </a:cubicBezTo>
                    <a:cubicBezTo>
                      <a:pt x="240" y="38"/>
                      <a:pt x="198" y="0"/>
                      <a:pt x="147" y="0"/>
                    </a:cubicBezTo>
                    <a:cubicBezTo>
                      <a:pt x="95" y="0"/>
                      <a:pt x="54" y="38"/>
                      <a:pt x="54" y="84"/>
                    </a:cubicBezTo>
                    <a:cubicBezTo>
                      <a:pt x="54" y="110"/>
                      <a:pt x="66" y="133"/>
                      <a:pt x="86" y="148"/>
                    </a:cubicBezTo>
                    <a:cubicBezTo>
                      <a:pt x="35" y="169"/>
                      <a:pt x="0" y="216"/>
                      <a:pt x="0" y="270"/>
                    </a:cubicBezTo>
                    <a:cubicBezTo>
                      <a:pt x="0" y="276"/>
                      <a:pt x="1" y="419"/>
                      <a:pt x="1" y="419"/>
                    </a:cubicBezTo>
                    <a:cubicBezTo>
                      <a:pt x="1" y="428"/>
                      <a:pt x="12" y="435"/>
                      <a:pt x="26" y="435"/>
                    </a:cubicBezTo>
                    <a:cubicBezTo>
                      <a:pt x="268" y="435"/>
                      <a:pt x="268" y="435"/>
                      <a:pt x="268" y="435"/>
                    </a:cubicBezTo>
                    <a:cubicBezTo>
                      <a:pt x="282" y="435"/>
                      <a:pt x="292" y="428"/>
                      <a:pt x="292" y="419"/>
                    </a:cubicBezTo>
                    <a:cubicBezTo>
                      <a:pt x="292" y="419"/>
                      <a:pt x="294" y="276"/>
                      <a:pt x="294" y="270"/>
                    </a:cubicBezTo>
                    <a:cubicBezTo>
                      <a:pt x="294" y="216"/>
                      <a:pt x="259" y="169"/>
                      <a:pt x="208" y="148"/>
                    </a:cubicBezTo>
                    <a:close/>
                    <a:moveTo>
                      <a:pt x="173" y="218"/>
                    </a:moveTo>
                    <a:cubicBezTo>
                      <a:pt x="167" y="255"/>
                      <a:pt x="167" y="255"/>
                      <a:pt x="167" y="255"/>
                    </a:cubicBezTo>
                    <a:cubicBezTo>
                      <a:pt x="161" y="293"/>
                      <a:pt x="161" y="293"/>
                      <a:pt x="161" y="293"/>
                    </a:cubicBezTo>
                    <a:cubicBezTo>
                      <a:pt x="159" y="303"/>
                      <a:pt x="153" y="310"/>
                      <a:pt x="147" y="310"/>
                    </a:cubicBezTo>
                    <a:cubicBezTo>
                      <a:pt x="141" y="310"/>
                      <a:pt x="135" y="303"/>
                      <a:pt x="133" y="293"/>
                    </a:cubicBezTo>
                    <a:cubicBezTo>
                      <a:pt x="127" y="255"/>
                      <a:pt x="127" y="255"/>
                      <a:pt x="127" y="255"/>
                    </a:cubicBezTo>
                    <a:cubicBezTo>
                      <a:pt x="121" y="218"/>
                      <a:pt x="121" y="218"/>
                      <a:pt x="121" y="218"/>
                    </a:cubicBezTo>
                    <a:cubicBezTo>
                      <a:pt x="120" y="211"/>
                      <a:pt x="121" y="203"/>
                      <a:pt x="123" y="197"/>
                    </a:cubicBezTo>
                    <a:cubicBezTo>
                      <a:pt x="126" y="191"/>
                      <a:pt x="130" y="188"/>
                      <a:pt x="135" y="188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64" y="188"/>
                      <a:pt x="168" y="191"/>
                      <a:pt x="171" y="197"/>
                    </a:cubicBezTo>
                    <a:cubicBezTo>
                      <a:pt x="173" y="203"/>
                      <a:pt x="174" y="211"/>
                      <a:pt x="173" y="2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78" name="Oval 10"/>
              <p:cNvSpPr>
                <a:spLocks noChangeArrowheads="1"/>
              </p:cNvSpPr>
              <p:nvPr/>
            </p:nvSpPr>
            <p:spPr bwMode="auto">
              <a:xfrm>
                <a:off x="10602913" y="1506538"/>
                <a:ext cx="60325" cy="1143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79" name="Oval 11"/>
              <p:cNvSpPr>
                <a:spLocks noChangeArrowheads="1"/>
              </p:cNvSpPr>
              <p:nvPr/>
            </p:nvSpPr>
            <p:spPr bwMode="auto">
              <a:xfrm>
                <a:off x="10342563" y="1506538"/>
                <a:ext cx="61913" cy="1143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80" name="Freeform 12"/>
              <p:cNvSpPr/>
              <p:nvPr/>
            </p:nvSpPr>
            <p:spPr bwMode="auto">
              <a:xfrm>
                <a:off x="10348913" y="1381126"/>
                <a:ext cx="309563" cy="165100"/>
              </a:xfrm>
              <a:custGeom>
                <a:avLst/>
                <a:gdLst>
                  <a:gd name="T0" fmla="*/ 0 w 271"/>
                  <a:gd name="T1" fmla="*/ 2147483646 h 144"/>
                  <a:gd name="T2" fmla="*/ 2147483646 w 271"/>
                  <a:gd name="T3" fmla="*/ 2147483646 h 144"/>
                  <a:gd name="T4" fmla="*/ 2147483646 w 271"/>
                  <a:gd name="T5" fmla="*/ 2147483646 h 144"/>
                  <a:gd name="T6" fmla="*/ 2147483646 w 271"/>
                  <a:gd name="T7" fmla="*/ 2147483646 h 144"/>
                  <a:gd name="T8" fmla="*/ 2147483646 w 271"/>
                  <a:gd name="T9" fmla="*/ 2147483646 h 144"/>
                  <a:gd name="T10" fmla="*/ 2147483646 w 271"/>
                  <a:gd name="T11" fmla="*/ 2147483646 h 144"/>
                  <a:gd name="T12" fmla="*/ 2147483646 w 271"/>
                  <a:gd name="T13" fmla="*/ 2147483646 h 144"/>
                  <a:gd name="T14" fmla="*/ 2147483646 w 271"/>
                  <a:gd name="T15" fmla="*/ 0 h 144"/>
                  <a:gd name="T16" fmla="*/ 0 w 271"/>
                  <a:gd name="T17" fmla="*/ 2147483646 h 14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71" h="144">
                    <a:moveTo>
                      <a:pt x="0" y="133"/>
                    </a:moveTo>
                    <a:cubicBezTo>
                      <a:pt x="0" y="139"/>
                      <a:pt x="5" y="144"/>
                      <a:pt x="11" y="144"/>
                    </a:cubicBezTo>
                    <a:cubicBezTo>
                      <a:pt x="17" y="144"/>
                      <a:pt x="22" y="139"/>
                      <a:pt x="22" y="133"/>
                    </a:cubicBezTo>
                    <a:cubicBezTo>
                      <a:pt x="22" y="72"/>
                      <a:pt x="73" y="23"/>
                      <a:pt x="136" y="23"/>
                    </a:cubicBezTo>
                    <a:cubicBezTo>
                      <a:pt x="198" y="23"/>
                      <a:pt x="249" y="72"/>
                      <a:pt x="249" y="133"/>
                    </a:cubicBezTo>
                    <a:cubicBezTo>
                      <a:pt x="249" y="139"/>
                      <a:pt x="254" y="144"/>
                      <a:pt x="260" y="144"/>
                    </a:cubicBezTo>
                    <a:cubicBezTo>
                      <a:pt x="266" y="144"/>
                      <a:pt x="271" y="139"/>
                      <a:pt x="271" y="133"/>
                    </a:cubicBezTo>
                    <a:cubicBezTo>
                      <a:pt x="271" y="60"/>
                      <a:pt x="210" y="0"/>
                      <a:pt x="136" y="0"/>
                    </a:cubicBezTo>
                    <a:cubicBezTo>
                      <a:pt x="61" y="0"/>
                      <a:pt x="0" y="60"/>
                      <a:pt x="0" y="1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" name="组合 2"/>
          <p:cNvGrpSpPr/>
          <p:nvPr/>
        </p:nvGrpSpPr>
        <p:grpSpPr bwMode="auto">
          <a:xfrm>
            <a:off x="2509838" y="1276350"/>
            <a:ext cx="2012950" cy="2786063"/>
            <a:chOff x="2510458" y="1275606"/>
            <a:chExt cx="2011680" cy="2786779"/>
          </a:xfrm>
        </p:grpSpPr>
        <p:sp>
          <p:nvSpPr>
            <p:cNvPr id="40" name="4 bg"/>
            <p:cNvSpPr/>
            <p:nvPr/>
          </p:nvSpPr>
          <p:spPr bwMode="auto">
            <a:xfrm>
              <a:off x="2510458" y="1275606"/>
              <a:ext cx="2011680" cy="2786779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4362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2981" y="1352061"/>
              <a:ext cx="1906663" cy="1451250"/>
            </a:xfrm>
            <a:prstGeom prst="rect">
              <a:avLst/>
            </a:prstGeom>
            <a:noFill/>
            <a:ln>
              <a:noFill/>
            </a:ln>
            <a:effectLst>
              <a:outerShdw dist="50800" dir="5400000" algn="t" rotWithShape="0">
                <a:srgbClr val="000000">
                  <a:alpha val="39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63" name="矩形 104"/>
            <p:cNvSpPr>
              <a:spLocks noChangeArrowheads="1"/>
            </p:cNvSpPr>
            <p:nvPr/>
          </p:nvSpPr>
          <p:spPr bwMode="auto">
            <a:xfrm>
              <a:off x="3265260" y="2949501"/>
              <a:ext cx="1242665" cy="849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64" name="Freeform 51"/>
            <p:cNvSpPr>
              <a:spLocks noEditPoints="1"/>
            </p:cNvSpPr>
            <p:nvPr/>
          </p:nvSpPr>
          <p:spPr bwMode="auto">
            <a:xfrm rot="5400000" flipH="1" flipV="1">
              <a:off x="2829941" y="303124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4365" name="组合 53"/>
            <p:cNvGrpSpPr/>
            <p:nvPr/>
          </p:nvGrpSpPr>
          <p:grpSpPr bwMode="auto">
            <a:xfrm>
              <a:off x="2616383" y="3337429"/>
              <a:ext cx="590393" cy="591585"/>
              <a:chOff x="11195051" y="2354263"/>
              <a:chExt cx="785813" cy="787400"/>
            </a:xfrm>
          </p:grpSpPr>
          <p:sp>
            <p:nvSpPr>
              <p:cNvPr id="55" name="Freeform 13"/>
              <p:cNvSpPr/>
              <p:nvPr/>
            </p:nvSpPr>
            <p:spPr bwMode="auto">
              <a:xfrm>
                <a:off x="11195543" y="2353307"/>
                <a:ext cx="785526" cy="788339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67" name="Freeform 14"/>
              <p:cNvSpPr/>
              <p:nvPr/>
            </p:nvSpPr>
            <p:spPr bwMode="auto">
              <a:xfrm>
                <a:off x="11310938" y="2506663"/>
                <a:ext cx="669925" cy="635000"/>
              </a:xfrm>
              <a:custGeom>
                <a:avLst/>
                <a:gdLst>
                  <a:gd name="T0" fmla="*/ 2147483646 w 586"/>
                  <a:gd name="T1" fmla="*/ 2147483646 h 555"/>
                  <a:gd name="T2" fmla="*/ 2147483646 w 586"/>
                  <a:gd name="T3" fmla="*/ 2147483646 h 555"/>
                  <a:gd name="T4" fmla="*/ 2147483646 w 586"/>
                  <a:gd name="T5" fmla="*/ 0 h 555"/>
                  <a:gd name="T6" fmla="*/ 2147483646 w 586"/>
                  <a:gd name="T7" fmla="*/ 2147483646 h 555"/>
                  <a:gd name="T8" fmla="*/ 0 w 586"/>
                  <a:gd name="T9" fmla="*/ 2147483646 h 555"/>
                  <a:gd name="T10" fmla="*/ 2147483646 w 586"/>
                  <a:gd name="T11" fmla="*/ 2147483646 h 555"/>
                  <a:gd name="T12" fmla="*/ 2147483646 w 586"/>
                  <a:gd name="T13" fmla="*/ 2147483646 h 555"/>
                  <a:gd name="T14" fmla="*/ 2147483646 w 586"/>
                  <a:gd name="T15" fmla="*/ 2147483646 h 555"/>
                  <a:gd name="T16" fmla="*/ 2147483646 w 586"/>
                  <a:gd name="T17" fmla="*/ 2147483646 h 555"/>
                  <a:gd name="T18" fmla="*/ 2147483646 w 586"/>
                  <a:gd name="T19" fmla="*/ 2147483646 h 55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86" h="555">
                    <a:moveTo>
                      <a:pt x="586" y="493"/>
                    </a:moveTo>
                    <a:cubicBezTo>
                      <a:pt x="586" y="156"/>
                      <a:pt x="586" y="156"/>
                      <a:pt x="586" y="156"/>
                    </a:cubicBezTo>
                    <a:cubicBezTo>
                      <a:pt x="431" y="0"/>
                      <a:pt x="431" y="0"/>
                      <a:pt x="431" y="0"/>
                    </a:cubicBezTo>
                    <a:cubicBezTo>
                      <a:pt x="431" y="0"/>
                      <a:pt x="15" y="12"/>
                      <a:pt x="17" y="16"/>
                    </a:cubicBezTo>
                    <a:cubicBezTo>
                      <a:pt x="18" y="21"/>
                      <a:pt x="0" y="328"/>
                      <a:pt x="0" y="328"/>
                    </a:cubicBezTo>
                    <a:cubicBezTo>
                      <a:pt x="118" y="446"/>
                      <a:pt x="118" y="446"/>
                      <a:pt x="118" y="446"/>
                    </a:cubicBezTo>
                    <a:cubicBezTo>
                      <a:pt x="100" y="464"/>
                      <a:pt x="100" y="464"/>
                      <a:pt x="100" y="464"/>
                    </a:cubicBezTo>
                    <a:cubicBezTo>
                      <a:pt x="191" y="555"/>
                      <a:pt x="191" y="555"/>
                      <a:pt x="191" y="555"/>
                    </a:cubicBezTo>
                    <a:cubicBezTo>
                      <a:pt x="524" y="555"/>
                      <a:pt x="524" y="555"/>
                      <a:pt x="524" y="555"/>
                    </a:cubicBezTo>
                    <a:cubicBezTo>
                      <a:pt x="558" y="555"/>
                      <a:pt x="586" y="527"/>
                      <a:pt x="586" y="493"/>
                    </a:cubicBezTo>
                    <a:close/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68" name="Freeform 15"/>
              <p:cNvSpPr>
                <a:spLocks noEditPoints="1"/>
              </p:cNvSpPr>
              <p:nvPr/>
            </p:nvSpPr>
            <p:spPr bwMode="auto">
              <a:xfrm>
                <a:off x="11463338" y="2587626"/>
                <a:ext cx="206375" cy="290513"/>
              </a:xfrm>
              <a:custGeom>
                <a:avLst/>
                <a:gdLst>
                  <a:gd name="T0" fmla="*/ 2147483646 w 180"/>
                  <a:gd name="T1" fmla="*/ 2147483646 h 253"/>
                  <a:gd name="T2" fmla="*/ 2147483646 w 180"/>
                  <a:gd name="T3" fmla="*/ 2147483646 h 253"/>
                  <a:gd name="T4" fmla="*/ 2147483646 w 180"/>
                  <a:gd name="T5" fmla="*/ 0 h 253"/>
                  <a:gd name="T6" fmla="*/ 2147483646 w 180"/>
                  <a:gd name="T7" fmla="*/ 2147483646 h 253"/>
                  <a:gd name="T8" fmla="*/ 2147483646 w 180"/>
                  <a:gd name="T9" fmla="*/ 2147483646 h 253"/>
                  <a:gd name="T10" fmla="*/ 0 w 180"/>
                  <a:gd name="T11" fmla="*/ 2147483646 h 253"/>
                  <a:gd name="T12" fmla="*/ 2147483646 w 180"/>
                  <a:gd name="T13" fmla="*/ 2147483646 h 253"/>
                  <a:gd name="T14" fmla="*/ 2147483646 w 180"/>
                  <a:gd name="T15" fmla="*/ 2147483646 h 253"/>
                  <a:gd name="T16" fmla="*/ 2147483646 w 180"/>
                  <a:gd name="T17" fmla="*/ 2147483646 h 253"/>
                  <a:gd name="T18" fmla="*/ 2147483646 w 180"/>
                  <a:gd name="T19" fmla="*/ 2147483646 h 253"/>
                  <a:gd name="T20" fmla="*/ 2147483646 w 180"/>
                  <a:gd name="T21" fmla="*/ 2147483646 h 253"/>
                  <a:gd name="T22" fmla="*/ 2147483646 w 180"/>
                  <a:gd name="T23" fmla="*/ 2147483646 h 253"/>
                  <a:gd name="T24" fmla="*/ 2147483646 w 180"/>
                  <a:gd name="T25" fmla="*/ 2147483646 h 253"/>
                  <a:gd name="T26" fmla="*/ 2147483646 w 180"/>
                  <a:gd name="T27" fmla="*/ 2147483646 h 253"/>
                  <a:gd name="T28" fmla="*/ 2147483646 w 180"/>
                  <a:gd name="T29" fmla="*/ 2147483646 h 253"/>
                  <a:gd name="T30" fmla="*/ 2147483646 w 180"/>
                  <a:gd name="T31" fmla="*/ 2147483646 h 253"/>
                  <a:gd name="T32" fmla="*/ 2147483646 w 180"/>
                  <a:gd name="T33" fmla="*/ 2147483646 h 253"/>
                  <a:gd name="T34" fmla="*/ 2147483646 w 180"/>
                  <a:gd name="T35" fmla="*/ 2147483646 h 253"/>
                  <a:gd name="T36" fmla="*/ 2147483646 w 180"/>
                  <a:gd name="T37" fmla="*/ 2147483646 h 253"/>
                  <a:gd name="T38" fmla="*/ 2147483646 w 180"/>
                  <a:gd name="T39" fmla="*/ 2147483646 h 253"/>
                  <a:gd name="T40" fmla="*/ 2147483646 w 180"/>
                  <a:gd name="T41" fmla="*/ 2147483646 h 253"/>
                  <a:gd name="T42" fmla="*/ 2147483646 w 180"/>
                  <a:gd name="T43" fmla="*/ 2147483646 h 253"/>
                  <a:gd name="T44" fmla="*/ 2147483646 w 180"/>
                  <a:gd name="T45" fmla="*/ 2147483646 h 253"/>
                  <a:gd name="T46" fmla="*/ 2147483646 w 180"/>
                  <a:gd name="T47" fmla="*/ 2147483646 h 25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0" h="253">
                    <a:moveTo>
                      <a:pt x="127" y="86"/>
                    </a:moveTo>
                    <a:cubicBezTo>
                      <a:pt x="139" y="77"/>
                      <a:pt x="147" y="64"/>
                      <a:pt x="147" y="49"/>
                    </a:cubicBezTo>
                    <a:cubicBezTo>
                      <a:pt x="147" y="22"/>
                      <a:pt x="121" y="0"/>
                      <a:pt x="90" y="0"/>
                    </a:cubicBezTo>
                    <a:cubicBezTo>
                      <a:pt x="58" y="0"/>
                      <a:pt x="33" y="22"/>
                      <a:pt x="33" y="49"/>
                    </a:cubicBezTo>
                    <a:cubicBezTo>
                      <a:pt x="33" y="64"/>
                      <a:pt x="41" y="77"/>
                      <a:pt x="53" y="86"/>
                    </a:cubicBezTo>
                    <a:cubicBezTo>
                      <a:pt x="22" y="98"/>
                      <a:pt x="0" y="125"/>
                      <a:pt x="0" y="157"/>
                    </a:cubicBezTo>
                    <a:cubicBezTo>
                      <a:pt x="0" y="160"/>
                      <a:pt x="1" y="244"/>
                      <a:pt x="1" y="244"/>
                    </a:cubicBezTo>
                    <a:cubicBezTo>
                      <a:pt x="1" y="249"/>
                      <a:pt x="8" y="253"/>
                      <a:pt x="16" y="253"/>
                    </a:cubicBezTo>
                    <a:cubicBezTo>
                      <a:pt x="164" y="253"/>
                      <a:pt x="164" y="253"/>
                      <a:pt x="164" y="253"/>
                    </a:cubicBezTo>
                    <a:cubicBezTo>
                      <a:pt x="172" y="253"/>
                      <a:pt x="179" y="249"/>
                      <a:pt x="179" y="244"/>
                    </a:cubicBezTo>
                    <a:cubicBezTo>
                      <a:pt x="179" y="244"/>
                      <a:pt x="180" y="160"/>
                      <a:pt x="180" y="157"/>
                    </a:cubicBezTo>
                    <a:cubicBezTo>
                      <a:pt x="180" y="125"/>
                      <a:pt x="158" y="98"/>
                      <a:pt x="127" y="86"/>
                    </a:cubicBezTo>
                    <a:close/>
                    <a:moveTo>
                      <a:pt x="106" y="127"/>
                    </a:move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8" y="170"/>
                      <a:pt x="98" y="170"/>
                      <a:pt x="98" y="170"/>
                    </a:cubicBezTo>
                    <a:cubicBezTo>
                      <a:pt x="97" y="176"/>
                      <a:pt x="94" y="180"/>
                      <a:pt x="90" y="180"/>
                    </a:cubicBezTo>
                    <a:cubicBezTo>
                      <a:pt x="86" y="180"/>
                      <a:pt x="83" y="176"/>
                      <a:pt x="82" y="170"/>
                    </a:cubicBezTo>
                    <a:cubicBezTo>
                      <a:pt x="78" y="148"/>
                      <a:pt x="78" y="148"/>
                      <a:pt x="78" y="148"/>
                    </a:cubicBezTo>
                    <a:cubicBezTo>
                      <a:pt x="74" y="127"/>
                      <a:pt x="74" y="127"/>
                      <a:pt x="74" y="127"/>
                    </a:cubicBezTo>
                    <a:cubicBezTo>
                      <a:pt x="73" y="122"/>
                      <a:pt x="74" y="118"/>
                      <a:pt x="75" y="114"/>
                    </a:cubicBezTo>
                    <a:cubicBezTo>
                      <a:pt x="77" y="111"/>
                      <a:pt x="80" y="109"/>
                      <a:pt x="82" y="109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100" y="109"/>
                      <a:pt x="103" y="111"/>
                      <a:pt x="104" y="114"/>
                    </a:cubicBezTo>
                    <a:cubicBezTo>
                      <a:pt x="106" y="118"/>
                      <a:pt x="107" y="122"/>
                      <a:pt x="106" y="1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69" name="Freeform 16"/>
              <p:cNvSpPr>
                <a:spLocks noEditPoints="1"/>
              </p:cNvSpPr>
              <p:nvPr/>
            </p:nvSpPr>
            <p:spPr bwMode="auto">
              <a:xfrm>
                <a:off x="11291888" y="2493963"/>
                <a:ext cx="549275" cy="546100"/>
              </a:xfrm>
              <a:custGeom>
                <a:avLst/>
                <a:gdLst>
                  <a:gd name="T0" fmla="*/ 2147483646 w 480"/>
                  <a:gd name="T1" fmla="*/ 0 h 477"/>
                  <a:gd name="T2" fmla="*/ 2147483646 w 480"/>
                  <a:gd name="T3" fmla="*/ 0 h 477"/>
                  <a:gd name="T4" fmla="*/ 0 w 480"/>
                  <a:gd name="T5" fmla="*/ 2147483646 h 477"/>
                  <a:gd name="T6" fmla="*/ 0 w 480"/>
                  <a:gd name="T7" fmla="*/ 2147483646 h 477"/>
                  <a:gd name="T8" fmla="*/ 2147483646 w 480"/>
                  <a:gd name="T9" fmla="*/ 2147483646 h 477"/>
                  <a:gd name="T10" fmla="*/ 2147483646 w 480"/>
                  <a:gd name="T11" fmla="*/ 2147483646 h 477"/>
                  <a:gd name="T12" fmla="*/ 2147483646 w 480"/>
                  <a:gd name="T13" fmla="*/ 2147483646 h 477"/>
                  <a:gd name="T14" fmla="*/ 2147483646 w 480"/>
                  <a:gd name="T15" fmla="*/ 2147483646 h 477"/>
                  <a:gd name="T16" fmla="*/ 2147483646 w 480"/>
                  <a:gd name="T17" fmla="*/ 2147483646 h 477"/>
                  <a:gd name="T18" fmla="*/ 2147483646 w 480"/>
                  <a:gd name="T19" fmla="*/ 2147483646 h 477"/>
                  <a:gd name="T20" fmla="*/ 2147483646 w 480"/>
                  <a:gd name="T21" fmla="*/ 2147483646 h 477"/>
                  <a:gd name="T22" fmla="*/ 2147483646 w 480"/>
                  <a:gd name="T23" fmla="*/ 2147483646 h 477"/>
                  <a:gd name="T24" fmla="*/ 2147483646 w 480"/>
                  <a:gd name="T25" fmla="*/ 2147483646 h 477"/>
                  <a:gd name="T26" fmla="*/ 2147483646 w 480"/>
                  <a:gd name="T27" fmla="*/ 2147483646 h 477"/>
                  <a:gd name="T28" fmla="*/ 2147483646 w 480"/>
                  <a:gd name="T29" fmla="*/ 0 h 477"/>
                  <a:gd name="T30" fmla="*/ 2147483646 w 480"/>
                  <a:gd name="T31" fmla="*/ 2147483646 h 477"/>
                  <a:gd name="T32" fmla="*/ 2147483646 w 480"/>
                  <a:gd name="T33" fmla="*/ 2147483646 h 477"/>
                  <a:gd name="T34" fmla="*/ 2147483646 w 480"/>
                  <a:gd name="T35" fmla="*/ 2147483646 h 477"/>
                  <a:gd name="T36" fmla="*/ 2147483646 w 480"/>
                  <a:gd name="T37" fmla="*/ 2147483646 h 477"/>
                  <a:gd name="T38" fmla="*/ 2147483646 w 480"/>
                  <a:gd name="T39" fmla="*/ 2147483646 h 477"/>
                  <a:gd name="T40" fmla="*/ 2147483646 w 480"/>
                  <a:gd name="T41" fmla="*/ 2147483646 h 477"/>
                  <a:gd name="T42" fmla="*/ 2147483646 w 480"/>
                  <a:gd name="T43" fmla="*/ 2147483646 h 477"/>
                  <a:gd name="T44" fmla="*/ 2147483646 w 480"/>
                  <a:gd name="T45" fmla="*/ 2147483646 h 477"/>
                  <a:gd name="T46" fmla="*/ 2147483646 w 480"/>
                  <a:gd name="T47" fmla="*/ 2147483646 h 47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80" h="477">
                    <a:moveTo>
                      <a:pt x="414" y="0"/>
                    </a:moveTo>
                    <a:cubicBezTo>
                      <a:pt x="66" y="0"/>
                      <a:pt x="66" y="0"/>
                      <a:pt x="66" y="0"/>
                    </a:cubicBezTo>
                    <a:cubicBezTo>
                      <a:pt x="30" y="0"/>
                      <a:pt x="0" y="26"/>
                      <a:pt x="0" y="59"/>
                    </a:cubicBezTo>
                    <a:cubicBezTo>
                      <a:pt x="0" y="301"/>
                      <a:pt x="0" y="301"/>
                      <a:pt x="0" y="301"/>
                    </a:cubicBezTo>
                    <a:cubicBezTo>
                      <a:pt x="0" y="334"/>
                      <a:pt x="30" y="361"/>
                      <a:pt x="66" y="361"/>
                    </a:cubicBezTo>
                    <a:cubicBezTo>
                      <a:pt x="204" y="361"/>
                      <a:pt x="204" y="361"/>
                      <a:pt x="204" y="361"/>
                    </a:cubicBezTo>
                    <a:cubicBezTo>
                      <a:pt x="204" y="427"/>
                      <a:pt x="204" y="427"/>
                      <a:pt x="204" y="427"/>
                    </a:cubicBezTo>
                    <a:cubicBezTo>
                      <a:pt x="153" y="434"/>
                      <a:pt x="116" y="454"/>
                      <a:pt x="116" y="477"/>
                    </a:cubicBezTo>
                    <a:cubicBezTo>
                      <a:pt x="364" y="477"/>
                      <a:pt x="364" y="477"/>
                      <a:pt x="364" y="477"/>
                    </a:cubicBezTo>
                    <a:cubicBezTo>
                      <a:pt x="364" y="454"/>
                      <a:pt x="327" y="434"/>
                      <a:pt x="276" y="427"/>
                    </a:cubicBezTo>
                    <a:cubicBezTo>
                      <a:pt x="276" y="361"/>
                      <a:pt x="276" y="361"/>
                      <a:pt x="276" y="361"/>
                    </a:cubicBezTo>
                    <a:cubicBezTo>
                      <a:pt x="414" y="361"/>
                      <a:pt x="414" y="361"/>
                      <a:pt x="414" y="361"/>
                    </a:cubicBezTo>
                    <a:cubicBezTo>
                      <a:pt x="450" y="361"/>
                      <a:pt x="480" y="334"/>
                      <a:pt x="480" y="301"/>
                    </a:cubicBezTo>
                    <a:cubicBezTo>
                      <a:pt x="480" y="59"/>
                      <a:pt x="480" y="59"/>
                      <a:pt x="480" y="59"/>
                    </a:cubicBezTo>
                    <a:cubicBezTo>
                      <a:pt x="480" y="26"/>
                      <a:pt x="450" y="0"/>
                      <a:pt x="414" y="0"/>
                    </a:cubicBezTo>
                    <a:close/>
                    <a:moveTo>
                      <a:pt x="430" y="301"/>
                    </a:moveTo>
                    <a:cubicBezTo>
                      <a:pt x="430" y="309"/>
                      <a:pt x="423" y="316"/>
                      <a:pt x="414" y="316"/>
                    </a:cubicBezTo>
                    <a:cubicBezTo>
                      <a:pt x="66" y="316"/>
                      <a:pt x="66" y="316"/>
                      <a:pt x="66" y="316"/>
                    </a:cubicBezTo>
                    <a:cubicBezTo>
                      <a:pt x="57" y="316"/>
                      <a:pt x="50" y="309"/>
                      <a:pt x="50" y="301"/>
                    </a:cubicBezTo>
                    <a:cubicBezTo>
                      <a:pt x="50" y="59"/>
                      <a:pt x="50" y="59"/>
                      <a:pt x="50" y="59"/>
                    </a:cubicBezTo>
                    <a:cubicBezTo>
                      <a:pt x="50" y="51"/>
                      <a:pt x="57" y="45"/>
                      <a:pt x="66" y="45"/>
                    </a:cubicBezTo>
                    <a:cubicBezTo>
                      <a:pt x="414" y="45"/>
                      <a:pt x="414" y="45"/>
                      <a:pt x="414" y="45"/>
                    </a:cubicBezTo>
                    <a:cubicBezTo>
                      <a:pt x="423" y="45"/>
                      <a:pt x="430" y="51"/>
                      <a:pt x="430" y="59"/>
                    </a:cubicBezTo>
                    <a:lnTo>
                      <a:pt x="430" y="30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4" name="组合 3"/>
          <p:cNvGrpSpPr/>
          <p:nvPr/>
        </p:nvGrpSpPr>
        <p:grpSpPr bwMode="auto">
          <a:xfrm>
            <a:off x="4694238" y="1276350"/>
            <a:ext cx="2011362" cy="2786063"/>
            <a:chOff x="4693871" y="1275606"/>
            <a:chExt cx="2011680" cy="2786779"/>
          </a:xfrm>
        </p:grpSpPr>
        <p:sp>
          <p:nvSpPr>
            <p:cNvPr id="8" name="Rectangle 111"/>
            <p:cNvSpPr/>
            <p:nvPr/>
          </p:nvSpPr>
          <p:spPr bwMode="auto">
            <a:xfrm>
              <a:off x="4693871" y="1275606"/>
              <a:ext cx="2011680" cy="278677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4353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6031" y="1352851"/>
              <a:ext cx="1892651" cy="1460566"/>
            </a:xfrm>
            <a:prstGeom prst="rect">
              <a:avLst/>
            </a:prstGeom>
            <a:noFill/>
            <a:ln>
              <a:noFill/>
            </a:ln>
            <a:effectLst>
              <a:outerShdw dist="50800" dir="5400000" algn="t" rotWithShape="0">
                <a:srgbClr val="000000">
                  <a:alpha val="39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54" name="矩形 105"/>
            <p:cNvSpPr>
              <a:spLocks noChangeArrowheads="1"/>
            </p:cNvSpPr>
            <p:nvPr/>
          </p:nvSpPr>
          <p:spPr bwMode="auto">
            <a:xfrm>
              <a:off x="5447646" y="2949501"/>
              <a:ext cx="1242665" cy="849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55" name="Freeform 51"/>
            <p:cNvSpPr>
              <a:spLocks noEditPoints="1"/>
            </p:cNvSpPr>
            <p:nvPr/>
          </p:nvSpPr>
          <p:spPr bwMode="auto">
            <a:xfrm rot="5400000" flipH="1" flipV="1">
              <a:off x="5019847" y="303124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4356" name="组合 58"/>
            <p:cNvGrpSpPr/>
            <p:nvPr/>
          </p:nvGrpSpPr>
          <p:grpSpPr bwMode="auto">
            <a:xfrm>
              <a:off x="4832231" y="3337429"/>
              <a:ext cx="590393" cy="591585"/>
              <a:chOff x="10115551" y="2354263"/>
              <a:chExt cx="785813" cy="787400"/>
            </a:xfrm>
          </p:grpSpPr>
          <p:sp>
            <p:nvSpPr>
              <p:cNvPr id="60" name="Freeform 17"/>
              <p:cNvSpPr/>
              <p:nvPr/>
            </p:nvSpPr>
            <p:spPr bwMode="auto">
              <a:xfrm>
                <a:off x="10115250" y="2353307"/>
                <a:ext cx="786146" cy="788339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58" name="Freeform 18"/>
              <p:cNvSpPr/>
              <p:nvPr/>
            </p:nvSpPr>
            <p:spPr bwMode="auto">
              <a:xfrm>
                <a:off x="10225088" y="2516188"/>
                <a:ext cx="676275" cy="625475"/>
              </a:xfrm>
              <a:custGeom>
                <a:avLst/>
                <a:gdLst>
                  <a:gd name="T0" fmla="*/ 2147483646 w 591"/>
                  <a:gd name="T1" fmla="*/ 2147483646 h 546"/>
                  <a:gd name="T2" fmla="*/ 2147483646 w 591"/>
                  <a:gd name="T3" fmla="*/ 2147483646 h 546"/>
                  <a:gd name="T4" fmla="*/ 2147483646 w 591"/>
                  <a:gd name="T5" fmla="*/ 0 h 546"/>
                  <a:gd name="T6" fmla="*/ 2147483646 w 591"/>
                  <a:gd name="T7" fmla="*/ 2147483646 h 546"/>
                  <a:gd name="T8" fmla="*/ 0 w 591"/>
                  <a:gd name="T9" fmla="*/ 2147483646 h 546"/>
                  <a:gd name="T10" fmla="*/ 2147483646 w 591"/>
                  <a:gd name="T11" fmla="*/ 2147483646 h 546"/>
                  <a:gd name="T12" fmla="*/ 2147483646 w 591"/>
                  <a:gd name="T13" fmla="*/ 2147483646 h 546"/>
                  <a:gd name="T14" fmla="*/ 2147483646 w 591"/>
                  <a:gd name="T15" fmla="*/ 2147483646 h 54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91" h="546">
                    <a:moveTo>
                      <a:pt x="591" y="484"/>
                    </a:moveTo>
                    <a:cubicBezTo>
                      <a:pt x="591" y="96"/>
                      <a:pt x="591" y="96"/>
                      <a:pt x="591" y="96"/>
                    </a:cubicBezTo>
                    <a:cubicBezTo>
                      <a:pt x="495" y="0"/>
                      <a:pt x="495" y="0"/>
                      <a:pt x="495" y="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129" y="546"/>
                      <a:pt x="129" y="546"/>
                      <a:pt x="129" y="546"/>
                    </a:cubicBezTo>
                    <a:cubicBezTo>
                      <a:pt x="529" y="546"/>
                      <a:pt x="529" y="546"/>
                      <a:pt x="529" y="546"/>
                    </a:cubicBezTo>
                    <a:cubicBezTo>
                      <a:pt x="563" y="546"/>
                      <a:pt x="591" y="518"/>
                      <a:pt x="591" y="484"/>
                    </a:cubicBez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59" name="Freeform 19"/>
              <p:cNvSpPr>
                <a:spLocks noEditPoints="1"/>
              </p:cNvSpPr>
              <p:nvPr/>
            </p:nvSpPr>
            <p:spPr bwMode="auto">
              <a:xfrm>
                <a:off x="10217151" y="2506663"/>
                <a:ext cx="590550" cy="504825"/>
              </a:xfrm>
              <a:custGeom>
                <a:avLst/>
                <a:gdLst>
                  <a:gd name="T0" fmla="*/ 2147483646 w 517"/>
                  <a:gd name="T1" fmla="*/ 0 h 442"/>
                  <a:gd name="T2" fmla="*/ 0 w 517"/>
                  <a:gd name="T3" fmla="*/ 2147483646 h 442"/>
                  <a:gd name="T4" fmla="*/ 2147483646 w 517"/>
                  <a:gd name="T5" fmla="*/ 2147483646 h 442"/>
                  <a:gd name="T6" fmla="*/ 2147483646 w 517"/>
                  <a:gd name="T7" fmla="*/ 2147483646 h 442"/>
                  <a:gd name="T8" fmla="*/ 2147483646 w 517"/>
                  <a:gd name="T9" fmla="*/ 2147483646 h 442"/>
                  <a:gd name="T10" fmla="*/ 2147483646 w 517"/>
                  <a:gd name="T11" fmla="*/ 2147483646 h 442"/>
                  <a:gd name="T12" fmla="*/ 2147483646 w 517"/>
                  <a:gd name="T13" fmla="*/ 2147483646 h 442"/>
                  <a:gd name="T14" fmla="*/ 2147483646 w 517"/>
                  <a:gd name="T15" fmla="*/ 2147483646 h 442"/>
                  <a:gd name="T16" fmla="*/ 2147483646 w 517"/>
                  <a:gd name="T17" fmla="*/ 2147483646 h 442"/>
                  <a:gd name="T18" fmla="*/ 2147483646 w 517"/>
                  <a:gd name="T19" fmla="*/ 2147483646 h 442"/>
                  <a:gd name="T20" fmla="*/ 2147483646 w 517"/>
                  <a:gd name="T21" fmla="*/ 2147483646 h 442"/>
                  <a:gd name="T22" fmla="*/ 2147483646 w 517"/>
                  <a:gd name="T23" fmla="*/ 2147483646 h 442"/>
                  <a:gd name="T24" fmla="*/ 2147483646 w 517"/>
                  <a:gd name="T25" fmla="*/ 2147483646 h 442"/>
                  <a:gd name="T26" fmla="*/ 2147483646 w 517"/>
                  <a:gd name="T27" fmla="*/ 2147483646 h 442"/>
                  <a:gd name="T28" fmla="*/ 2147483646 w 517"/>
                  <a:gd name="T29" fmla="*/ 2147483646 h 442"/>
                  <a:gd name="T30" fmla="*/ 2147483646 w 517"/>
                  <a:gd name="T31" fmla="*/ 2147483646 h 442"/>
                  <a:gd name="T32" fmla="*/ 2147483646 w 517"/>
                  <a:gd name="T33" fmla="*/ 2147483646 h 442"/>
                  <a:gd name="T34" fmla="*/ 2147483646 w 517"/>
                  <a:gd name="T35" fmla="*/ 2147483646 h 442"/>
                  <a:gd name="T36" fmla="*/ 2147483646 w 517"/>
                  <a:gd name="T37" fmla="*/ 2147483646 h 442"/>
                  <a:gd name="T38" fmla="*/ 2147483646 w 517"/>
                  <a:gd name="T39" fmla="*/ 2147483646 h 442"/>
                  <a:gd name="T40" fmla="*/ 2147483646 w 517"/>
                  <a:gd name="T41" fmla="*/ 2147483646 h 442"/>
                  <a:gd name="T42" fmla="*/ 2147483646 w 517"/>
                  <a:gd name="T43" fmla="*/ 2147483646 h 442"/>
                  <a:gd name="T44" fmla="*/ 2147483646 w 517"/>
                  <a:gd name="T45" fmla="*/ 2147483646 h 442"/>
                  <a:gd name="T46" fmla="*/ 2147483646 w 517"/>
                  <a:gd name="T47" fmla="*/ 2147483646 h 442"/>
                  <a:gd name="T48" fmla="*/ 2147483646 w 517"/>
                  <a:gd name="T49" fmla="*/ 2147483646 h 442"/>
                  <a:gd name="T50" fmla="*/ 2147483646 w 517"/>
                  <a:gd name="T51" fmla="*/ 2147483646 h 442"/>
                  <a:gd name="T52" fmla="*/ 2147483646 w 517"/>
                  <a:gd name="T53" fmla="*/ 2147483646 h 442"/>
                  <a:gd name="T54" fmla="*/ 2147483646 w 517"/>
                  <a:gd name="T55" fmla="*/ 2147483646 h 442"/>
                  <a:gd name="T56" fmla="*/ 2147483646 w 517"/>
                  <a:gd name="T57" fmla="*/ 2147483646 h 442"/>
                  <a:gd name="T58" fmla="*/ 2147483646 w 517"/>
                  <a:gd name="T59" fmla="*/ 2147483646 h 442"/>
                  <a:gd name="T60" fmla="*/ 2147483646 w 517"/>
                  <a:gd name="T61" fmla="*/ 2147483646 h 442"/>
                  <a:gd name="T62" fmla="*/ 2147483646 w 517"/>
                  <a:gd name="T63" fmla="*/ 2147483646 h 442"/>
                  <a:gd name="T64" fmla="*/ 2147483646 w 517"/>
                  <a:gd name="T65" fmla="*/ 2147483646 h 442"/>
                  <a:gd name="T66" fmla="*/ 2147483646 w 517"/>
                  <a:gd name="T67" fmla="*/ 2147483646 h 442"/>
                  <a:gd name="T68" fmla="*/ 2147483646 w 517"/>
                  <a:gd name="T69" fmla="*/ 2147483646 h 442"/>
                  <a:gd name="T70" fmla="*/ 2147483646 w 517"/>
                  <a:gd name="T71" fmla="*/ 2147483646 h 442"/>
                  <a:gd name="T72" fmla="*/ 2147483646 w 517"/>
                  <a:gd name="T73" fmla="*/ 2147483646 h 442"/>
                  <a:gd name="T74" fmla="*/ 2147483646 w 517"/>
                  <a:gd name="T75" fmla="*/ 2147483646 h 442"/>
                  <a:gd name="T76" fmla="*/ 2147483646 w 517"/>
                  <a:gd name="T77" fmla="*/ 2147483646 h 442"/>
                  <a:gd name="T78" fmla="*/ 2147483646 w 517"/>
                  <a:gd name="T79" fmla="*/ 2147483646 h 442"/>
                  <a:gd name="T80" fmla="*/ 2147483646 w 517"/>
                  <a:gd name="T81" fmla="*/ 2147483646 h 442"/>
                  <a:gd name="T82" fmla="*/ 2147483646 w 517"/>
                  <a:gd name="T83" fmla="*/ 2147483646 h 442"/>
                  <a:gd name="T84" fmla="*/ 2147483646 w 517"/>
                  <a:gd name="T85" fmla="*/ 2147483646 h 442"/>
                  <a:gd name="T86" fmla="*/ 2147483646 w 517"/>
                  <a:gd name="T87" fmla="*/ 2147483646 h 442"/>
                  <a:gd name="T88" fmla="*/ 2147483646 w 517"/>
                  <a:gd name="T89" fmla="*/ 2147483646 h 442"/>
                  <a:gd name="T90" fmla="*/ 2147483646 w 517"/>
                  <a:gd name="T91" fmla="*/ 2147483646 h 442"/>
                  <a:gd name="T92" fmla="*/ 2147483646 w 517"/>
                  <a:gd name="T93" fmla="*/ 2147483646 h 442"/>
                  <a:gd name="T94" fmla="*/ 2147483646 w 517"/>
                  <a:gd name="T95" fmla="*/ 2147483646 h 442"/>
                  <a:gd name="T96" fmla="*/ 2147483646 w 517"/>
                  <a:gd name="T97" fmla="*/ 2147483646 h 442"/>
                  <a:gd name="T98" fmla="*/ 2147483646 w 517"/>
                  <a:gd name="T99" fmla="*/ 2147483646 h 442"/>
                  <a:gd name="T100" fmla="*/ 2147483646 w 517"/>
                  <a:gd name="T101" fmla="*/ 2147483646 h 442"/>
                  <a:gd name="T102" fmla="*/ 2147483646 w 517"/>
                  <a:gd name="T103" fmla="*/ 2147483646 h 442"/>
                  <a:gd name="T104" fmla="*/ 2147483646 w 517"/>
                  <a:gd name="T105" fmla="*/ 2147483646 h 442"/>
                  <a:gd name="T106" fmla="*/ 2147483646 w 517"/>
                  <a:gd name="T107" fmla="*/ 2147483646 h 44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17" h="442">
                    <a:moveTo>
                      <a:pt x="489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12" y="0"/>
                      <a:pt x="0" y="13"/>
                      <a:pt x="0" y="28"/>
                    </a:cubicBezTo>
                    <a:cubicBezTo>
                      <a:pt x="0" y="415"/>
                      <a:pt x="0" y="415"/>
                      <a:pt x="0" y="415"/>
                    </a:cubicBezTo>
                    <a:cubicBezTo>
                      <a:pt x="0" y="430"/>
                      <a:pt x="12" y="442"/>
                      <a:pt x="28" y="442"/>
                    </a:cubicBezTo>
                    <a:cubicBezTo>
                      <a:pt x="489" y="442"/>
                      <a:pt x="489" y="442"/>
                      <a:pt x="489" y="442"/>
                    </a:cubicBezTo>
                    <a:cubicBezTo>
                      <a:pt x="504" y="442"/>
                      <a:pt x="517" y="430"/>
                      <a:pt x="517" y="415"/>
                    </a:cubicBezTo>
                    <a:cubicBezTo>
                      <a:pt x="517" y="28"/>
                      <a:pt x="517" y="28"/>
                      <a:pt x="517" y="28"/>
                    </a:cubicBezTo>
                    <a:cubicBezTo>
                      <a:pt x="517" y="13"/>
                      <a:pt x="504" y="0"/>
                      <a:pt x="489" y="0"/>
                    </a:cubicBezTo>
                    <a:close/>
                    <a:moveTo>
                      <a:pt x="408" y="34"/>
                    </a:moveTo>
                    <a:cubicBezTo>
                      <a:pt x="408" y="28"/>
                      <a:pt x="414" y="23"/>
                      <a:pt x="421" y="23"/>
                    </a:cubicBezTo>
                    <a:cubicBezTo>
                      <a:pt x="462" y="23"/>
                      <a:pt x="462" y="23"/>
                      <a:pt x="462" y="23"/>
                    </a:cubicBezTo>
                    <a:cubicBezTo>
                      <a:pt x="469" y="23"/>
                      <a:pt x="475" y="28"/>
                      <a:pt x="475" y="34"/>
                    </a:cubicBezTo>
                    <a:cubicBezTo>
                      <a:pt x="475" y="59"/>
                      <a:pt x="475" y="59"/>
                      <a:pt x="475" y="59"/>
                    </a:cubicBezTo>
                    <a:cubicBezTo>
                      <a:pt x="475" y="65"/>
                      <a:pt x="469" y="70"/>
                      <a:pt x="462" y="70"/>
                    </a:cubicBezTo>
                    <a:cubicBezTo>
                      <a:pt x="421" y="70"/>
                      <a:pt x="421" y="70"/>
                      <a:pt x="421" y="70"/>
                    </a:cubicBezTo>
                    <a:cubicBezTo>
                      <a:pt x="414" y="70"/>
                      <a:pt x="408" y="65"/>
                      <a:pt x="408" y="59"/>
                    </a:cubicBezTo>
                    <a:lnTo>
                      <a:pt x="408" y="34"/>
                    </a:lnTo>
                    <a:close/>
                    <a:moveTo>
                      <a:pt x="317" y="34"/>
                    </a:moveTo>
                    <a:cubicBezTo>
                      <a:pt x="317" y="28"/>
                      <a:pt x="322" y="23"/>
                      <a:pt x="329" y="23"/>
                    </a:cubicBezTo>
                    <a:cubicBezTo>
                      <a:pt x="370" y="23"/>
                      <a:pt x="370" y="23"/>
                      <a:pt x="370" y="23"/>
                    </a:cubicBezTo>
                    <a:cubicBezTo>
                      <a:pt x="377" y="23"/>
                      <a:pt x="383" y="28"/>
                      <a:pt x="383" y="34"/>
                    </a:cubicBezTo>
                    <a:cubicBezTo>
                      <a:pt x="383" y="59"/>
                      <a:pt x="383" y="59"/>
                      <a:pt x="383" y="59"/>
                    </a:cubicBezTo>
                    <a:cubicBezTo>
                      <a:pt x="383" y="65"/>
                      <a:pt x="377" y="70"/>
                      <a:pt x="370" y="70"/>
                    </a:cubicBezTo>
                    <a:cubicBezTo>
                      <a:pt x="329" y="70"/>
                      <a:pt x="329" y="70"/>
                      <a:pt x="329" y="70"/>
                    </a:cubicBezTo>
                    <a:cubicBezTo>
                      <a:pt x="322" y="70"/>
                      <a:pt x="317" y="65"/>
                      <a:pt x="317" y="59"/>
                    </a:cubicBezTo>
                    <a:lnTo>
                      <a:pt x="317" y="34"/>
                    </a:lnTo>
                    <a:close/>
                    <a:moveTo>
                      <a:pt x="225" y="34"/>
                    </a:moveTo>
                    <a:cubicBezTo>
                      <a:pt x="225" y="28"/>
                      <a:pt x="231" y="23"/>
                      <a:pt x="238" y="23"/>
                    </a:cubicBezTo>
                    <a:cubicBezTo>
                      <a:pt x="279" y="23"/>
                      <a:pt x="279" y="23"/>
                      <a:pt x="279" y="23"/>
                    </a:cubicBezTo>
                    <a:cubicBezTo>
                      <a:pt x="286" y="23"/>
                      <a:pt x="291" y="28"/>
                      <a:pt x="291" y="34"/>
                    </a:cubicBezTo>
                    <a:cubicBezTo>
                      <a:pt x="291" y="59"/>
                      <a:pt x="291" y="59"/>
                      <a:pt x="291" y="59"/>
                    </a:cubicBezTo>
                    <a:cubicBezTo>
                      <a:pt x="291" y="65"/>
                      <a:pt x="286" y="70"/>
                      <a:pt x="279" y="70"/>
                    </a:cubicBezTo>
                    <a:cubicBezTo>
                      <a:pt x="238" y="70"/>
                      <a:pt x="238" y="70"/>
                      <a:pt x="238" y="70"/>
                    </a:cubicBezTo>
                    <a:cubicBezTo>
                      <a:pt x="231" y="70"/>
                      <a:pt x="225" y="65"/>
                      <a:pt x="225" y="59"/>
                    </a:cubicBezTo>
                    <a:lnTo>
                      <a:pt x="225" y="34"/>
                    </a:lnTo>
                    <a:close/>
                    <a:moveTo>
                      <a:pt x="133" y="34"/>
                    </a:moveTo>
                    <a:cubicBezTo>
                      <a:pt x="133" y="28"/>
                      <a:pt x="139" y="23"/>
                      <a:pt x="146" y="23"/>
                    </a:cubicBezTo>
                    <a:cubicBezTo>
                      <a:pt x="187" y="23"/>
                      <a:pt x="187" y="23"/>
                      <a:pt x="187" y="23"/>
                    </a:cubicBezTo>
                    <a:cubicBezTo>
                      <a:pt x="194" y="23"/>
                      <a:pt x="200" y="28"/>
                      <a:pt x="200" y="34"/>
                    </a:cubicBezTo>
                    <a:cubicBezTo>
                      <a:pt x="200" y="59"/>
                      <a:pt x="200" y="59"/>
                      <a:pt x="200" y="59"/>
                    </a:cubicBezTo>
                    <a:cubicBezTo>
                      <a:pt x="200" y="65"/>
                      <a:pt x="194" y="70"/>
                      <a:pt x="187" y="70"/>
                    </a:cubicBezTo>
                    <a:cubicBezTo>
                      <a:pt x="146" y="70"/>
                      <a:pt x="146" y="70"/>
                      <a:pt x="146" y="70"/>
                    </a:cubicBezTo>
                    <a:cubicBezTo>
                      <a:pt x="139" y="70"/>
                      <a:pt x="133" y="65"/>
                      <a:pt x="133" y="59"/>
                    </a:cubicBezTo>
                    <a:lnTo>
                      <a:pt x="133" y="34"/>
                    </a:lnTo>
                    <a:close/>
                    <a:moveTo>
                      <a:pt x="42" y="34"/>
                    </a:moveTo>
                    <a:cubicBezTo>
                      <a:pt x="42" y="28"/>
                      <a:pt x="47" y="23"/>
                      <a:pt x="54" y="23"/>
                    </a:cubicBezTo>
                    <a:cubicBezTo>
                      <a:pt x="95" y="23"/>
                      <a:pt x="95" y="23"/>
                      <a:pt x="95" y="23"/>
                    </a:cubicBezTo>
                    <a:cubicBezTo>
                      <a:pt x="102" y="23"/>
                      <a:pt x="108" y="28"/>
                      <a:pt x="108" y="34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108" y="65"/>
                      <a:pt x="102" y="70"/>
                      <a:pt x="95" y="7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47" y="70"/>
                      <a:pt x="42" y="65"/>
                      <a:pt x="42" y="59"/>
                    </a:cubicBezTo>
                    <a:lnTo>
                      <a:pt x="42" y="34"/>
                    </a:lnTo>
                    <a:close/>
                    <a:moveTo>
                      <a:pt x="108" y="413"/>
                    </a:moveTo>
                    <a:cubicBezTo>
                      <a:pt x="108" y="419"/>
                      <a:pt x="102" y="423"/>
                      <a:pt x="95" y="423"/>
                    </a:cubicBezTo>
                    <a:cubicBezTo>
                      <a:pt x="54" y="423"/>
                      <a:pt x="54" y="423"/>
                      <a:pt x="54" y="423"/>
                    </a:cubicBezTo>
                    <a:cubicBezTo>
                      <a:pt x="47" y="423"/>
                      <a:pt x="42" y="419"/>
                      <a:pt x="42" y="413"/>
                    </a:cubicBezTo>
                    <a:cubicBezTo>
                      <a:pt x="42" y="387"/>
                      <a:pt x="42" y="387"/>
                      <a:pt x="42" y="387"/>
                    </a:cubicBezTo>
                    <a:cubicBezTo>
                      <a:pt x="42" y="381"/>
                      <a:pt x="47" y="376"/>
                      <a:pt x="54" y="376"/>
                    </a:cubicBezTo>
                    <a:cubicBezTo>
                      <a:pt x="95" y="376"/>
                      <a:pt x="95" y="376"/>
                      <a:pt x="95" y="376"/>
                    </a:cubicBezTo>
                    <a:cubicBezTo>
                      <a:pt x="102" y="376"/>
                      <a:pt x="108" y="381"/>
                      <a:pt x="108" y="387"/>
                    </a:cubicBezTo>
                    <a:lnTo>
                      <a:pt x="108" y="413"/>
                    </a:lnTo>
                    <a:close/>
                    <a:moveTo>
                      <a:pt x="200" y="413"/>
                    </a:moveTo>
                    <a:cubicBezTo>
                      <a:pt x="200" y="419"/>
                      <a:pt x="194" y="423"/>
                      <a:pt x="187" y="423"/>
                    </a:cubicBezTo>
                    <a:cubicBezTo>
                      <a:pt x="146" y="423"/>
                      <a:pt x="146" y="423"/>
                      <a:pt x="146" y="423"/>
                    </a:cubicBezTo>
                    <a:cubicBezTo>
                      <a:pt x="139" y="423"/>
                      <a:pt x="133" y="419"/>
                      <a:pt x="133" y="413"/>
                    </a:cubicBezTo>
                    <a:cubicBezTo>
                      <a:pt x="133" y="387"/>
                      <a:pt x="133" y="387"/>
                      <a:pt x="133" y="387"/>
                    </a:cubicBezTo>
                    <a:cubicBezTo>
                      <a:pt x="133" y="381"/>
                      <a:pt x="139" y="376"/>
                      <a:pt x="146" y="376"/>
                    </a:cubicBezTo>
                    <a:cubicBezTo>
                      <a:pt x="187" y="376"/>
                      <a:pt x="187" y="376"/>
                      <a:pt x="187" y="376"/>
                    </a:cubicBezTo>
                    <a:cubicBezTo>
                      <a:pt x="194" y="376"/>
                      <a:pt x="200" y="381"/>
                      <a:pt x="200" y="387"/>
                    </a:cubicBezTo>
                    <a:lnTo>
                      <a:pt x="200" y="413"/>
                    </a:lnTo>
                    <a:close/>
                    <a:moveTo>
                      <a:pt x="291" y="413"/>
                    </a:moveTo>
                    <a:cubicBezTo>
                      <a:pt x="291" y="419"/>
                      <a:pt x="286" y="423"/>
                      <a:pt x="279" y="423"/>
                    </a:cubicBezTo>
                    <a:cubicBezTo>
                      <a:pt x="238" y="423"/>
                      <a:pt x="238" y="423"/>
                      <a:pt x="238" y="423"/>
                    </a:cubicBezTo>
                    <a:cubicBezTo>
                      <a:pt x="231" y="423"/>
                      <a:pt x="225" y="419"/>
                      <a:pt x="225" y="413"/>
                    </a:cubicBezTo>
                    <a:cubicBezTo>
                      <a:pt x="225" y="387"/>
                      <a:pt x="225" y="387"/>
                      <a:pt x="225" y="387"/>
                    </a:cubicBezTo>
                    <a:cubicBezTo>
                      <a:pt x="225" y="381"/>
                      <a:pt x="231" y="376"/>
                      <a:pt x="238" y="376"/>
                    </a:cubicBezTo>
                    <a:cubicBezTo>
                      <a:pt x="279" y="376"/>
                      <a:pt x="279" y="376"/>
                      <a:pt x="279" y="376"/>
                    </a:cubicBezTo>
                    <a:cubicBezTo>
                      <a:pt x="286" y="376"/>
                      <a:pt x="291" y="381"/>
                      <a:pt x="291" y="387"/>
                    </a:cubicBezTo>
                    <a:lnTo>
                      <a:pt x="291" y="413"/>
                    </a:lnTo>
                    <a:close/>
                    <a:moveTo>
                      <a:pt x="383" y="413"/>
                    </a:moveTo>
                    <a:cubicBezTo>
                      <a:pt x="383" y="419"/>
                      <a:pt x="377" y="423"/>
                      <a:pt x="370" y="423"/>
                    </a:cubicBezTo>
                    <a:cubicBezTo>
                      <a:pt x="329" y="423"/>
                      <a:pt x="329" y="423"/>
                      <a:pt x="329" y="423"/>
                    </a:cubicBezTo>
                    <a:cubicBezTo>
                      <a:pt x="322" y="423"/>
                      <a:pt x="317" y="419"/>
                      <a:pt x="317" y="413"/>
                    </a:cubicBezTo>
                    <a:cubicBezTo>
                      <a:pt x="317" y="387"/>
                      <a:pt x="317" y="387"/>
                      <a:pt x="317" y="387"/>
                    </a:cubicBezTo>
                    <a:cubicBezTo>
                      <a:pt x="317" y="381"/>
                      <a:pt x="322" y="376"/>
                      <a:pt x="329" y="376"/>
                    </a:cubicBezTo>
                    <a:cubicBezTo>
                      <a:pt x="370" y="376"/>
                      <a:pt x="370" y="376"/>
                      <a:pt x="370" y="376"/>
                    </a:cubicBezTo>
                    <a:cubicBezTo>
                      <a:pt x="377" y="376"/>
                      <a:pt x="383" y="381"/>
                      <a:pt x="383" y="387"/>
                    </a:cubicBezTo>
                    <a:lnTo>
                      <a:pt x="383" y="413"/>
                    </a:lnTo>
                    <a:close/>
                    <a:moveTo>
                      <a:pt x="475" y="413"/>
                    </a:moveTo>
                    <a:cubicBezTo>
                      <a:pt x="475" y="419"/>
                      <a:pt x="469" y="423"/>
                      <a:pt x="462" y="423"/>
                    </a:cubicBezTo>
                    <a:cubicBezTo>
                      <a:pt x="421" y="423"/>
                      <a:pt x="421" y="423"/>
                      <a:pt x="421" y="423"/>
                    </a:cubicBezTo>
                    <a:cubicBezTo>
                      <a:pt x="414" y="423"/>
                      <a:pt x="408" y="419"/>
                      <a:pt x="408" y="413"/>
                    </a:cubicBezTo>
                    <a:cubicBezTo>
                      <a:pt x="408" y="387"/>
                      <a:pt x="408" y="387"/>
                      <a:pt x="408" y="387"/>
                    </a:cubicBezTo>
                    <a:cubicBezTo>
                      <a:pt x="408" y="381"/>
                      <a:pt x="414" y="376"/>
                      <a:pt x="421" y="376"/>
                    </a:cubicBezTo>
                    <a:cubicBezTo>
                      <a:pt x="462" y="376"/>
                      <a:pt x="462" y="376"/>
                      <a:pt x="462" y="376"/>
                    </a:cubicBezTo>
                    <a:cubicBezTo>
                      <a:pt x="469" y="376"/>
                      <a:pt x="475" y="381"/>
                      <a:pt x="475" y="387"/>
                    </a:cubicBezTo>
                    <a:lnTo>
                      <a:pt x="475" y="413"/>
                    </a:lnTo>
                    <a:close/>
                    <a:moveTo>
                      <a:pt x="494" y="359"/>
                    </a:moveTo>
                    <a:cubicBezTo>
                      <a:pt x="492" y="359"/>
                      <a:pt x="491" y="359"/>
                      <a:pt x="489" y="359"/>
                    </a:cubicBezTo>
                    <a:cubicBezTo>
                      <a:pt x="27" y="359"/>
                      <a:pt x="27" y="359"/>
                      <a:pt x="27" y="359"/>
                    </a:cubicBezTo>
                    <a:cubicBezTo>
                      <a:pt x="26" y="359"/>
                      <a:pt x="24" y="359"/>
                      <a:pt x="23" y="359"/>
                    </a:cubicBezTo>
                    <a:cubicBezTo>
                      <a:pt x="23" y="98"/>
                      <a:pt x="23" y="98"/>
                      <a:pt x="23" y="98"/>
                    </a:cubicBezTo>
                    <a:cubicBezTo>
                      <a:pt x="24" y="98"/>
                      <a:pt x="26" y="98"/>
                      <a:pt x="27" y="98"/>
                    </a:cubicBezTo>
                    <a:cubicBezTo>
                      <a:pt x="489" y="98"/>
                      <a:pt x="489" y="98"/>
                      <a:pt x="489" y="98"/>
                    </a:cubicBezTo>
                    <a:cubicBezTo>
                      <a:pt x="491" y="98"/>
                      <a:pt x="492" y="98"/>
                      <a:pt x="494" y="98"/>
                    </a:cubicBezTo>
                    <a:lnTo>
                      <a:pt x="494" y="3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60" name="Freeform 20"/>
              <p:cNvSpPr/>
              <p:nvPr/>
            </p:nvSpPr>
            <p:spPr bwMode="auto">
              <a:xfrm>
                <a:off x="10477501" y="2652713"/>
                <a:ext cx="120650" cy="234950"/>
              </a:xfrm>
              <a:custGeom>
                <a:avLst/>
                <a:gdLst>
                  <a:gd name="T0" fmla="*/ 2147483646 w 76"/>
                  <a:gd name="T1" fmla="*/ 2147483646 h 148"/>
                  <a:gd name="T2" fmla="*/ 2147483646 w 76"/>
                  <a:gd name="T3" fmla="*/ 2147483646 h 148"/>
                  <a:gd name="T4" fmla="*/ 0 w 76"/>
                  <a:gd name="T5" fmla="*/ 2147483646 h 148"/>
                  <a:gd name="T6" fmla="*/ 0 w 76"/>
                  <a:gd name="T7" fmla="*/ 2147483646 h 148"/>
                  <a:gd name="T8" fmla="*/ 0 w 76"/>
                  <a:gd name="T9" fmla="*/ 0 h 148"/>
                  <a:gd name="T10" fmla="*/ 2147483646 w 76"/>
                  <a:gd name="T11" fmla="*/ 2147483646 h 148"/>
                  <a:gd name="T12" fmla="*/ 2147483646 w 76"/>
                  <a:gd name="T13" fmla="*/ 2147483646 h 1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76" h="148">
                    <a:moveTo>
                      <a:pt x="76" y="74"/>
                    </a:moveTo>
                    <a:lnTo>
                      <a:pt x="38" y="111"/>
                    </a:lnTo>
                    <a:lnTo>
                      <a:pt x="0" y="148"/>
                    </a:lnTo>
                    <a:lnTo>
                      <a:pt x="0" y="74"/>
                    </a:lnTo>
                    <a:lnTo>
                      <a:pt x="0" y="0"/>
                    </a:lnTo>
                    <a:lnTo>
                      <a:pt x="38" y="37"/>
                    </a:lnTo>
                    <a:lnTo>
                      <a:pt x="76" y="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5" name="组合 4"/>
          <p:cNvGrpSpPr/>
          <p:nvPr/>
        </p:nvGrpSpPr>
        <p:grpSpPr bwMode="auto">
          <a:xfrm>
            <a:off x="6875463" y="1276350"/>
            <a:ext cx="2012950" cy="2786063"/>
            <a:chOff x="6876256" y="1275606"/>
            <a:chExt cx="2011680" cy="2786779"/>
          </a:xfrm>
        </p:grpSpPr>
        <p:sp>
          <p:nvSpPr>
            <p:cNvPr id="25" name="2 background"/>
            <p:cNvSpPr/>
            <p:nvPr/>
          </p:nvSpPr>
          <p:spPr bwMode="auto">
            <a:xfrm>
              <a:off x="6876256" y="1275606"/>
              <a:ext cx="2011680" cy="2786779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4344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983"/>
            <a:stretch>
              <a:fillRect/>
            </a:stretch>
          </p:blipFill>
          <p:spPr bwMode="auto">
            <a:xfrm>
              <a:off x="6925344" y="1355148"/>
              <a:ext cx="1909634" cy="1448163"/>
            </a:xfrm>
            <a:prstGeom prst="rect">
              <a:avLst/>
            </a:prstGeom>
            <a:noFill/>
            <a:ln>
              <a:noFill/>
            </a:ln>
            <a:effectLst>
              <a:outerShdw dist="50800" dir="5400000" algn="t" rotWithShape="0">
                <a:srgbClr val="000000">
                  <a:alpha val="39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45" name="矩形 106"/>
            <p:cNvSpPr>
              <a:spLocks noChangeArrowheads="1"/>
            </p:cNvSpPr>
            <p:nvPr/>
          </p:nvSpPr>
          <p:spPr bwMode="auto">
            <a:xfrm>
              <a:off x="7637077" y="2949501"/>
              <a:ext cx="1242665" cy="849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46" name="Freeform 51"/>
            <p:cNvSpPr>
              <a:spLocks noEditPoints="1"/>
            </p:cNvSpPr>
            <p:nvPr/>
          </p:nvSpPr>
          <p:spPr bwMode="auto">
            <a:xfrm rot="5400000" flipH="1" flipV="1">
              <a:off x="7205183" y="303124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4347" name="组合 63"/>
            <p:cNvGrpSpPr/>
            <p:nvPr/>
          </p:nvGrpSpPr>
          <p:grpSpPr bwMode="auto">
            <a:xfrm>
              <a:off x="6988844" y="3340064"/>
              <a:ext cx="590393" cy="589200"/>
              <a:chOff x="11195051" y="3413126"/>
              <a:chExt cx="785813" cy="784225"/>
            </a:xfrm>
          </p:grpSpPr>
          <p:sp>
            <p:nvSpPr>
              <p:cNvPr id="65" name="Freeform 21"/>
              <p:cNvSpPr/>
              <p:nvPr/>
            </p:nvSpPr>
            <p:spPr bwMode="auto">
              <a:xfrm>
                <a:off x="11195121" y="3412889"/>
                <a:ext cx="785526" cy="784111"/>
              </a:xfrm>
              <a:custGeom>
                <a:avLst/>
                <a:gdLst>
                  <a:gd name="T0" fmla="*/ 687 w 687"/>
                  <a:gd name="T1" fmla="*/ 624 h 686"/>
                  <a:gd name="T2" fmla="*/ 625 w 687"/>
                  <a:gd name="T3" fmla="*/ 686 h 686"/>
                  <a:gd name="T4" fmla="*/ 63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3 w 687"/>
                  <a:gd name="T11" fmla="*/ 0 h 686"/>
                  <a:gd name="T12" fmla="*/ 625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5" y="686"/>
                    </a:cubicBezTo>
                    <a:cubicBezTo>
                      <a:pt x="63" y="686"/>
                      <a:pt x="63" y="686"/>
                      <a:pt x="63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49" name="Freeform 22"/>
              <p:cNvSpPr/>
              <p:nvPr/>
            </p:nvSpPr>
            <p:spPr bwMode="auto">
              <a:xfrm>
                <a:off x="11234738" y="3495676"/>
                <a:ext cx="746125" cy="701675"/>
              </a:xfrm>
              <a:custGeom>
                <a:avLst/>
                <a:gdLst>
                  <a:gd name="T0" fmla="*/ 2147483646 w 652"/>
                  <a:gd name="T1" fmla="*/ 2147483646 h 614"/>
                  <a:gd name="T2" fmla="*/ 2147483646 w 652"/>
                  <a:gd name="T3" fmla="*/ 2147483646 h 614"/>
                  <a:gd name="T4" fmla="*/ 2147483646 w 652"/>
                  <a:gd name="T5" fmla="*/ 2147483646 h 614"/>
                  <a:gd name="T6" fmla="*/ 2147483646 w 652"/>
                  <a:gd name="T7" fmla="*/ 2147483646 h 614"/>
                  <a:gd name="T8" fmla="*/ 2147483646 w 652"/>
                  <a:gd name="T9" fmla="*/ 2147483646 h 614"/>
                  <a:gd name="T10" fmla="*/ 2147483646 w 652"/>
                  <a:gd name="T11" fmla="*/ 2147483646 h 614"/>
                  <a:gd name="T12" fmla="*/ 2147483646 w 652"/>
                  <a:gd name="T13" fmla="*/ 2147483646 h 614"/>
                  <a:gd name="T14" fmla="*/ 2147483646 w 652"/>
                  <a:gd name="T15" fmla="*/ 2147483646 h 6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52" h="614">
                    <a:moveTo>
                      <a:pt x="652" y="552"/>
                    </a:moveTo>
                    <a:cubicBezTo>
                      <a:pt x="652" y="278"/>
                      <a:pt x="652" y="278"/>
                      <a:pt x="652" y="278"/>
                    </a:cubicBezTo>
                    <a:cubicBezTo>
                      <a:pt x="445" y="71"/>
                      <a:pt x="445" y="71"/>
                      <a:pt x="445" y="71"/>
                    </a:cubicBezTo>
                    <a:cubicBezTo>
                      <a:pt x="445" y="71"/>
                      <a:pt x="271" y="0"/>
                      <a:pt x="160" y="75"/>
                    </a:cubicBezTo>
                    <a:cubicBezTo>
                      <a:pt x="0" y="183"/>
                      <a:pt x="99" y="421"/>
                      <a:pt x="99" y="421"/>
                    </a:cubicBezTo>
                    <a:cubicBezTo>
                      <a:pt x="293" y="614"/>
                      <a:pt x="293" y="614"/>
                      <a:pt x="293" y="614"/>
                    </a:cubicBezTo>
                    <a:cubicBezTo>
                      <a:pt x="590" y="614"/>
                      <a:pt x="590" y="614"/>
                      <a:pt x="590" y="614"/>
                    </a:cubicBezTo>
                    <a:cubicBezTo>
                      <a:pt x="624" y="614"/>
                      <a:pt x="652" y="587"/>
                      <a:pt x="652" y="552"/>
                    </a:cubicBezTo>
                    <a:close/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50" name="Freeform 23"/>
              <p:cNvSpPr/>
              <p:nvPr/>
            </p:nvSpPr>
            <p:spPr bwMode="auto">
              <a:xfrm>
                <a:off x="11520488" y="3619501"/>
                <a:ext cx="192088" cy="371475"/>
              </a:xfrm>
              <a:custGeom>
                <a:avLst/>
                <a:gdLst>
                  <a:gd name="T0" fmla="*/ 2147483646 w 121"/>
                  <a:gd name="T1" fmla="*/ 2147483646 h 234"/>
                  <a:gd name="T2" fmla="*/ 2147483646 w 121"/>
                  <a:gd name="T3" fmla="*/ 2147483646 h 234"/>
                  <a:gd name="T4" fmla="*/ 0 w 121"/>
                  <a:gd name="T5" fmla="*/ 2147483646 h 234"/>
                  <a:gd name="T6" fmla="*/ 0 w 121"/>
                  <a:gd name="T7" fmla="*/ 2147483646 h 234"/>
                  <a:gd name="T8" fmla="*/ 0 w 121"/>
                  <a:gd name="T9" fmla="*/ 0 h 234"/>
                  <a:gd name="T10" fmla="*/ 2147483646 w 121"/>
                  <a:gd name="T11" fmla="*/ 2147483646 h 234"/>
                  <a:gd name="T12" fmla="*/ 2147483646 w 121"/>
                  <a:gd name="T13" fmla="*/ 2147483646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1" h="234">
                    <a:moveTo>
                      <a:pt x="121" y="117"/>
                    </a:moveTo>
                    <a:lnTo>
                      <a:pt x="61" y="176"/>
                    </a:lnTo>
                    <a:lnTo>
                      <a:pt x="0" y="234"/>
                    </a:lnTo>
                    <a:lnTo>
                      <a:pt x="0" y="117"/>
                    </a:lnTo>
                    <a:lnTo>
                      <a:pt x="0" y="0"/>
                    </a:lnTo>
                    <a:lnTo>
                      <a:pt x="61" y="59"/>
                    </a:lnTo>
                    <a:lnTo>
                      <a:pt x="121" y="1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51" name="Freeform 24"/>
              <p:cNvSpPr>
                <a:spLocks noEditPoints="1"/>
              </p:cNvSpPr>
              <p:nvPr/>
            </p:nvSpPr>
            <p:spPr bwMode="auto">
              <a:xfrm>
                <a:off x="11290301" y="3521076"/>
                <a:ext cx="566738" cy="568325"/>
              </a:xfrm>
              <a:custGeom>
                <a:avLst/>
                <a:gdLst>
                  <a:gd name="T0" fmla="*/ 2147483646 w 496"/>
                  <a:gd name="T1" fmla="*/ 2147483646 h 496"/>
                  <a:gd name="T2" fmla="*/ 0 w 496"/>
                  <a:gd name="T3" fmla="*/ 2147483646 h 496"/>
                  <a:gd name="T4" fmla="*/ 2147483646 w 496"/>
                  <a:gd name="T5" fmla="*/ 0 h 496"/>
                  <a:gd name="T6" fmla="*/ 2147483646 w 496"/>
                  <a:gd name="T7" fmla="*/ 2147483646 h 496"/>
                  <a:gd name="T8" fmla="*/ 2147483646 w 496"/>
                  <a:gd name="T9" fmla="*/ 2147483646 h 496"/>
                  <a:gd name="T10" fmla="*/ 2147483646 w 496"/>
                  <a:gd name="T11" fmla="*/ 2147483646 h 496"/>
                  <a:gd name="T12" fmla="*/ 2147483646 w 496"/>
                  <a:gd name="T13" fmla="*/ 2147483646 h 496"/>
                  <a:gd name="T14" fmla="*/ 2147483646 w 496"/>
                  <a:gd name="T15" fmla="*/ 2147483646 h 496"/>
                  <a:gd name="T16" fmla="*/ 2147483646 w 496"/>
                  <a:gd name="T17" fmla="*/ 2147483646 h 496"/>
                  <a:gd name="T18" fmla="*/ 2147483646 w 496"/>
                  <a:gd name="T19" fmla="*/ 2147483646 h 49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96" h="496">
                    <a:moveTo>
                      <a:pt x="248" y="496"/>
                    </a:moveTo>
                    <a:cubicBezTo>
                      <a:pt x="111" y="496"/>
                      <a:pt x="0" y="385"/>
                      <a:pt x="0" y="248"/>
                    </a:cubicBezTo>
                    <a:cubicBezTo>
                      <a:pt x="0" y="112"/>
                      <a:pt x="111" y="0"/>
                      <a:pt x="248" y="0"/>
                    </a:cubicBezTo>
                    <a:cubicBezTo>
                      <a:pt x="385" y="0"/>
                      <a:pt x="496" y="112"/>
                      <a:pt x="496" y="248"/>
                    </a:cubicBezTo>
                    <a:cubicBezTo>
                      <a:pt x="496" y="385"/>
                      <a:pt x="385" y="496"/>
                      <a:pt x="248" y="496"/>
                    </a:cubicBezTo>
                    <a:close/>
                    <a:moveTo>
                      <a:pt x="248" y="32"/>
                    </a:moveTo>
                    <a:cubicBezTo>
                      <a:pt x="129" y="32"/>
                      <a:pt x="32" y="129"/>
                      <a:pt x="32" y="248"/>
                    </a:cubicBezTo>
                    <a:cubicBezTo>
                      <a:pt x="32" y="367"/>
                      <a:pt x="129" y="464"/>
                      <a:pt x="248" y="464"/>
                    </a:cubicBezTo>
                    <a:cubicBezTo>
                      <a:pt x="367" y="464"/>
                      <a:pt x="464" y="367"/>
                      <a:pt x="464" y="248"/>
                    </a:cubicBezTo>
                    <a:cubicBezTo>
                      <a:pt x="464" y="129"/>
                      <a:pt x="367" y="32"/>
                      <a:pt x="248" y="3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5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5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5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组合 21"/>
          <p:cNvGrpSpPr/>
          <p:nvPr/>
        </p:nvGrpSpPr>
        <p:grpSpPr bwMode="auto">
          <a:xfrm>
            <a:off x="323850" y="1328738"/>
            <a:ext cx="4032250" cy="465137"/>
            <a:chOff x="323529" y="1328797"/>
            <a:chExt cx="4032447" cy="465343"/>
          </a:xfrm>
        </p:grpSpPr>
        <p:sp>
          <p:nvSpPr>
            <p:cNvPr id="3" name="TextBox 2"/>
            <p:cNvSpPr txBox="1"/>
            <p:nvPr>
              <p:custDataLst>
                <p:tags r:id="rId1"/>
              </p:custDataLst>
            </p:nvPr>
          </p:nvSpPr>
          <p:spPr>
            <a:xfrm>
              <a:off x="323529" y="1328797"/>
              <a:ext cx="3810186" cy="46534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/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" name="TextBox 3"/>
            <p:cNvSpPr txBox="1"/>
            <p:nvPr>
              <p:custDataLst>
                <p:tags r:id="rId2"/>
              </p:custDataLst>
            </p:nvPr>
          </p:nvSpPr>
          <p:spPr>
            <a:xfrm>
              <a:off x="441010" y="1379619"/>
              <a:ext cx="3914966" cy="319228"/>
            </a:xfrm>
            <a:prstGeom prst="rect">
              <a:avLst/>
            </a:prstGeom>
            <a:noFill/>
          </p:spPr>
          <p:txBody>
            <a:bodyPr lIns="93278" tIns="46639" rIns="93278" bIns="46639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" name="Right Triangle 40"/>
          <p:cNvSpPr/>
          <p:nvPr>
            <p:custDataLst>
              <p:tags r:id="rId3"/>
            </p:custDataLst>
          </p:nvPr>
        </p:nvSpPr>
        <p:spPr bwMode="auto">
          <a:xfrm rot="10800000" flipV="1">
            <a:off x="1122363" y="1955800"/>
            <a:ext cx="374650" cy="488950"/>
          </a:xfrm>
          <a:prstGeom prst="rtTriangle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ight Triangle 59"/>
          <p:cNvSpPr/>
          <p:nvPr>
            <p:custDataLst>
              <p:tags r:id="rId4"/>
            </p:custDataLst>
          </p:nvPr>
        </p:nvSpPr>
        <p:spPr bwMode="auto">
          <a:xfrm rot="10800000" flipV="1">
            <a:off x="5629275" y="1955800"/>
            <a:ext cx="373063" cy="488950"/>
          </a:xfrm>
          <a:prstGeom prst="rtTriangle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ight Triangle 60"/>
          <p:cNvSpPr/>
          <p:nvPr>
            <p:custDataLst>
              <p:tags r:id="rId5"/>
            </p:custDataLst>
          </p:nvPr>
        </p:nvSpPr>
        <p:spPr bwMode="auto">
          <a:xfrm flipV="1">
            <a:off x="2727325" y="3232150"/>
            <a:ext cx="373063" cy="488950"/>
          </a:xfrm>
          <a:prstGeom prst="rtTriangle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Right Triangle 61"/>
          <p:cNvSpPr/>
          <p:nvPr>
            <p:custDataLst>
              <p:tags r:id="rId6"/>
            </p:custDataLst>
          </p:nvPr>
        </p:nvSpPr>
        <p:spPr bwMode="auto">
          <a:xfrm flipV="1">
            <a:off x="7632700" y="3227388"/>
            <a:ext cx="374650" cy="488950"/>
          </a:xfrm>
          <a:prstGeom prst="rtTriangle">
            <a:avLst/>
          </a:prstGeom>
          <a:solidFill>
            <a:srgbClr val="2B7EA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" name="组合 25"/>
          <p:cNvGrpSpPr/>
          <p:nvPr/>
        </p:nvGrpSpPr>
        <p:grpSpPr bwMode="auto">
          <a:xfrm>
            <a:off x="4959350" y="1328738"/>
            <a:ext cx="4048125" cy="465137"/>
            <a:chOff x="4960066" y="1328797"/>
            <a:chExt cx="4047964" cy="465344"/>
          </a:xfrm>
        </p:grpSpPr>
        <p:sp>
          <p:nvSpPr>
            <p:cNvPr id="9" name="TextBox 8"/>
            <p:cNvSpPr txBox="1"/>
            <p:nvPr>
              <p:custDataLst>
                <p:tags r:id="rId7"/>
              </p:custDataLst>
            </p:nvPr>
          </p:nvSpPr>
          <p:spPr>
            <a:xfrm>
              <a:off x="4960066" y="1328797"/>
              <a:ext cx="3809848" cy="465344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>
                <a:defRPr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4" name="TextBox 43"/>
            <p:cNvSpPr txBox="1"/>
            <p:nvPr>
              <p:custDataLst>
                <p:tags r:id="rId8"/>
              </p:custDataLst>
            </p:nvPr>
          </p:nvSpPr>
          <p:spPr>
            <a:xfrm>
              <a:off x="5093411" y="1379620"/>
              <a:ext cx="3914619" cy="319229"/>
            </a:xfrm>
            <a:prstGeom prst="rect">
              <a:avLst/>
            </a:prstGeom>
            <a:noFill/>
          </p:spPr>
          <p:txBody>
            <a:bodyPr lIns="93278" tIns="46639" rIns="93278" bIns="46639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8" name="组合 27"/>
          <p:cNvGrpSpPr/>
          <p:nvPr/>
        </p:nvGrpSpPr>
        <p:grpSpPr bwMode="auto">
          <a:xfrm>
            <a:off x="5013325" y="3833813"/>
            <a:ext cx="3994150" cy="466725"/>
            <a:chOff x="5013154" y="3834599"/>
            <a:chExt cx="3994876" cy="465343"/>
          </a:xfrm>
        </p:grpSpPr>
        <p:sp>
          <p:nvSpPr>
            <p:cNvPr id="23" name="TextBox 22"/>
            <p:cNvSpPr txBox="1"/>
            <p:nvPr>
              <p:custDataLst>
                <p:tags r:id="rId9"/>
              </p:custDataLst>
            </p:nvPr>
          </p:nvSpPr>
          <p:spPr>
            <a:xfrm>
              <a:off x="5013154" y="3834599"/>
              <a:ext cx="3809105" cy="46534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>
                <a:defRPr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5" name="TextBox 44"/>
            <p:cNvSpPr txBox="1"/>
            <p:nvPr>
              <p:custDataLst>
                <p:tags r:id="rId10"/>
              </p:custDataLst>
            </p:nvPr>
          </p:nvSpPr>
          <p:spPr>
            <a:xfrm>
              <a:off x="5094132" y="3907408"/>
              <a:ext cx="3913898" cy="319725"/>
            </a:xfrm>
            <a:prstGeom prst="rect">
              <a:avLst/>
            </a:prstGeom>
            <a:noFill/>
          </p:spPr>
          <p:txBody>
            <a:bodyPr lIns="93278" tIns="46639" rIns="93278" bIns="46639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 bwMode="auto">
          <a:xfrm>
            <a:off x="323850" y="3833813"/>
            <a:ext cx="4032250" cy="466725"/>
            <a:chOff x="323528" y="3834599"/>
            <a:chExt cx="4031886" cy="465343"/>
          </a:xfrm>
        </p:grpSpPr>
        <p:sp>
          <p:nvSpPr>
            <p:cNvPr id="17" name="TextBox 16"/>
            <p:cNvSpPr txBox="1"/>
            <p:nvPr>
              <p:custDataLst>
                <p:tags r:id="rId11"/>
              </p:custDataLst>
            </p:nvPr>
          </p:nvSpPr>
          <p:spPr>
            <a:xfrm>
              <a:off x="323528" y="3834599"/>
              <a:ext cx="3809656" cy="46534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>
                <a:defRPr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6" name="TextBox 45"/>
            <p:cNvSpPr txBox="1"/>
            <p:nvPr>
              <p:custDataLst>
                <p:tags r:id="rId12"/>
              </p:custDataLst>
            </p:nvPr>
          </p:nvSpPr>
          <p:spPr>
            <a:xfrm>
              <a:off x="440992" y="3893162"/>
              <a:ext cx="3914422" cy="318143"/>
            </a:xfrm>
            <a:prstGeom prst="rect">
              <a:avLst/>
            </a:prstGeom>
            <a:noFill/>
          </p:spPr>
          <p:txBody>
            <a:bodyPr lIns="93278" tIns="46639" rIns="93278" bIns="46639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370" name="组合 39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42" name="矩形 41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3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5419" name="组合 46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5420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" name="矩形 48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20" name="组合 19"/>
          <p:cNvGrpSpPr/>
          <p:nvPr/>
        </p:nvGrpSpPr>
        <p:grpSpPr bwMode="auto">
          <a:xfrm>
            <a:off x="7140575" y="2443163"/>
            <a:ext cx="1463675" cy="784225"/>
            <a:chOff x="7140636" y="2443369"/>
            <a:chExt cx="1463811" cy="784760"/>
          </a:xfrm>
        </p:grpSpPr>
        <p:sp>
          <p:nvSpPr>
            <p:cNvPr id="21" name="Rectangle 51"/>
            <p:cNvSpPr/>
            <p:nvPr>
              <p:custDataLst>
                <p:tags r:id="rId13"/>
              </p:custDataLst>
            </p:nvPr>
          </p:nvSpPr>
          <p:spPr bwMode="auto">
            <a:xfrm>
              <a:off x="7140636" y="2443369"/>
              <a:ext cx="1463811" cy="784760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矩形 80"/>
            <p:cNvSpPr/>
            <p:nvPr/>
          </p:nvSpPr>
          <p:spPr>
            <a:xfrm>
              <a:off x="7585177" y="2640353"/>
              <a:ext cx="1004981" cy="3383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409" name="组合 17"/>
            <p:cNvGrpSpPr/>
            <p:nvPr/>
          </p:nvGrpSpPr>
          <p:grpSpPr bwMode="auto">
            <a:xfrm>
              <a:off x="7259082" y="2527491"/>
              <a:ext cx="306026" cy="616517"/>
              <a:chOff x="7259082" y="2506579"/>
              <a:chExt cx="306026" cy="616517"/>
            </a:xfrm>
          </p:grpSpPr>
          <p:sp>
            <p:nvSpPr>
              <p:cNvPr id="15410" name="Freeform 51"/>
              <p:cNvSpPr>
                <a:spLocks noEditPoints="1"/>
              </p:cNvSpPr>
              <p:nvPr/>
            </p:nvSpPr>
            <p:spPr bwMode="auto">
              <a:xfrm rot="5400000" flipH="1" flipV="1">
                <a:off x="7346924" y="2512688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11" name="Freeform 51"/>
              <p:cNvSpPr>
                <a:spLocks noEditPoints="1"/>
              </p:cNvSpPr>
              <p:nvPr/>
            </p:nvSpPr>
            <p:spPr bwMode="auto">
              <a:xfrm rot="16200000" flipH="1">
                <a:off x="7347954" y="2998863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5412" name="组合 88"/>
              <p:cNvGrpSpPr/>
              <p:nvPr/>
            </p:nvGrpSpPr>
            <p:grpSpPr bwMode="auto">
              <a:xfrm>
                <a:off x="7259082" y="2657030"/>
                <a:ext cx="306026" cy="305520"/>
                <a:chOff x="1989137" y="-1925638"/>
                <a:chExt cx="960438" cy="958850"/>
              </a:xfrm>
            </p:grpSpPr>
            <p:sp>
              <p:nvSpPr>
                <p:cNvPr id="90" name="Oval 56"/>
                <p:cNvSpPr>
                  <a:spLocks noChangeArrowheads="1"/>
                </p:cNvSpPr>
                <p:nvPr/>
              </p:nvSpPr>
              <p:spPr bwMode="auto">
                <a:xfrm>
                  <a:off x="1991108" y="-1923955"/>
                  <a:ext cx="956678" cy="957242"/>
                </a:xfrm>
                <a:prstGeom prst="ellipse">
                  <a:avLst/>
                </a:prstGeom>
                <a:solidFill>
                  <a:srgbClr val="FBB040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5414" name="Freeform 57"/>
                <p:cNvSpPr/>
                <p:nvPr/>
              </p:nvSpPr>
              <p:spPr bwMode="auto">
                <a:xfrm>
                  <a:off x="2300287" y="-1685925"/>
                  <a:ext cx="635000" cy="688975"/>
                </a:xfrm>
                <a:custGeom>
                  <a:avLst/>
                  <a:gdLst>
                    <a:gd name="T0" fmla="*/ 2147483646 w 169"/>
                    <a:gd name="T1" fmla="*/ 0 h 184"/>
                    <a:gd name="T2" fmla="*/ 2147483646 w 169"/>
                    <a:gd name="T3" fmla="*/ 2147483646 h 184"/>
                    <a:gd name="T4" fmla="*/ 2147483646 w 169"/>
                    <a:gd name="T5" fmla="*/ 2147483646 h 184"/>
                    <a:gd name="T6" fmla="*/ 2147483646 w 169"/>
                    <a:gd name="T7" fmla="*/ 2147483646 h 184"/>
                    <a:gd name="T8" fmla="*/ 2147483646 w 169"/>
                    <a:gd name="T9" fmla="*/ 2147483646 h 184"/>
                    <a:gd name="T10" fmla="*/ 2147483646 w 169"/>
                    <a:gd name="T11" fmla="*/ 2147483646 h 184"/>
                    <a:gd name="T12" fmla="*/ 2147483646 w 169"/>
                    <a:gd name="T13" fmla="*/ 2147483646 h 184"/>
                    <a:gd name="T14" fmla="*/ 2147483646 w 169"/>
                    <a:gd name="T15" fmla="*/ 2147483646 h 184"/>
                    <a:gd name="T16" fmla="*/ 0 w 169"/>
                    <a:gd name="T17" fmla="*/ 2147483646 h 184"/>
                    <a:gd name="T18" fmla="*/ 2147483646 w 169"/>
                    <a:gd name="T19" fmla="*/ 2147483646 h 184"/>
                    <a:gd name="T20" fmla="*/ 2147483646 w 169"/>
                    <a:gd name="T21" fmla="*/ 2147483646 h 184"/>
                    <a:gd name="T22" fmla="*/ 2147483646 w 169"/>
                    <a:gd name="T23" fmla="*/ 0 h 18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169" h="184">
                      <a:moveTo>
                        <a:pt x="73" y="0"/>
                      </a:moveTo>
                      <a:cubicBezTo>
                        <a:pt x="73" y="80"/>
                        <a:pt x="73" y="80"/>
                        <a:pt x="73" y="80"/>
                      </a:cubicBezTo>
                      <a:cubicBezTo>
                        <a:pt x="90" y="80"/>
                        <a:pt x="90" y="80"/>
                        <a:pt x="90" y="80"/>
                      </a:cubicBezTo>
                      <a:cubicBezTo>
                        <a:pt x="90" y="93"/>
                        <a:pt x="90" y="93"/>
                        <a:pt x="90" y="93"/>
                      </a:cubicBezTo>
                      <a:cubicBezTo>
                        <a:pt x="73" y="93"/>
                        <a:pt x="73" y="93"/>
                        <a:pt x="73" y="93"/>
                      </a:cubicBezTo>
                      <a:cubicBezTo>
                        <a:pt x="73" y="128"/>
                        <a:pt x="73" y="128"/>
                        <a:pt x="73" y="128"/>
                      </a:cubicBezTo>
                      <a:cubicBezTo>
                        <a:pt x="57" y="128"/>
                        <a:pt x="57" y="128"/>
                        <a:pt x="57" y="128"/>
                      </a:cubicBezTo>
                      <a:cubicBezTo>
                        <a:pt x="57" y="93"/>
                        <a:pt x="57" y="93"/>
                        <a:pt x="57" y="93"/>
                      </a:cubicBezTo>
                      <a:cubicBezTo>
                        <a:pt x="0" y="93"/>
                        <a:pt x="0" y="93"/>
                        <a:pt x="0" y="93"/>
                      </a:cubicBezTo>
                      <a:cubicBezTo>
                        <a:pt x="91" y="184"/>
                        <a:pt x="91" y="184"/>
                        <a:pt x="91" y="184"/>
                      </a:cubicBezTo>
                      <a:cubicBezTo>
                        <a:pt x="129" y="169"/>
                        <a:pt x="158" y="136"/>
                        <a:pt x="169" y="96"/>
                      </a:cubicBezTo>
                      <a:cubicBezTo>
                        <a:pt x="73" y="0"/>
                        <a:pt x="73" y="0"/>
                        <a:pt x="73" y="0"/>
                      </a:cubicBezTo>
                    </a:path>
                  </a:pathLst>
                </a:custGeom>
                <a:solidFill>
                  <a:srgbClr val="C07404">
                    <a:alpha val="65881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415" name="Freeform 58"/>
                <p:cNvSpPr/>
                <p:nvPr/>
              </p:nvSpPr>
              <p:spPr bwMode="auto">
                <a:xfrm>
                  <a:off x="2365375" y="-1622425"/>
                  <a:ext cx="152400" cy="236538"/>
                </a:xfrm>
                <a:custGeom>
                  <a:avLst/>
                  <a:gdLst>
                    <a:gd name="T0" fmla="*/ 2147483646 w 41"/>
                    <a:gd name="T1" fmla="*/ 0 h 63"/>
                    <a:gd name="T2" fmla="*/ 2147483646 w 41"/>
                    <a:gd name="T3" fmla="*/ 0 h 63"/>
                    <a:gd name="T4" fmla="*/ 2147483646 w 41"/>
                    <a:gd name="T5" fmla="*/ 2147483646 h 63"/>
                    <a:gd name="T6" fmla="*/ 0 w 41"/>
                    <a:gd name="T7" fmla="*/ 2147483646 h 63"/>
                    <a:gd name="T8" fmla="*/ 0 w 41"/>
                    <a:gd name="T9" fmla="*/ 2147483646 h 63"/>
                    <a:gd name="T10" fmla="*/ 2147483646 w 41"/>
                    <a:gd name="T11" fmla="*/ 2147483646 h 63"/>
                    <a:gd name="T12" fmla="*/ 2147483646 w 41"/>
                    <a:gd name="T13" fmla="*/ 2147483646 h 63"/>
                    <a:gd name="T14" fmla="*/ 2147483646 w 41"/>
                    <a:gd name="T15" fmla="*/ 0 h 6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41" h="63">
                      <a:moveTo>
                        <a:pt x="41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6" y="7"/>
                        <a:pt x="33" y="13"/>
                        <a:pt x="30" y="19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40" y="63"/>
                        <a:pt x="40" y="63"/>
                        <a:pt x="40" y="63"/>
                      </a:cubicBezTo>
                      <a:cubicBezTo>
                        <a:pt x="40" y="20"/>
                        <a:pt x="40" y="20"/>
                        <a:pt x="40" y="20"/>
                      </a:cubicBezTo>
                      <a:cubicBezTo>
                        <a:pt x="40" y="13"/>
                        <a:pt x="40" y="6"/>
                        <a:pt x="41" y="0"/>
                      </a:cubicBezTo>
                    </a:path>
                  </a:pathLst>
                </a:custGeom>
                <a:solidFill>
                  <a:srgbClr val="C07404">
                    <a:alpha val="65881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416" name="Freeform 59"/>
                <p:cNvSpPr>
                  <a:spLocks noEditPoints="1"/>
                </p:cNvSpPr>
                <p:nvPr/>
              </p:nvSpPr>
              <p:spPr bwMode="auto">
                <a:xfrm>
                  <a:off x="2300287" y="-1685925"/>
                  <a:ext cx="338138" cy="479425"/>
                </a:xfrm>
                <a:custGeom>
                  <a:avLst/>
                  <a:gdLst>
                    <a:gd name="T0" fmla="*/ 2147483646 w 90"/>
                    <a:gd name="T1" fmla="*/ 2147483646 h 128"/>
                    <a:gd name="T2" fmla="*/ 2147483646 w 90"/>
                    <a:gd name="T3" fmla="*/ 2147483646 h 128"/>
                    <a:gd name="T4" fmla="*/ 0 w 90"/>
                    <a:gd name="T5" fmla="*/ 2147483646 h 128"/>
                    <a:gd name="T6" fmla="*/ 0 w 90"/>
                    <a:gd name="T7" fmla="*/ 2147483646 h 128"/>
                    <a:gd name="T8" fmla="*/ 2147483646 w 90"/>
                    <a:gd name="T9" fmla="*/ 0 h 128"/>
                    <a:gd name="T10" fmla="*/ 2147483646 w 90"/>
                    <a:gd name="T11" fmla="*/ 0 h 128"/>
                    <a:gd name="T12" fmla="*/ 2147483646 w 90"/>
                    <a:gd name="T13" fmla="*/ 2147483646 h 128"/>
                    <a:gd name="T14" fmla="*/ 2147483646 w 90"/>
                    <a:gd name="T15" fmla="*/ 2147483646 h 128"/>
                    <a:gd name="T16" fmla="*/ 2147483646 w 90"/>
                    <a:gd name="T17" fmla="*/ 2147483646 h 128"/>
                    <a:gd name="T18" fmla="*/ 2147483646 w 90"/>
                    <a:gd name="T19" fmla="*/ 2147483646 h 128"/>
                    <a:gd name="T20" fmla="*/ 2147483646 w 90"/>
                    <a:gd name="T21" fmla="*/ 2147483646 h 128"/>
                    <a:gd name="T22" fmla="*/ 2147483646 w 90"/>
                    <a:gd name="T23" fmla="*/ 2147483646 h 128"/>
                    <a:gd name="T24" fmla="*/ 2147483646 w 90"/>
                    <a:gd name="T25" fmla="*/ 2147483646 h 128"/>
                    <a:gd name="T26" fmla="*/ 2147483646 w 90"/>
                    <a:gd name="T27" fmla="*/ 2147483646 h 128"/>
                    <a:gd name="T28" fmla="*/ 2147483646 w 90"/>
                    <a:gd name="T29" fmla="*/ 2147483646 h 128"/>
                    <a:gd name="T30" fmla="*/ 2147483646 w 90"/>
                    <a:gd name="T31" fmla="*/ 2147483646 h 128"/>
                    <a:gd name="T32" fmla="*/ 2147483646 w 90"/>
                    <a:gd name="T33" fmla="*/ 2147483646 h 128"/>
                    <a:gd name="T34" fmla="*/ 2147483646 w 90"/>
                    <a:gd name="T35" fmla="*/ 2147483646 h 128"/>
                    <a:gd name="T36" fmla="*/ 2147483646 w 90"/>
                    <a:gd name="T37" fmla="*/ 2147483646 h 128"/>
                    <a:gd name="T38" fmla="*/ 2147483646 w 90"/>
                    <a:gd name="T39" fmla="*/ 2147483646 h 128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90" h="128">
                      <a:moveTo>
                        <a:pt x="57" y="128"/>
                      </a:moveTo>
                      <a:cubicBezTo>
                        <a:pt x="57" y="93"/>
                        <a:pt x="57" y="93"/>
                        <a:pt x="57" y="93"/>
                      </a:cubicBezTo>
                      <a:cubicBezTo>
                        <a:pt x="0" y="93"/>
                        <a:pt x="0" y="93"/>
                        <a:pt x="0" y="93"/>
                      </a:cubicBezTo>
                      <a:cubicBezTo>
                        <a:pt x="0" y="82"/>
                        <a:pt x="0" y="82"/>
                        <a:pt x="0" y="82"/>
                      </a:cubicBezTo>
                      <a:cubicBezTo>
                        <a:pt x="55" y="0"/>
                        <a:pt x="55" y="0"/>
                        <a:pt x="55" y="0"/>
                      </a:cubicBezTo>
                      <a:cubicBezTo>
                        <a:pt x="73" y="0"/>
                        <a:pt x="73" y="0"/>
                        <a:pt x="73" y="0"/>
                      </a:cubicBezTo>
                      <a:cubicBezTo>
                        <a:pt x="73" y="80"/>
                        <a:pt x="73" y="80"/>
                        <a:pt x="73" y="80"/>
                      </a:cubicBezTo>
                      <a:cubicBezTo>
                        <a:pt x="90" y="80"/>
                        <a:pt x="90" y="80"/>
                        <a:pt x="90" y="80"/>
                      </a:cubicBezTo>
                      <a:cubicBezTo>
                        <a:pt x="90" y="93"/>
                        <a:pt x="90" y="93"/>
                        <a:pt x="90" y="93"/>
                      </a:cubicBezTo>
                      <a:cubicBezTo>
                        <a:pt x="73" y="93"/>
                        <a:pt x="73" y="93"/>
                        <a:pt x="73" y="93"/>
                      </a:cubicBezTo>
                      <a:cubicBezTo>
                        <a:pt x="73" y="128"/>
                        <a:pt x="73" y="128"/>
                        <a:pt x="73" y="128"/>
                      </a:cubicBezTo>
                      <a:lnTo>
                        <a:pt x="57" y="128"/>
                      </a:lnTo>
                      <a:close/>
                      <a:moveTo>
                        <a:pt x="57" y="80"/>
                      </a:moveTo>
                      <a:cubicBezTo>
                        <a:pt x="57" y="37"/>
                        <a:pt x="57" y="37"/>
                        <a:pt x="57" y="37"/>
                      </a:cubicBezTo>
                      <a:cubicBezTo>
                        <a:pt x="57" y="30"/>
                        <a:pt x="57" y="23"/>
                        <a:pt x="58" y="17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3" y="24"/>
                        <a:pt x="50" y="30"/>
                        <a:pt x="47" y="36"/>
                      </a:cubicBezTo>
                      <a:cubicBezTo>
                        <a:pt x="17" y="79"/>
                        <a:pt x="17" y="79"/>
                        <a:pt x="17" y="79"/>
                      </a:cubicBezTo>
                      <a:cubicBezTo>
                        <a:pt x="17" y="80"/>
                        <a:pt x="17" y="80"/>
                        <a:pt x="17" y="80"/>
                      </a:cubicBezTo>
                      <a:lnTo>
                        <a:pt x="57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8" name="组合 7"/>
          <p:cNvGrpSpPr/>
          <p:nvPr/>
        </p:nvGrpSpPr>
        <p:grpSpPr bwMode="auto">
          <a:xfrm>
            <a:off x="441325" y="2444750"/>
            <a:ext cx="1430338" cy="784225"/>
            <a:chOff x="441381" y="2444030"/>
            <a:chExt cx="1430367" cy="784760"/>
          </a:xfrm>
        </p:grpSpPr>
        <p:sp>
          <p:nvSpPr>
            <p:cNvPr id="6" name="Rectangle 47"/>
            <p:cNvSpPr/>
            <p:nvPr>
              <p:custDataLst>
                <p:tags r:id="rId14"/>
              </p:custDataLst>
            </p:nvPr>
          </p:nvSpPr>
          <p:spPr bwMode="auto">
            <a:xfrm>
              <a:off x="441381" y="2444030"/>
              <a:ext cx="1430367" cy="784760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3" name="Rectangle 7"/>
            <p:cNvSpPr/>
            <p:nvPr/>
          </p:nvSpPr>
          <p:spPr>
            <a:xfrm>
              <a:off x="792226" y="2642603"/>
              <a:ext cx="1004907" cy="3383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399" name="组合 1"/>
            <p:cNvGrpSpPr/>
            <p:nvPr/>
          </p:nvGrpSpPr>
          <p:grpSpPr bwMode="auto">
            <a:xfrm>
              <a:off x="530254" y="2528152"/>
              <a:ext cx="305520" cy="616516"/>
              <a:chOff x="530254" y="2506579"/>
              <a:chExt cx="305520" cy="616516"/>
            </a:xfrm>
          </p:grpSpPr>
          <p:sp>
            <p:nvSpPr>
              <p:cNvPr id="15400" name="Freeform 51"/>
              <p:cNvSpPr>
                <a:spLocks noEditPoints="1"/>
              </p:cNvSpPr>
              <p:nvPr/>
            </p:nvSpPr>
            <p:spPr bwMode="auto">
              <a:xfrm rot="5400000" flipH="1" flipV="1">
                <a:off x="617843" y="2512688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01" name="Freeform 51"/>
              <p:cNvSpPr>
                <a:spLocks noEditPoints="1"/>
              </p:cNvSpPr>
              <p:nvPr/>
            </p:nvSpPr>
            <p:spPr bwMode="auto">
              <a:xfrm rot="16200000" flipH="1">
                <a:off x="611493" y="2998862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5" name="Oval 60"/>
              <p:cNvSpPr>
                <a:spLocks noChangeArrowheads="1"/>
              </p:cNvSpPr>
              <p:nvPr/>
            </p:nvSpPr>
            <p:spPr bwMode="auto">
              <a:xfrm>
                <a:off x="530283" y="2657567"/>
                <a:ext cx="304806" cy="305008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403" name="Freeform 61"/>
              <p:cNvSpPr/>
              <p:nvPr/>
            </p:nvSpPr>
            <p:spPr bwMode="auto">
              <a:xfrm>
                <a:off x="673403" y="2733410"/>
                <a:ext cx="151748" cy="218518"/>
              </a:xfrm>
              <a:custGeom>
                <a:avLst/>
                <a:gdLst>
                  <a:gd name="T0" fmla="*/ 2147483646 w 127"/>
                  <a:gd name="T1" fmla="*/ 0 h 183"/>
                  <a:gd name="T2" fmla="*/ 2147483646 w 127"/>
                  <a:gd name="T3" fmla="*/ 2147483646 h 183"/>
                  <a:gd name="T4" fmla="*/ 0 w 127"/>
                  <a:gd name="T5" fmla="*/ 2147483646 h 183"/>
                  <a:gd name="T6" fmla="*/ 2147483646 w 127"/>
                  <a:gd name="T7" fmla="*/ 2147483646 h 183"/>
                  <a:gd name="T8" fmla="*/ 2147483646 w 127"/>
                  <a:gd name="T9" fmla="*/ 2147483646 h 183"/>
                  <a:gd name="T10" fmla="*/ 2147483646 w 127"/>
                  <a:gd name="T11" fmla="*/ 0 h 1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7" h="183">
                    <a:moveTo>
                      <a:pt x="16" y="0"/>
                    </a:moveTo>
                    <a:cubicBezTo>
                      <a:pt x="16" y="128"/>
                      <a:pt x="16" y="128"/>
                      <a:pt x="16" y="128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55" y="183"/>
                      <a:pt x="55" y="183"/>
                      <a:pt x="55" y="183"/>
                    </a:cubicBezTo>
                    <a:cubicBezTo>
                      <a:pt x="88" y="170"/>
                      <a:pt x="114" y="144"/>
                      <a:pt x="127" y="111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04" name="Freeform 62"/>
              <p:cNvSpPr/>
              <p:nvPr/>
            </p:nvSpPr>
            <p:spPr bwMode="auto">
              <a:xfrm>
                <a:off x="648618" y="2752632"/>
                <a:ext cx="24786" cy="40466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05" name="Freeform 63"/>
              <p:cNvSpPr/>
              <p:nvPr/>
            </p:nvSpPr>
            <p:spPr bwMode="auto">
              <a:xfrm>
                <a:off x="648618" y="2752632"/>
                <a:ext cx="24786" cy="40466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06" name="Freeform 64"/>
              <p:cNvSpPr/>
              <p:nvPr/>
            </p:nvSpPr>
            <p:spPr bwMode="auto">
              <a:xfrm>
                <a:off x="643559" y="2733410"/>
                <a:ext cx="49065" cy="152760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4" name="组合 23"/>
          <p:cNvGrpSpPr/>
          <p:nvPr/>
        </p:nvGrpSpPr>
        <p:grpSpPr bwMode="auto">
          <a:xfrm>
            <a:off x="1931988" y="2447925"/>
            <a:ext cx="2074862" cy="784225"/>
            <a:chOff x="1931313" y="2447561"/>
            <a:chExt cx="2075743" cy="784760"/>
          </a:xfrm>
        </p:grpSpPr>
        <p:sp>
          <p:nvSpPr>
            <p:cNvPr id="15" name="Rectangle 50"/>
            <p:cNvSpPr/>
            <p:nvPr>
              <p:custDataLst>
                <p:tags r:id="rId15"/>
              </p:custDataLst>
            </p:nvPr>
          </p:nvSpPr>
          <p:spPr bwMode="auto">
            <a:xfrm>
              <a:off x="1931313" y="2447561"/>
              <a:ext cx="2075743" cy="784760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2501467" y="2639780"/>
              <a:ext cx="1005315" cy="339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389" name="组合 11"/>
            <p:cNvGrpSpPr/>
            <p:nvPr/>
          </p:nvGrpSpPr>
          <p:grpSpPr bwMode="auto">
            <a:xfrm>
              <a:off x="2196891" y="2531683"/>
              <a:ext cx="305520" cy="616516"/>
              <a:chOff x="2196891" y="2506579"/>
              <a:chExt cx="305520" cy="616516"/>
            </a:xfrm>
          </p:grpSpPr>
          <p:sp>
            <p:nvSpPr>
              <p:cNvPr id="15390" name="Freeform 51"/>
              <p:cNvSpPr>
                <a:spLocks noEditPoints="1"/>
              </p:cNvSpPr>
              <p:nvPr/>
            </p:nvSpPr>
            <p:spPr bwMode="auto">
              <a:xfrm rot="5400000" flipH="1" flipV="1">
                <a:off x="2284479" y="2512688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391" name="Freeform 51"/>
              <p:cNvSpPr>
                <a:spLocks noEditPoints="1"/>
              </p:cNvSpPr>
              <p:nvPr/>
            </p:nvSpPr>
            <p:spPr bwMode="auto">
              <a:xfrm rot="16200000" flipH="1">
                <a:off x="2284480" y="2998862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5392" name="组合 99"/>
              <p:cNvGrpSpPr/>
              <p:nvPr/>
            </p:nvGrpSpPr>
            <p:grpSpPr bwMode="auto">
              <a:xfrm>
                <a:off x="2196891" y="2657030"/>
                <a:ext cx="305520" cy="305520"/>
                <a:chOff x="-1789113" y="-1925638"/>
                <a:chExt cx="958850" cy="958850"/>
              </a:xfrm>
            </p:grpSpPr>
            <p:sp>
              <p:nvSpPr>
                <p:cNvPr id="101" name="Oval 65"/>
                <p:cNvSpPr>
                  <a:spLocks noChangeArrowheads="1"/>
                </p:cNvSpPr>
                <p:nvPr/>
              </p:nvSpPr>
              <p:spPr bwMode="auto">
                <a:xfrm>
                  <a:off x="-1790221" y="-1923955"/>
                  <a:ext cx="961983" cy="957242"/>
                </a:xfrm>
                <a:prstGeom prst="ellipse">
                  <a:avLst/>
                </a:prstGeom>
                <a:solidFill>
                  <a:srgbClr val="40BDB6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5394" name="Freeform 66"/>
                <p:cNvSpPr/>
                <p:nvPr/>
              </p:nvSpPr>
              <p:spPr bwMode="auto">
                <a:xfrm>
                  <a:off x="-1455738" y="-1649413"/>
                  <a:ext cx="600075" cy="676275"/>
                </a:xfrm>
                <a:custGeom>
                  <a:avLst/>
                  <a:gdLst>
                    <a:gd name="T0" fmla="*/ 2147483646 w 160"/>
                    <a:gd name="T1" fmla="*/ 0 h 180"/>
                    <a:gd name="T2" fmla="*/ 2147483646 w 160"/>
                    <a:gd name="T3" fmla="*/ 2147483646 h 180"/>
                    <a:gd name="T4" fmla="*/ 2147483646 w 160"/>
                    <a:gd name="T5" fmla="*/ 2147483646 h 180"/>
                    <a:gd name="T6" fmla="*/ 2147483646 w 160"/>
                    <a:gd name="T7" fmla="*/ 2147483646 h 180"/>
                    <a:gd name="T8" fmla="*/ 2147483646 w 160"/>
                    <a:gd name="T9" fmla="*/ 2147483646 h 180"/>
                    <a:gd name="T10" fmla="*/ 2147483646 w 160"/>
                    <a:gd name="T11" fmla="*/ 2147483646 h 180"/>
                    <a:gd name="T12" fmla="*/ 2147483646 w 160"/>
                    <a:gd name="T13" fmla="*/ 2147483646 h 180"/>
                    <a:gd name="T14" fmla="*/ 0 w 160"/>
                    <a:gd name="T15" fmla="*/ 2147483646 h 180"/>
                    <a:gd name="T16" fmla="*/ 2147483646 w 160"/>
                    <a:gd name="T17" fmla="*/ 2147483646 h 180"/>
                    <a:gd name="T18" fmla="*/ 2147483646 w 160"/>
                    <a:gd name="T19" fmla="*/ 2147483646 h 180"/>
                    <a:gd name="T20" fmla="*/ 2147483646 w 160"/>
                    <a:gd name="T21" fmla="*/ 0 h 18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60" h="180">
                      <a:moveTo>
                        <a:pt x="65" y="0"/>
                      </a:moveTo>
                      <a:cubicBezTo>
                        <a:pt x="67" y="3"/>
                        <a:pt x="75" y="12"/>
                        <a:pt x="75" y="27"/>
                      </a:cubicBezTo>
                      <a:cubicBezTo>
                        <a:pt x="75" y="50"/>
                        <a:pt x="59" y="69"/>
                        <a:pt x="33" y="94"/>
                      </a:cubicBezTo>
                      <a:cubicBezTo>
                        <a:pt x="23" y="103"/>
                        <a:pt x="23" y="103"/>
                        <a:pt x="23" y="103"/>
                      </a:cubicBezTo>
                      <a:cubicBezTo>
                        <a:pt x="23" y="104"/>
                        <a:pt x="23" y="104"/>
                        <a:pt x="23" y="104"/>
                      </a:cubicBezTo>
                      <a:cubicBezTo>
                        <a:pt x="78" y="104"/>
                        <a:pt x="78" y="104"/>
                        <a:pt x="78" y="104"/>
                      </a:cubicBezTo>
                      <a:cubicBezTo>
                        <a:pt x="78" y="118"/>
                        <a:pt x="78" y="118"/>
                        <a:pt x="78" y="118"/>
                      </a:cubicBezTo>
                      <a:cubicBezTo>
                        <a:pt x="0" y="118"/>
                        <a:pt x="0" y="118"/>
                        <a:pt x="0" y="118"/>
                      </a:cubicBezTo>
                      <a:cubicBezTo>
                        <a:pt x="62" y="180"/>
                        <a:pt x="62" y="180"/>
                        <a:pt x="62" y="180"/>
                      </a:cubicBezTo>
                      <a:cubicBezTo>
                        <a:pt x="108" y="172"/>
                        <a:pt x="145" y="139"/>
                        <a:pt x="160" y="95"/>
                      </a:cubicBezTo>
                      <a:cubicBezTo>
                        <a:pt x="65" y="0"/>
                        <a:pt x="65" y="0"/>
                        <a:pt x="65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95" name="Freeform 67"/>
                <p:cNvSpPr/>
                <p:nvPr/>
              </p:nvSpPr>
              <p:spPr bwMode="auto">
                <a:xfrm>
                  <a:off x="-1425575" y="-1633538"/>
                  <a:ext cx="187325" cy="190500"/>
                </a:xfrm>
                <a:custGeom>
                  <a:avLst/>
                  <a:gdLst>
                    <a:gd name="T0" fmla="*/ 2147483646 w 50"/>
                    <a:gd name="T1" fmla="*/ 0 h 51"/>
                    <a:gd name="T2" fmla="*/ 0 w 50"/>
                    <a:gd name="T3" fmla="*/ 2147483646 h 51"/>
                    <a:gd name="T4" fmla="*/ 2147483646 w 50"/>
                    <a:gd name="T5" fmla="*/ 2147483646 h 51"/>
                    <a:gd name="T6" fmla="*/ 2147483646 w 50"/>
                    <a:gd name="T7" fmla="*/ 2147483646 h 51"/>
                    <a:gd name="T8" fmla="*/ 2147483646 w 50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1">
                      <a:moveTo>
                        <a:pt x="26" y="0"/>
                      </a:moveTo>
                      <a:cubicBezTo>
                        <a:pt x="15" y="0"/>
                        <a:pt x="6" y="6"/>
                        <a:pt x="0" y="1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7" y="42"/>
                        <a:pt x="50" y="34"/>
                        <a:pt x="50" y="25"/>
                      </a:cubicBezTo>
                      <a:cubicBezTo>
                        <a:pt x="50" y="12"/>
                        <a:pt x="44" y="0"/>
                        <a:pt x="26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96" name="Freeform 68"/>
                <p:cNvSpPr/>
                <p:nvPr/>
              </p:nvSpPr>
              <p:spPr bwMode="auto">
                <a:xfrm>
                  <a:off x="-1455738" y="-1685925"/>
                  <a:ext cx="292100" cy="479425"/>
                </a:xfrm>
                <a:custGeom>
                  <a:avLst/>
                  <a:gdLst>
                    <a:gd name="T0" fmla="*/ 0 w 78"/>
                    <a:gd name="T1" fmla="*/ 2147483646 h 128"/>
                    <a:gd name="T2" fmla="*/ 0 w 78"/>
                    <a:gd name="T3" fmla="*/ 2147483646 h 128"/>
                    <a:gd name="T4" fmla="*/ 2147483646 w 78"/>
                    <a:gd name="T5" fmla="*/ 2147483646 h 128"/>
                    <a:gd name="T6" fmla="*/ 2147483646 w 78"/>
                    <a:gd name="T7" fmla="*/ 2147483646 h 128"/>
                    <a:gd name="T8" fmla="*/ 2147483646 w 78"/>
                    <a:gd name="T9" fmla="*/ 2147483646 h 128"/>
                    <a:gd name="T10" fmla="*/ 2147483646 w 78"/>
                    <a:gd name="T11" fmla="*/ 2147483646 h 128"/>
                    <a:gd name="T12" fmla="*/ 2147483646 w 78"/>
                    <a:gd name="T13" fmla="*/ 2147483646 h 128"/>
                    <a:gd name="T14" fmla="*/ 2147483646 w 78"/>
                    <a:gd name="T15" fmla="*/ 0 h 128"/>
                    <a:gd name="T16" fmla="*/ 2147483646 w 78"/>
                    <a:gd name="T17" fmla="*/ 2147483646 h 128"/>
                    <a:gd name="T18" fmla="*/ 2147483646 w 78"/>
                    <a:gd name="T19" fmla="*/ 2147483646 h 128"/>
                    <a:gd name="T20" fmla="*/ 2147483646 w 78"/>
                    <a:gd name="T21" fmla="*/ 2147483646 h 128"/>
                    <a:gd name="T22" fmla="*/ 2147483646 w 78"/>
                    <a:gd name="T23" fmla="*/ 2147483646 h 128"/>
                    <a:gd name="T24" fmla="*/ 2147483646 w 78"/>
                    <a:gd name="T25" fmla="*/ 2147483646 h 128"/>
                    <a:gd name="T26" fmla="*/ 2147483646 w 78"/>
                    <a:gd name="T27" fmla="*/ 2147483646 h 128"/>
                    <a:gd name="T28" fmla="*/ 0 w 78"/>
                    <a:gd name="T29" fmla="*/ 2147483646 h 12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78" h="128">
                      <a:moveTo>
                        <a:pt x="0" y="128"/>
                      </a:moveTo>
                      <a:cubicBezTo>
                        <a:pt x="0" y="118"/>
                        <a:pt x="0" y="118"/>
                        <a:pt x="0" y="118"/>
                      </a:cubicBezTo>
                      <a:cubicBezTo>
                        <a:pt x="13" y="105"/>
                        <a:pt x="13" y="105"/>
                        <a:pt x="13" y="105"/>
                      </a:cubicBezTo>
                      <a:cubicBezTo>
                        <a:pt x="44" y="74"/>
                        <a:pt x="58" y="58"/>
                        <a:pt x="58" y="39"/>
                      </a:cubicBezTo>
                      <a:cubicBezTo>
                        <a:pt x="58" y="26"/>
                        <a:pt x="52" y="14"/>
                        <a:pt x="34" y="14"/>
                      </a:cubicBezTo>
                      <a:cubicBezTo>
                        <a:pt x="23" y="14"/>
                        <a:pt x="14" y="20"/>
                        <a:pt x="8" y="25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11" y="5"/>
                        <a:pt x="23" y="0"/>
                        <a:pt x="38" y="0"/>
                      </a:cubicBezTo>
                      <a:cubicBezTo>
                        <a:pt x="64" y="0"/>
                        <a:pt x="75" y="19"/>
                        <a:pt x="75" y="37"/>
                      </a:cubicBezTo>
                      <a:cubicBezTo>
                        <a:pt x="75" y="60"/>
                        <a:pt x="59" y="79"/>
                        <a:pt x="33" y="104"/>
                      </a:cubicBezTo>
                      <a:cubicBezTo>
                        <a:pt x="23" y="113"/>
                        <a:pt x="23" y="113"/>
                        <a:pt x="23" y="113"/>
                      </a:cubicBezTo>
                      <a:cubicBezTo>
                        <a:pt x="23" y="114"/>
                        <a:pt x="23" y="114"/>
                        <a:pt x="23" y="114"/>
                      </a:cubicBezTo>
                      <a:cubicBezTo>
                        <a:pt x="78" y="114"/>
                        <a:pt x="78" y="114"/>
                        <a:pt x="78" y="114"/>
                      </a:cubicBezTo>
                      <a:cubicBezTo>
                        <a:pt x="78" y="128"/>
                        <a:pt x="78" y="128"/>
                        <a:pt x="78" y="128"/>
                      </a:cubicBezTo>
                      <a:lnTo>
                        <a:pt x="0" y="12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16" name="组合 15"/>
          <p:cNvGrpSpPr/>
          <p:nvPr/>
        </p:nvGrpSpPr>
        <p:grpSpPr bwMode="auto">
          <a:xfrm>
            <a:off x="4067175" y="2444750"/>
            <a:ext cx="3014663" cy="784225"/>
            <a:chOff x="4066623" y="2444030"/>
            <a:chExt cx="3014446" cy="784761"/>
          </a:xfrm>
        </p:grpSpPr>
        <p:sp>
          <p:nvSpPr>
            <p:cNvPr id="11" name="Rectangle 48"/>
            <p:cNvSpPr/>
            <p:nvPr>
              <p:custDataLst>
                <p:tags r:id="rId16"/>
              </p:custDataLst>
            </p:nvPr>
          </p:nvSpPr>
          <p:spPr bwMode="auto">
            <a:xfrm>
              <a:off x="4066623" y="2444030"/>
              <a:ext cx="3014446" cy="784761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5295260" y="2641015"/>
              <a:ext cx="1004816" cy="3383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377" name="组合 13"/>
            <p:cNvGrpSpPr/>
            <p:nvPr/>
          </p:nvGrpSpPr>
          <p:grpSpPr bwMode="auto">
            <a:xfrm>
              <a:off x="4932040" y="2528152"/>
              <a:ext cx="308557" cy="616517"/>
              <a:chOff x="5093435" y="2506579"/>
              <a:chExt cx="308557" cy="616517"/>
            </a:xfrm>
          </p:grpSpPr>
          <p:sp>
            <p:nvSpPr>
              <p:cNvPr id="15378" name="Freeform 51"/>
              <p:cNvSpPr>
                <a:spLocks noEditPoints="1"/>
              </p:cNvSpPr>
              <p:nvPr/>
            </p:nvSpPr>
            <p:spPr bwMode="auto">
              <a:xfrm rot="5400000" flipH="1" flipV="1">
                <a:off x="5182225" y="2512688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379" name="Freeform 51"/>
              <p:cNvSpPr>
                <a:spLocks noEditPoints="1"/>
              </p:cNvSpPr>
              <p:nvPr/>
            </p:nvSpPr>
            <p:spPr bwMode="auto">
              <a:xfrm rot="16200000" flipH="1">
                <a:off x="5183255" y="2998863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5380" name="组合 104"/>
              <p:cNvGrpSpPr/>
              <p:nvPr/>
            </p:nvGrpSpPr>
            <p:grpSpPr bwMode="auto">
              <a:xfrm>
                <a:off x="5093435" y="2657030"/>
                <a:ext cx="308557" cy="308557"/>
                <a:chOff x="-2120900" y="2405063"/>
                <a:chExt cx="968375" cy="968375"/>
              </a:xfrm>
            </p:grpSpPr>
            <p:sp>
              <p:nvSpPr>
                <p:cNvPr id="15381" name="AutoShape 71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-2120900" y="2405063"/>
                  <a:ext cx="968375" cy="9683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07" name="Oval 73"/>
                <p:cNvSpPr>
                  <a:spLocks noChangeArrowheads="1"/>
                </p:cNvSpPr>
                <p:nvPr/>
              </p:nvSpPr>
              <p:spPr bwMode="auto">
                <a:xfrm>
                  <a:off x="-2116833" y="2411737"/>
                  <a:ext cx="961499" cy="957239"/>
                </a:xfrm>
                <a:prstGeom prst="ellipse">
                  <a:avLst/>
                </a:prstGeom>
                <a:solidFill>
                  <a:srgbClr val="8CC63F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5383" name="Freeform 74"/>
                <p:cNvSpPr/>
                <p:nvPr/>
              </p:nvSpPr>
              <p:spPr bwMode="auto">
                <a:xfrm>
                  <a:off x="-1711325" y="2897188"/>
                  <a:ext cx="153988" cy="142875"/>
                </a:xfrm>
                <a:custGeom>
                  <a:avLst/>
                  <a:gdLst>
                    <a:gd name="T0" fmla="*/ 2147483646 w 41"/>
                    <a:gd name="T1" fmla="*/ 0 h 38"/>
                    <a:gd name="T2" fmla="*/ 0 w 41"/>
                    <a:gd name="T3" fmla="*/ 0 h 38"/>
                    <a:gd name="T4" fmla="*/ 2147483646 w 41"/>
                    <a:gd name="T5" fmla="*/ 2147483646 h 38"/>
                    <a:gd name="T6" fmla="*/ 2147483646 w 41"/>
                    <a:gd name="T7" fmla="*/ 2147483646 h 38"/>
                    <a:gd name="T8" fmla="*/ 2147483646 w 41"/>
                    <a:gd name="T9" fmla="*/ 0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38">
                      <a:moveTo>
                        <a:pt x="9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8" y="38"/>
                        <a:pt x="38" y="38"/>
                        <a:pt x="38" y="38"/>
                      </a:cubicBezTo>
                      <a:cubicBezTo>
                        <a:pt x="40" y="34"/>
                        <a:pt x="41" y="29"/>
                        <a:pt x="41" y="25"/>
                      </a:cubicBezTo>
                      <a:cubicBezTo>
                        <a:pt x="41" y="7"/>
                        <a:pt x="25" y="0"/>
                        <a:pt x="9" y="0"/>
                      </a:cubicBezTo>
                    </a:path>
                  </a:pathLst>
                </a:custGeom>
                <a:solidFill>
                  <a:srgbClr val="5174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84" name="Freeform 75"/>
                <p:cNvSpPr/>
                <p:nvPr/>
              </p:nvSpPr>
              <p:spPr bwMode="auto">
                <a:xfrm>
                  <a:off x="-1746250" y="2693988"/>
                  <a:ext cx="173038" cy="146050"/>
                </a:xfrm>
                <a:custGeom>
                  <a:avLst/>
                  <a:gdLst>
                    <a:gd name="T0" fmla="*/ 2147483646 w 46"/>
                    <a:gd name="T1" fmla="*/ 0 h 39"/>
                    <a:gd name="T2" fmla="*/ 0 w 46"/>
                    <a:gd name="T3" fmla="*/ 2147483646 h 39"/>
                    <a:gd name="T4" fmla="*/ 2147483646 w 46"/>
                    <a:gd name="T5" fmla="*/ 2147483646 h 39"/>
                    <a:gd name="T6" fmla="*/ 2147483646 w 46"/>
                    <a:gd name="T7" fmla="*/ 2147483646 h 39"/>
                    <a:gd name="T8" fmla="*/ 2147483646 w 46"/>
                    <a:gd name="T9" fmla="*/ 0 h 3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6" h="39">
                      <a:moveTo>
                        <a:pt x="24" y="0"/>
                      </a:moveTo>
                      <a:cubicBezTo>
                        <a:pt x="15" y="0"/>
                        <a:pt x="5" y="4"/>
                        <a:pt x="0" y="8"/>
                      </a:cubicBezTo>
                      <a:cubicBezTo>
                        <a:pt x="30" y="39"/>
                        <a:pt x="30" y="39"/>
                        <a:pt x="30" y="39"/>
                      </a:cubicBezTo>
                      <a:cubicBezTo>
                        <a:pt x="39" y="36"/>
                        <a:pt x="46" y="30"/>
                        <a:pt x="46" y="19"/>
                      </a:cubicBezTo>
                      <a:cubicBezTo>
                        <a:pt x="46" y="9"/>
                        <a:pt x="40" y="0"/>
                        <a:pt x="24" y="0"/>
                      </a:cubicBezTo>
                    </a:path>
                  </a:pathLst>
                </a:custGeom>
                <a:solidFill>
                  <a:srgbClr val="5174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85" name="Freeform 76"/>
                <p:cNvSpPr>
                  <a:spLocks noEditPoints="1"/>
                </p:cNvSpPr>
                <p:nvPr/>
              </p:nvSpPr>
              <p:spPr bwMode="auto">
                <a:xfrm>
                  <a:off x="-1779588" y="2674938"/>
                  <a:ext cx="600075" cy="682625"/>
                </a:xfrm>
                <a:custGeom>
                  <a:avLst/>
                  <a:gdLst>
                    <a:gd name="T0" fmla="*/ 2147483646 w 160"/>
                    <a:gd name="T1" fmla="*/ 2147483646 h 182"/>
                    <a:gd name="T2" fmla="*/ 2147483646 w 160"/>
                    <a:gd name="T3" fmla="*/ 2147483646 h 182"/>
                    <a:gd name="T4" fmla="*/ 2147483646 w 160"/>
                    <a:gd name="T5" fmla="*/ 2147483646 h 182"/>
                    <a:gd name="T6" fmla="*/ 2147483646 w 160"/>
                    <a:gd name="T7" fmla="*/ 2147483646 h 182"/>
                    <a:gd name="T8" fmla="*/ 2147483646 w 160"/>
                    <a:gd name="T9" fmla="*/ 2147483646 h 182"/>
                    <a:gd name="T10" fmla="*/ 2147483646 w 160"/>
                    <a:gd name="T11" fmla="*/ 2147483646 h 182"/>
                    <a:gd name="T12" fmla="*/ 0 w 160"/>
                    <a:gd name="T13" fmla="*/ 2147483646 h 182"/>
                    <a:gd name="T14" fmla="*/ 2147483646 w 160"/>
                    <a:gd name="T15" fmla="*/ 2147483646 h 182"/>
                    <a:gd name="T16" fmla="*/ 2147483646 w 160"/>
                    <a:gd name="T17" fmla="*/ 2147483646 h 182"/>
                    <a:gd name="T18" fmla="*/ 2147483646 w 160"/>
                    <a:gd name="T19" fmla="*/ 2147483646 h 182"/>
                    <a:gd name="T20" fmla="*/ 2147483646 w 160"/>
                    <a:gd name="T21" fmla="*/ 0 h 182"/>
                    <a:gd name="T22" fmla="*/ 2147483646 w 160"/>
                    <a:gd name="T23" fmla="*/ 2147483646 h 182"/>
                    <a:gd name="T24" fmla="*/ 2147483646 w 160"/>
                    <a:gd name="T25" fmla="*/ 0 h 18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160" h="182">
                      <a:moveTo>
                        <a:pt x="63" y="1"/>
                      </a:moveTo>
                      <a:cubicBezTo>
                        <a:pt x="69" y="6"/>
                        <a:pt x="72" y="14"/>
                        <a:pt x="72" y="21"/>
                      </a:cubicBezTo>
                      <a:cubicBezTo>
                        <a:pt x="72" y="35"/>
                        <a:pt x="64" y="46"/>
                        <a:pt x="49" y="52"/>
                      </a:cubicBezTo>
                      <a:cubicBezTo>
                        <a:pt x="49" y="52"/>
                        <a:pt x="49" y="52"/>
                        <a:pt x="49" y="52"/>
                      </a:cubicBezTo>
                      <a:cubicBezTo>
                        <a:pt x="64" y="55"/>
                        <a:pt x="76" y="67"/>
                        <a:pt x="76" y="85"/>
                      </a:cubicBezTo>
                      <a:cubicBezTo>
                        <a:pt x="76" y="105"/>
                        <a:pt x="61" y="123"/>
                        <a:pt x="32" y="123"/>
                      </a:cubicBezTo>
                      <a:cubicBezTo>
                        <a:pt x="18" y="123"/>
                        <a:pt x="6" y="118"/>
                        <a:pt x="0" y="114"/>
                      </a:cubicBezTo>
                      <a:cubicBezTo>
                        <a:pt x="67" y="182"/>
                        <a:pt x="67" y="182"/>
                        <a:pt x="67" y="182"/>
                      </a:cubicBezTo>
                      <a:cubicBezTo>
                        <a:pt x="111" y="172"/>
                        <a:pt x="146" y="139"/>
                        <a:pt x="160" y="97"/>
                      </a:cubicBezTo>
                      <a:cubicBezTo>
                        <a:pt x="63" y="1"/>
                        <a:pt x="63" y="1"/>
                        <a:pt x="63" y="1"/>
                      </a:cubicBezTo>
                      <a:moveTo>
                        <a:pt x="63" y="0"/>
                      </a:moveTo>
                      <a:cubicBezTo>
                        <a:pt x="63" y="1"/>
                        <a:pt x="63" y="1"/>
                        <a:pt x="63" y="1"/>
                      </a:cubicBezTo>
                      <a:cubicBezTo>
                        <a:pt x="63" y="1"/>
                        <a:pt x="63" y="0"/>
                        <a:pt x="63" y="0"/>
                      </a:cubicBezTo>
                    </a:path>
                  </a:pathLst>
                </a:custGeom>
                <a:solidFill>
                  <a:srgbClr val="5174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86" name="Freeform 78"/>
                <p:cNvSpPr/>
                <p:nvPr/>
              </p:nvSpPr>
              <p:spPr bwMode="auto">
                <a:xfrm>
                  <a:off x="-1779588" y="2641601"/>
                  <a:ext cx="285750" cy="495300"/>
                </a:xfrm>
                <a:custGeom>
                  <a:avLst/>
                  <a:gdLst>
                    <a:gd name="T0" fmla="*/ 2147483646 w 76"/>
                    <a:gd name="T1" fmla="*/ 2147483646 h 132"/>
                    <a:gd name="T2" fmla="*/ 2147483646 w 76"/>
                    <a:gd name="T3" fmla="*/ 2147483646 h 132"/>
                    <a:gd name="T4" fmla="*/ 2147483646 w 76"/>
                    <a:gd name="T5" fmla="*/ 2147483646 h 132"/>
                    <a:gd name="T6" fmla="*/ 2147483646 w 76"/>
                    <a:gd name="T7" fmla="*/ 2147483646 h 132"/>
                    <a:gd name="T8" fmla="*/ 2147483646 w 76"/>
                    <a:gd name="T9" fmla="*/ 2147483646 h 132"/>
                    <a:gd name="T10" fmla="*/ 2147483646 w 76"/>
                    <a:gd name="T11" fmla="*/ 2147483646 h 132"/>
                    <a:gd name="T12" fmla="*/ 2147483646 w 76"/>
                    <a:gd name="T13" fmla="*/ 2147483646 h 132"/>
                    <a:gd name="T14" fmla="*/ 2147483646 w 76"/>
                    <a:gd name="T15" fmla="*/ 2147483646 h 132"/>
                    <a:gd name="T16" fmla="*/ 2147483646 w 76"/>
                    <a:gd name="T17" fmla="*/ 2147483646 h 132"/>
                    <a:gd name="T18" fmla="*/ 2147483646 w 76"/>
                    <a:gd name="T19" fmla="*/ 2147483646 h 132"/>
                    <a:gd name="T20" fmla="*/ 2147483646 w 76"/>
                    <a:gd name="T21" fmla="*/ 2147483646 h 132"/>
                    <a:gd name="T22" fmla="*/ 2147483646 w 76"/>
                    <a:gd name="T23" fmla="*/ 0 h 132"/>
                    <a:gd name="T24" fmla="*/ 2147483646 w 76"/>
                    <a:gd name="T25" fmla="*/ 2147483646 h 132"/>
                    <a:gd name="T26" fmla="*/ 2147483646 w 76"/>
                    <a:gd name="T27" fmla="*/ 2147483646 h 132"/>
                    <a:gd name="T28" fmla="*/ 2147483646 w 76"/>
                    <a:gd name="T29" fmla="*/ 2147483646 h 132"/>
                    <a:gd name="T30" fmla="*/ 2147483646 w 76"/>
                    <a:gd name="T31" fmla="*/ 2147483646 h 132"/>
                    <a:gd name="T32" fmla="*/ 2147483646 w 76"/>
                    <a:gd name="T33" fmla="*/ 2147483646 h 132"/>
                    <a:gd name="T34" fmla="*/ 0 w 76"/>
                    <a:gd name="T35" fmla="*/ 2147483646 h 132"/>
                    <a:gd name="T36" fmla="*/ 2147483646 w 76"/>
                    <a:gd name="T37" fmla="*/ 2147483646 h 13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76" h="132">
                      <a:moveTo>
                        <a:pt x="4" y="110"/>
                      </a:moveTo>
                      <a:cubicBezTo>
                        <a:pt x="9" y="113"/>
                        <a:pt x="20" y="118"/>
                        <a:pt x="31" y="118"/>
                      </a:cubicBezTo>
                      <a:cubicBezTo>
                        <a:pt x="53" y="118"/>
                        <a:pt x="59" y="104"/>
                        <a:pt x="59" y="93"/>
                      </a:cubicBezTo>
                      <a:cubicBezTo>
                        <a:pt x="59" y="75"/>
                        <a:pt x="43" y="68"/>
                        <a:pt x="27" y="68"/>
                      </a:cubicBezTo>
                      <a:cubicBezTo>
                        <a:pt x="18" y="68"/>
                        <a:pt x="18" y="68"/>
                        <a:pt x="18" y="68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27" y="55"/>
                        <a:pt x="27" y="55"/>
                        <a:pt x="27" y="55"/>
                      </a:cubicBezTo>
                      <a:cubicBezTo>
                        <a:pt x="40" y="55"/>
                        <a:pt x="55" y="48"/>
                        <a:pt x="55" y="33"/>
                      </a:cubicBezTo>
                      <a:cubicBezTo>
                        <a:pt x="55" y="23"/>
                        <a:pt x="49" y="14"/>
                        <a:pt x="33" y="14"/>
                      </a:cubicBezTo>
                      <a:cubicBezTo>
                        <a:pt x="24" y="14"/>
                        <a:pt x="14" y="18"/>
                        <a:pt x="9" y="22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11" y="5"/>
                        <a:pt x="23" y="0"/>
                        <a:pt x="36" y="0"/>
                      </a:cubicBezTo>
                      <a:cubicBezTo>
                        <a:pt x="61" y="0"/>
                        <a:pt x="72" y="15"/>
                        <a:pt x="72" y="30"/>
                      </a:cubicBezTo>
                      <a:cubicBezTo>
                        <a:pt x="72" y="44"/>
                        <a:pt x="64" y="55"/>
                        <a:pt x="49" y="61"/>
                      </a:cubicBezTo>
                      <a:cubicBezTo>
                        <a:pt x="49" y="61"/>
                        <a:pt x="49" y="61"/>
                        <a:pt x="49" y="61"/>
                      </a:cubicBezTo>
                      <a:cubicBezTo>
                        <a:pt x="64" y="64"/>
                        <a:pt x="76" y="76"/>
                        <a:pt x="76" y="94"/>
                      </a:cubicBezTo>
                      <a:cubicBezTo>
                        <a:pt x="76" y="114"/>
                        <a:pt x="61" y="132"/>
                        <a:pt x="32" y="132"/>
                      </a:cubicBezTo>
                      <a:cubicBezTo>
                        <a:pt x="18" y="132"/>
                        <a:pt x="6" y="127"/>
                        <a:pt x="0" y="123"/>
                      </a:cubicBezTo>
                      <a:lnTo>
                        <a:pt x="4" y="1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3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3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3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8" dur="3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4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4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4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3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0" dur="3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4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4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4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3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3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2" dur="3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  <p:bldP spid="19" grpId="0" animBg="1"/>
      <p:bldP spid="2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矩形 211"/>
          <p:cNvSpPr/>
          <p:nvPr/>
        </p:nvSpPr>
        <p:spPr>
          <a:xfrm>
            <a:off x="0" y="0"/>
            <a:ext cx="2700338" cy="5143500"/>
          </a:xfrm>
          <a:prstGeom prst="rect">
            <a:avLst/>
          </a:prstGeom>
          <a:solidFill>
            <a:srgbClr val="266678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 bwMode="auto">
          <a:xfrm>
            <a:off x="3860800" y="2159000"/>
            <a:ext cx="4851400" cy="844550"/>
            <a:chOff x="4113929" y="-1172666"/>
            <a:chExt cx="4850559" cy="845068"/>
          </a:xfrm>
        </p:grpSpPr>
        <p:sp>
          <p:nvSpPr>
            <p:cNvPr id="261" name="等腰三角形 1164"/>
            <p:cNvSpPr/>
            <p:nvPr/>
          </p:nvSpPr>
          <p:spPr>
            <a:xfrm rot="16200000" flipH="1">
              <a:off x="6117470" y="-3173030"/>
              <a:ext cx="841891" cy="4848972"/>
            </a:xfrm>
            <a:custGeom>
              <a:avLst/>
              <a:gdLst>
                <a:gd name="connsiteX0" fmla="*/ 1498 w 793663"/>
                <a:gd name="connsiteY0" fmla="*/ 135733 h 4798886"/>
                <a:gd name="connsiteX1" fmla="*/ 0 w 793663"/>
                <a:gd name="connsiteY1" fmla="*/ 187709 h 4798886"/>
                <a:gd name="connsiteX2" fmla="*/ 1498 w 793663"/>
                <a:gd name="connsiteY2" fmla="*/ 1144391 h 4798886"/>
                <a:gd name="connsiteX3" fmla="*/ 1500 w 793663"/>
                <a:gd name="connsiteY3" fmla="*/ 1144391 h 4798886"/>
                <a:gd name="connsiteX4" fmla="*/ 1500 w 793663"/>
                <a:gd name="connsiteY4" fmla="*/ 4798886 h 4798886"/>
                <a:gd name="connsiteX5" fmla="*/ 793663 w 793663"/>
                <a:gd name="connsiteY5" fmla="*/ 4798886 h 4798886"/>
                <a:gd name="connsiteX6" fmla="*/ 793663 w 793663"/>
                <a:gd name="connsiteY6" fmla="*/ 1117780 h 4798886"/>
                <a:gd name="connsiteX7" fmla="*/ 793661 w 793663"/>
                <a:gd name="connsiteY7" fmla="*/ 1117780 h 4798886"/>
                <a:gd name="connsiteX8" fmla="*/ 793661 w 793663"/>
                <a:gd name="connsiteY8" fmla="*/ 135733 h 4798886"/>
                <a:gd name="connsiteX9" fmla="*/ 572937 w 793663"/>
                <a:gd name="connsiteY9" fmla="*/ 135733 h 4798886"/>
                <a:gd name="connsiteX10" fmla="*/ 411618 w 793663"/>
                <a:gd name="connsiteY10" fmla="*/ 0 h 4798886"/>
                <a:gd name="connsiteX11" fmla="*/ 262205 w 793663"/>
                <a:gd name="connsiteY11" fmla="*/ 135733 h 4798886"/>
                <a:gd name="connsiteX12" fmla="*/ 1498 w 793663"/>
                <a:gd name="connsiteY12" fmla="*/ 135733 h 4798886"/>
                <a:gd name="connsiteX0-1" fmla="*/ 1498 w 793663"/>
                <a:gd name="connsiteY0-2" fmla="*/ 135733 h 4798886"/>
                <a:gd name="connsiteX1-3" fmla="*/ 0 w 793663"/>
                <a:gd name="connsiteY1-4" fmla="*/ 187709 h 4798886"/>
                <a:gd name="connsiteX2-5" fmla="*/ 1498 w 793663"/>
                <a:gd name="connsiteY2-6" fmla="*/ 1144391 h 4798886"/>
                <a:gd name="connsiteX3-7" fmla="*/ 1500 w 793663"/>
                <a:gd name="connsiteY3-8" fmla="*/ 1144391 h 4798886"/>
                <a:gd name="connsiteX4-9" fmla="*/ 1500 w 793663"/>
                <a:gd name="connsiteY4-10" fmla="*/ 4798886 h 4798886"/>
                <a:gd name="connsiteX5-11" fmla="*/ 793663 w 793663"/>
                <a:gd name="connsiteY5-12" fmla="*/ 4798886 h 4798886"/>
                <a:gd name="connsiteX6-13" fmla="*/ 793663 w 793663"/>
                <a:gd name="connsiteY6-14" fmla="*/ 1117780 h 4798886"/>
                <a:gd name="connsiteX7-15" fmla="*/ 793661 w 793663"/>
                <a:gd name="connsiteY7-16" fmla="*/ 1117780 h 4798886"/>
                <a:gd name="connsiteX8-17" fmla="*/ 793661 w 793663"/>
                <a:gd name="connsiteY8-18" fmla="*/ 135733 h 4798886"/>
                <a:gd name="connsiteX9-19" fmla="*/ 572937 w 793663"/>
                <a:gd name="connsiteY9-20" fmla="*/ 135733 h 4798886"/>
                <a:gd name="connsiteX10-21" fmla="*/ 411618 w 793663"/>
                <a:gd name="connsiteY10-22" fmla="*/ 0 h 4798886"/>
                <a:gd name="connsiteX11-23" fmla="*/ 262205 w 793663"/>
                <a:gd name="connsiteY11-24" fmla="*/ 135733 h 4798886"/>
                <a:gd name="connsiteX12-25" fmla="*/ 41890 w 793663"/>
                <a:gd name="connsiteY12-26" fmla="*/ 134656 h 4798886"/>
                <a:gd name="connsiteX13" fmla="*/ 1498 w 793663"/>
                <a:gd name="connsiteY13" fmla="*/ 135733 h 4798886"/>
                <a:gd name="connsiteX0-27" fmla="*/ 41890 w 793663"/>
                <a:gd name="connsiteY0-28" fmla="*/ 134656 h 4798886"/>
                <a:gd name="connsiteX1-29" fmla="*/ 0 w 793663"/>
                <a:gd name="connsiteY1-30" fmla="*/ 187709 h 4798886"/>
                <a:gd name="connsiteX2-31" fmla="*/ 1498 w 793663"/>
                <a:gd name="connsiteY2-32" fmla="*/ 1144391 h 4798886"/>
                <a:gd name="connsiteX3-33" fmla="*/ 1500 w 793663"/>
                <a:gd name="connsiteY3-34" fmla="*/ 1144391 h 4798886"/>
                <a:gd name="connsiteX4-35" fmla="*/ 1500 w 793663"/>
                <a:gd name="connsiteY4-36" fmla="*/ 4798886 h 4798886"/>
                <a:gd name="connsiteX5-37" fmla="*/ 793663 w 793663"/>
                <a:gd name="connsiteY5-38" fmla="*/ 4798886 h 4798886"/>
                <a:gd name="connsiteX6-39" fmla="*/ 793663 w 793663"/>
                <a:gd name="connsiteY6-40" fmla="*/ 1117780 h 4798886"/>
                <a:gd name="connsiteX7-41" fmla="*/ 793661 w 793663"/>
                <a:gd name="connsiteY7-42" fmla="*/ 1117780 h 4798886"/>
                <a:gd name="connsiteX8-43" fmla="*/ 793661 w 793663"/>
                <a:gd name="connsiteY8-44" fmla="*/ 135733 h 4798886"/>
                <a:gd name="connsiteX9-45" fmla="*/ 572937 w 793663"/>
                <a:gd name="connsiteY9-46" fmla="*/ 135733 h 4798886"/>
                <a:gd name="connsiteX10-47" fmla="*/ 411618 w 793663"/>
                <a:gd name="connsiteY10-48" fmla="*/ 0 h 4798886"/>
                <a:gd name="connsiteX11-49" fmla="*/ 262205 w 793663"/>
                <a:gd name="connsiteY11-50" fmla="*/ 135733 h 4798886"/>
                <a:gd name="connsiteX12-51" fmla="*/ 41890 w 793663"/>
                <a:gd name="connsiteY12-52" fmla="*/ 134656 h 4798886"/>
                <a:gd name="connsiteX0-53" fmla="*/ 41890 w 793663"/>
                <a:gd name="connsiteY0-54" fmla="*/ 134656 h 4798886"/>
                <a:gd name="connsiteX1-55" fmla="*/ 0 w 793663"/>
                <a:gd name="connsiteY1-56" fmla="*/ 187709 h 4798886"/>
                <a:gd name="connsiteX2-57" fmla="*/ 1498 w 793663"/>
                <a:gd name="connsiteY2-58" fmla="*/ 1144391 h 4798886"/>
                <a:gd name="connsiteX3-59" fmla="*/ 1500 w 793663"/>
                <a:gd name="connsiteY3-60" fmla="*/ 1144391 h 4798886"/>
                <a:gd name="connsiteX4-61" fmla="*/ 1500 w 793663"/>
                <a:gd name="connsiteY4-62" fmla="*/ 4798886 h 4798886"/>
                <a:gd name="connsiteX5-63" fmla="*/ 793663 w 793663"/>
                <a:gd name="connsiteY5-64" fmla="*/ 4767681 h 4798886"/>
                <a:gd name="connsiteX6-65" fmla="*/ 793663 w 793663"/>
                <a:gd name="connsiteY6-66" fmla="*/ 1117780 h 4798886"/>
                <a:gd name="connsiteX7-67" fmla="*/ 793661 w 793663"/>
                <a:gd name="connsiteY7-68" fmla="*/ 1117780 h 4798886"/>
                <a:gd name="connsiteX8-69" fmla="*/ 793661 w 793663"/>
                <a:gd name="connsiteY8-70" fmla="*/ 135733 h 4798886"/>
                <a:gd name="connsiteX9-71" fmla="*/ 572937 w 793663"/>
                <a:gd name="connsiteY9-72" fmla="*/ 135733 h 4798886"/>
                <a:gd name="connsiteX10-73" fmla="*/ 411618 w 793663"/>
                <a:gd name="connsiteY10-74" fmla="*/ 0 h 4798886"/>
                <a:gd name="connsiteX11-75" fmla="*/ 262205 w 793663"/>
                <a:gd name="connsiteY11-76" fmla="*/ 135733 h 4798886"/>
                <a:gd name="connsiteX12-77" fmla="*/ 41890 w 793663"/>
                <a:gd name="connsiteY12-78" fmla="*/ 134656 h 4798886"/>
                <a:gd name="connsiteX0-79" fmla="*/ 41890 w 793663"/>
                <a:gd name="connsiteY0-80" fmla="*/ 134656 h 4770802"/>
                <a:gd name="connsiteX1-81" fmla="*/ 0 w 793663"/>
                <a:gd name="connsiteY1-82" fmla="*/ 187709 h 4770802"/>
                <a:gd name="connsiteX2-83" fmla="*/ 1498 w 793663"/>
                <a:gd name="connsiteY2-84" fmla="*/ 1144391 h 4770802"/>
                <a:gd name="connsiteX3-85" fmla="*/ 1500 w 793663"/>
                <a:gd name="connsiteY3-86" fmla="*/ 1144391 h 4770802"/>
                <a:gd name="connsiteX4-87" fmla="*/ 1500 w 793663"/>
                <a:gd name="connsiteY4-88" fmla="*/ 4770802 h 4770802"/>
                <a:gd name="connsiteX5-89" fmla="*/ 793663 w 793663"/>
                <a:gd name="connsiteY5-90" fmla="*/ 4767681 h 4770802"/>
                <a:gd name="connsiteX6-91" fmla="*/ 793663 w 793663"/>
                <a:gd name="connsiteY6-92" fmla="*/ 1117780 h 4770802"/>
                <a:gd name="connsiteX7-93" fmla="*/ 793661 w 793663"/>
                <a:gd name="connsiteY7-94" fmla="*/ 1117780 h 4770802"/>
                <a:gd name="connsiteX8-95" fmla="*/ 793661 w 793663"/>
                <a:gd name="connsiteY8-96" fmla="*/ 135733 h 4770802"/>
                <a:gd name="connsiteX9-97" fmla="*/ 572937 w 793663"/>
                <a:gd name="connsiteY9-98" fmla="*/ 135733 h 4770802"/>
                <a:gd name="connsiteX10-99" fmla="*/ 411618 w 793663"/>
                <a:gd name="connsiteY10-100" fmla="*/ 0 h 4770802"/>
                <a:gd name="connsiteX11-101" fmla="*/ 262205 w 793663"/>
                <a:gd name="connsiteY11-102" fmla="*/ 135733 h 4770802"/>
                <a:gd name="connsiteX12-103" fmla="*/ 41890 w 793663"/>
                <a:gd name="connsiteY12-104" fmla="*/ 134656 h 4770802"/>
                <a:gd name="connsiteX0-105" fmla="*/ 41890 w 793663"/>
                <a:gd name="connsiteY0-106" fmla="*/ 134656 h 4770802"/>
                <a:gd name="connsiteX1-107" fmla="*/ 0 w 793663"/>
                <a:gd name="connsiteY1-108" fmla="*/ 187709 h 4770802"/>
                <a:gd name="connsiteX2-109" fmla="*/ 1498 w 793663"/>
                <a:gd name="connsiteY2-110" fmla="*/ 1144391 h 4770802"/>
                <a:gd name="connsiteX3-111" fmla="*/ 1500 w 793663"/>
                <a:gd name="connsiteY3-112" fmla="*/ 1144391 h 4770802"/>
                <a:gd name="connsiteX4-113" fmla="*/ 1500 w 793663"/>
                <a:gd name="connsiteY4-114" fmla="*/ 4770802 h 4770802"/>
                <a:gd name="connsiteX5-115" fmla="*/ 793663 w 793663"/>
                <a:gd name="connsiteY5-116" fmla="*/ 4767681 h 4770802"/>
                <a:gd name="connsiteX6-117" fmla="*/ 792912 w 793663"/>
                <a:gd name="connsiteY6-118" fmla="*/ 4737762 h 4770802"/>
                <a:gd name="connsiteX7-119" fmla="*/ 793663 w 793663"/>
                <a:gd name="connsiteY7-120" fmla="*/ 1117780 h 4770802"/>
                <a:gd name="connsiteX8-121" fmla="*/ 793661 w 793663"/>
                <a:gd name="connsiteY8-122" fmla="*/ 1117780 h 4770802"/>
                <a:gd name="connsiteX9-123" fmla="*/ 793661 w 793663"/>
                <a:gd name="connsiteY9-124" fmla="*/ 135733 h 4770802"/>
                <a:gd name="connsiteX10-125" fmla="*/ 572937 w 793663"/>
                <a:gd name="connsiteY10-126" fmla="*/ 135733 h 4770802"/>
                <a:gd name="connsiteX11-127" fmla="*/ 411618 w 793663"/>
                <a:gd name="connsiteY11-128" fmla="*/ 0 h 4770802"/>
                <a:gd name="connsiteX12-129" fmla="*/ 262205 w 793663"/>
                <a:gd name="connsiteY12-130" fmla="*/ 135733 h 4770802"/>
                <a:gd name="connsiteX13-131" fmla="*/ 41890 w 793663"/>
                <a:gd name="connsiteY13-132" fmla="*/ 134656 h 4770802"/>
                <a:gd name="connsiteX0-133" fmla="*/ 41890 w 793663"/>
                <a:gd name="connsiteY0-134" fmla="*/ 134656 h 4770802"/>
                <a:gd name="connsiteX1-135" fmla="*/ 0 w 793663"/>
                <a:gd name="connsiteY1-136" fmla="*/ 187709 h 4770802"/>
                <a:gd name="connsiteX2-137" fmla="*/ 1498 w 793663"/>
                <a:gd name="connsiteY2-138" fmla="*/ 1144391 h 4770802"/>
                <a:gd name="connsiteX3-139" fmla="*/ 1500 w 793663"/>
                <a:gd name="connsiteY3-140" fmla="*/ 1144391 h 4770802"/>
                <a:gd name="connsiteX4-141" fmla="*/ 1500 w 793663"/>
                <a:gd name="connsiteY4-142" fmla="*/ 4770802 h 4770802"/>
                <a:gd name="connsiteX5-143" fmla="*/ 742046 w 793663"/>
                <a:gd name="connsiteY5-144" fmla="*/ 4765849 h 4770802"/>
                <a:gd name="connsiteX6-145" fmla="*/ 793663 w 793663"/>
                <a:gd name="connsiteY6-146" fmla="*/ 4767681 h 4770802"/>
                <a:gd name="connsiteX7-147" fmla="*/ 792912 w 793663"/>
                <a:gd name="connsiteY7-148" fmla="*/ 4737762 h 4770802"/>
                <a:gd name="connsiteX8-149" fmla="*/ 793663 w 793663"/>
                <a:gd name="connsiteY8-150" fmla="*/ 1117780 h 4770802"/>
                <a:gd name="connsiteX9-151" fmla="*/ 793661 w 793663"/>
                <a:gd name="connsiteY9-152" fmla="*/ 1117780 h 4770802"/>
                <a:gd name="connsiteX10-153" fmla="*/ 793661 w 793663"/>
                <a:gd name="connsiteY10-154" fmla="*/ 135733 h 4770802"/>
                <a:gd name="connsiteX11-155" fmla="*/ 572937 w 793663"/>
                <a:gd name="connsiteY11-156" fmla="*/ 135733 h 4770802"/>
                <a:gd name="connsiteX12-157" fmla="*/ 411618 w 793663"/>
                <a:gd name="connsiteY12-158" fmla="*/ 0 h 4770802"/>
                <a:gd name="connsiteX13-159" fmla="*/ 262205 w 793663"/>
                <a:gd name="connsiteY13-160" fmla="*/ 135733 h 4770802"/>
                <a:gd name="connsiteX14" fmla="*/ 41890 w 793663"/>
                <a:gd name="connsiteY14" fmla="*/ 134656 h 4770802"/>
                <a:gd name="connsiteX0-161" fmla="*/ 41890 w 793663"/>
                <a:gd name="connsiteY0-162" fmla="*/ 134656 h 4770802"/>
                <a:gd name="connsiteX1-163" fmla="*/ 0 w 793663"/>
                <a:gd name="connsiteY1-164" fmla="*/ 187709 h 4770802"/>
                <a:gd name="connsiteX2-165" fmla="*/ 1498 w 793663"/>
                <a:gd name="connsiteY2-166" fmla="*/ 1144391 h 4770802"/>
                <a:gd name="connsiteX3-167" fmla="*/ 1500 w 793663"/>
                <a:gd name="connsiteY3-168" fmla="*/ 1144391 h 4770802"/>
                <a:gd name="connsiteX4-169" fmla="*/ 1500 w 793663"/>
                <a:gd name="connsiteY4-170" fmla="*/ 4770802 h 4770802"/>
                <a:gd name="connsiteX5-171" fmla="*/ 742046 w 793663"/>
                <a:gd name="connsiteY5-172" fmla="*/ 4765849 h 4770802"/>
                <a:gd name="connsiteX6-173" fmla="*/ 792912 w 793663"/>
                <a:gd name="connsiteY6-174" fmla="*/ 4737762 h 4770802"/>
                <a:gd name="connsiteX7-175" fmla="*/ 793663 w 793663"/>
                <a:gd name="connsiteY7-176" fmla="*/ 1117780 h 4770802"/>
                <a:gd name="connsiteX8-177" fmla="*/ 793661 w 793663"/>
                <a:gd name="connsiteY8-178" fmla="*/ 1117780 h 4770802"/>
                <a:gd name="connsiteX9-179" fmla="*/ 793661 w 793663"/>
                <a:gd name="connsiteY9-180" fmla="*/ 135733 h 4770802"/>
                <a:gd name="connsiteX10-181" fmla="*/ 572937 w 793663"/>
                <a:gd name="connsiteY10-182" fmla="*/ 135733 h 4770802"/>
                <a:gd name="connsiteX11-183" fmla="*/ 411618 w 793663"/>
                <a:gd name="connsiteY11-184" fmla="*/ 0 h 4770802"/>
                <a:gd name="connsiteX12-185" fmla="*/ 262205 w 793663"/>
                <a:gd name="connsiteY12-186" fmla="*/ 135733 h 4770802"/>
                <a:gd name="connsiteX13-187" fmla="*/ 41890 w 793663"/>
                <a:gd name="connsiteY13-188" fmla="*/ 134656 h 4770802"/>
                <a:gd name="connsiteX0-189" fmla="*/ 41890 w 793663"/>
                <a:gd name="connsiteY0-190" fmla="*/ 134656 h 4765849"/>
                <a:gd name="connsiteX1-191" fmla="*/ 0 w 793663"/>
                <a:gd name="connsiteY1-192" fmla="*/ 187709 h 4765849"/>
                <a:gd name="connsiteX2-193" fmla="*/ 1498 w 793663"/>
                <a:gd name="connsiteY2-194" fmla="*/ 1144391 h 4765849"/>
                <a:gd name="connsiteX3-195" fmla="*/ 1500 w 793663"/>
                <a:gd name="connsiteY3-196" fmla="*/ 1144391 h 4765849"/>
                <a:gd name="connsiteX4-197" fmla="*/ 1500 w 793663"/>
                <a:gd name="connsiteY4-198" fmla="*/ 4761442 h 4765849"/>
                <a:gd name="connsiteX5-199" fmla="*/ 742046 w 793663"/>
                <a:gd name="connsiteY5-200" fmla="*/ 4765849 h 4765849"/>
                <a:gd name="connsiteX6-201" fmla="*/ 792912 w 793663"/>
                <a:gd name="connsiteY6-202" fmla="*/ 4737762 h 4765849"/>
                <a:gd name="connsiteX7-203" fmla="*/ 793663 w 793663"/>
                <a:gd name="connsiteY7-204" fmla="*/ 1117780 h 4765849"/>
                <a:gd name="connsiteX8-205" fmla="*/ 793661 w 793663"/>
                <a:gd name="connsiteY8-206" fmla="*/ 1117780 h 4765849"/>
                <a:gd name="connsiteX9-207" fmla="*/ 793661 w 793663"/>
                <a:gd name="connsiteY9-208" fmla="*/ 135733 h 4765849"/>
                <a:gd name="connsiteX10-209" fmla="*/ 572937 w 793663"/>
                <a:gd name="connsiteY10-210" fmla="*/ 135733 h 4765849"/>
                <a:gd name="connsiteX11-211" fmla="*/ 411618 w 793663"/>
                <a:gd name="connsiteY11-212" fmla="*/ 0 h 4765849"/>
                <a:gd name="connsiteX12-213" fmla="*/ 262205 w 793663"/>
                <a:gd name="connsiteY12-214" fmla="*/ 135733 h 4765849"/>
                <a:gd name="connsiteX13-215" fmla="*/ 41890 w 793663"/>
                <a:gd name="connsiteY13-216" fmla="*/ 134656 h 476584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131" y="connsiteY13-132"/>
                </a:cxn>
              </a:cxnLst>
              <a:rect l="l" t="t" r="r" b="b"/>
              <a:pathLst>
                <a:path w="793663" h="4765849">
                  <a:moveTo>
                    <a:pt x="41890" y="134656"/>
                  </a:moveTo>
                  <a:lnTo>
                    <a:pt x="0" y="187709"/>
                  </a:lnTo>
                  <a:cubicBezTo>
                    <a:pt x="499" y="506603"/>
                    <a:pt x="999" y="825497"/>
                    <a:pt x="1498" y="1144391"/>
                  </a:cubicBezTo>
                  <a:lnTo>
                    <a:pt x="1500" y="1144391"/>
                  </a:lnTo>
                  <a:lnTo>
                    <a:pt x="1500" y="4761442"/>
                  </a:lnTo>
                  <a:lnTo>
                    <a:pt x="742046" y="4765849"/>
                  </a:lnTo>
                  <a:lnTo>
                    <a:pt x="792912" y="4737762"/>
                  </a:lnTo>
                  <a:cubicBezTo>
                    <a:pt x="793162" y="3531101"/>
                    <a:pt x="793413" y="2324441"/>
                    <a:pt x="793663" y="1117780"/>
                  </a:cubicBezTo>
                  <a:lnTo>
                    <a:pt x="793661" y="1117780"/>
                  </a:lnTo>
                  <a:lnTo>
                    <a:pt x="793661" y="135733"/>
                  </a:lnTo>
                  <a:lnTo>
                    <a:pt x="572937" y="135733"/>
                  </a:lnTo>
                  <a:lnTo>
                    <a:pt x="411618" y="0"/>
                  </a:lnTo>
                  <a:lnTo>
                    <a:pt x="262205" y="135733"/>
                  </a:lnTo>
                  <a:lnTo>
                    <a:pt x="41890" y="134656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2" name="等腰三角形 1164"/>
            <p:cNvSpPr/>
            <p:nvPr/>
          </p:nvSpPr>
          <p:spPr>
            <a:xfrm rot="16200000" flipH="1">
              <a:off x="6169073" y="-3175431"/>
              <a:ext cx="792649" cy="4798180"/>
            </a:xfrm>
            <a:custGeom>
              <a:avLst/>
              <a:gdLst/>
              <a:ahLst/>
              <a:cxnLst/>
              <a:rect l="l" t="t" r="r" b="b"/>
              <a:pathLst>
                <a:path w="792165" h="4798886">
                  <a:moveTo>
                    <a:pt x="0" y="135733"/>
                  </a:moveTo>
                  <a:lnTo>
                    <a:pt x="0" y="1144391"/>
                  </a:lnTo>
                  <a:lnTo>
                    <a:pt x="2" y="1144391"/>
                  </a:lnTo>
                  <a:lnTo>
                    <a:pt x="2" y="4798886"/>
                  </a:lnTo>
                  <a:lnTo>
                    <a:pt x="792165" y="4798886"/>
                  </a:lnTo>
                  <a:lnTo>
                    <a:pt x="792165" y="1117780"/>
                  </a:lnTo>
                  <a:lnTo>
                    <a:pt x="792163" y="1117780"/>
                  </a:lnTo>
                  <a:lnTo>
                    <a:pt x="792163" y="135733"/>
                  </a:lnTo>
                  <a:lnTo>
                    <a:pt x="571439" y="135733"/>
                  </a:lnTo>
                  <a:lnTo>
                    <a:pt x="410120" y="0"/>
                  </a:lnTo>
                  <a:lnTo>
                    <a:pt x="260707" y="135733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3" name="等腰三角形 1163"/>
            <p:cNvSpPr/>
            <p:nvPr/>
          </p:nvSpPr>
          <p:spPr>
            <a:xfrm rot="16200000" flipH="1">
              <a:off x="6188839" y="-3113319"/>
              <a:ext cx="729928" cy="4677350"/>
            </a:xfrm>
            <a:custGeom>
              <a:avLst/>
              <a:gdLst/>
              <a:ahLst/>
              <a:cxnLst/>
              <a:rect l="l" t="t" r="r" b="b"/>
              <a:pathLst>
                <a:path w="729928" h="4677350">
                  <a:moveTo>
                    <a:pt x="0" y="126577"/>
                  </a:moveTo>
                  <a:lnTo>
                    <a:pt x="0" y="1006585"/>
                  </a:lnTo>
                  <a:lnTo>
                    <a:pt x="0" y="1045374"/>
                  </a:lnTo>
                  <a:lnTo>
                    <a:pt x="0" y="4677350"/>
                  </a:lnTo>
                  <a:lnTo>
                    <a:pt x="729928" y="4677350"/>
                  </a:lnTo>
                  <a:lnTo>
                    <a:pt x="729928" y="1045374"/>
                  </a:lnTo>
                  <a:lnTo>
                    <a:pt x="729928" y="1006585"/>
                  </a:lnTo>
                  <a:lnTo>
                    <a:pt x="729928" y="126577"/>
                  </a:lnTo>
                  <a:lnTo>
                    <a:pt x="527843" y="126577"/>
                  </a:lnTo>
                  <a:lnTo>
                    <a:pt x="374542" y="0"/>
                  </a:lnTo>
                  <a:lnTo>
                    <a:pt x="234185" y="126577"/>
                  </a:lnTo>
                  <a:close/>
                </a:path>
              </a:pathLst>
            </a:custGeom>
            <a:solidFill>
              <a:srgbClr val="3DA5C1"/>
            </a:solidFill>
            <a:ln w="9525">
              <a:solidFill>
                <a:schemeClr val="bg1"/>
              </a:solidFill>
            </a:ln>
            <a:effectLst>
              <a:innerShdw blurRad="12700">
                <a:prstClr val="black">
                  <a:alpha val="8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4" name="TextBox 3"/>
            <p:cNvSpPr txBox="1">
              <a:spLocks noChangeArrowheads="1"/>
            </p:cNvSpPr>
            <p:nvPr/>
          </p:nvSpPr>
          <p:spPr bwMode="auto">
            <a:xfrm>
              <a:off x="5236097" y="-989991"/>
              <a:ext cx="1677696" cy="338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sp>
          <p:nvSpPr>
            <p:cNvPr id="265" name="矩形 51"/>
            <p:cNvSpPr>
              <a:spLocks noChangeArrowheads="1"/>
            </p:cNvSpPr>
            <p:nvPr/>
          </p:nvSpPr>
          <p:spPr bwMode="auto">
            <a:xfrm>
              <a:off x="5261493" y="-702478"/>
              <a:ext cx="1339618" cy="231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9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6" name="矩形 265"/>
            <p:cNvSpPr/>
            <p:nvPr/>
          </p:nvSpPr>
          <p:spPr>
            <a:xfrm>
              <a:off x="8177224" y="-1139308"/>
              <a:ext cx="715839" cy="312929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8" name="TextBox 267"/>
            <p:cNvSpPr txBox="1"/>
            <p:nvPr/>
          </p:nvSpPr>
          <p:spPr>
            <a:xfrm>
              <a:off x="8186748" y="-1123423"/>
              <a:ext cx="777740" cy="33834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NO.2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grpSp>
          <p:nvGrpSpPr>
            <p:cNvPr id="269" name="组合 268"/>
            <p:cNvGrpSpPr/>
            <p:nvPr/>
          </p:nvGrpSpPr>
          <p:grpSpPr>
            <a:xfrm>
              <a:off x="8177160" y="-755636"/>
              <a:ext cx="574464" cy="36952"/>
              <a:chOff x="4157480" y="1795527"/>
              <a:chExt cx="574464" cy="36952"/>
            </a:xfrm>
            <a:solidFill>
              <a:srgbClr val="266678">
                <a:alpha val="43000"/>
              </a:srgbClr>
            </a:solidFill>
          </p:grpSpPr>
          <p:sp>
            <p:nvSpPr>
              <p:cNvPr id="270" name="椭圆 269"/>
              <p:cNvSpPr/>
              <p:nvPr/>
            </p:nvSpPr>
            <p:spPr>
              <a:xfrm>
                <a:off x="415748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1" name="椭圆 270"/>
              <p:cNvSpPr/>
              <p:nvPr/>
            </p:nvSpPr>
            <p:spPr>
              <a:xfrm>
                <a:off x="425521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2" name="椭圆 271"/>
              <p:cNvSpPr/>
              <p:nvPr/>
            </p:nvSpPr>
            <p:spPr>
              <a:xfrm>
                <a:off x="430407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3" name="椭圆 272"/>
              <p:cNvSpPr/>
              <p:nvPr/>
            </p:nvSpPr>
            <p:spPr>
              <a:xfrm>
                <a:off x="420634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4" name="椭圆 273"/>
              <p:cNvSpPr/>
              <p:nvPr/>
            </p:nvSpPr>
            <p:spPr>
              <a:xfrm>
                <a:off x="440180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5" name="椭圆 274"/>
              <p:cNvSpPr/>
              <p:nvPr/>
            </p:nvSpPr>
            <p:spPr>
              <a:xfrm>
                <a:off x="435294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6" name="椭圆 275"/>
              <p:cNvSpPr/>
              <p:nvPr/>
            </p:nvSpPr>
            <p:spPr>
              <a:xfrm>
                <a:off x="449953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7" name="椭圆 276"/>
              <p:cNvSpPr/>
              <p:nvPr/>
            </p:nvSpPr>
            <p:spPr>
              <a:xfrm>
                <a:off x="445067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8" name="椭圆 277"/>
              <p:cNvSpPr/>
              <p:nvPr/>
            </p:nvSpPr>
            <p:spPr>
              <a:xfrm>
                <a:off x="459726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9" name="椭圆 278"/>
              <p:cNvSpPr/>
              <p:nvPr/>
            </p:nvSpPr>
            <p:spPr>
              <a:xfrm>
                <a:off x="454840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0" name="椭圆 279"/>
              <p:cNvSpPr/>
              <p:nvPr/>
            </p:nvSpPr>
            <p:spPr>
              <a:xfrm>
                <a:off x="4694992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1" name="椭圆 280"/>
              <p:cNvSpPr/>
              <p:nvPr/>
            </p:nvSpPr>
            <p:spPr>
              <a:xfrm>
                <a:off x="464613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424" name="组合 1161"/>
            <p:cNvGrpSpPr/>
            <p:nvPr/>
          </p:nvGrpSpPr>
          <p:grpSpPr bwMode="auto">
            <a:xfrm>
              <a:off x="4764451" y="-934425"/>
              <a:ext cx="391102" cy="391102"/>
              <a:chOff x="4764451" y="-934425"/>
              <a:chExt cx="391102" cy="391102"/>
            </a:xfrm>
          </p:grpSpPr>
          <p:sp>
            <p:nvSpPr>
              <p:cNvPr id="283" name="矩形 282"/>
              <p:cNvSpPr/>
              <p:nvPr/>
            </p:nvSpPr>
            <p:spPr>
              <a:xfrm>
                <a:off x="4764691" y="-934395"/>
                <a:ext cx="390457" cy="390765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32" name="组合 331"/>
              <p:cNvGrpSpPr/>
              <p:nvPr/>
            </p:nvGrpSpPr>
            <p:grpSpPr>
              <a:xfrm>
                <a:off x="4848556" y="-901160"/>
                <a:ext cx="273195" cy="288855"/>
                <a:chOff x="6549514" y="4151755"/>
                <a:chExt cx="439983" cy="422912"/>
              </a:xfrm>
              <a:solidFill>
                <a:schemeClr val="bg1"/>
              </a:solidFill>
            </p:grpSpPr>
            <p:sp>
              <p:nvSpPr>
                <p:cNvPr id="333" name="Freeform 80"/>
                <p:cNvSpPr>
                  <a:spLocks noEditPoints="1"/>
                </p:cNvSpPr>
                <p:nvPr/>
              </p:nvSpPr>
              <p:spPr bwMode="auto">
                <a:xfrm>
                  <a:off x="6549514" y="4266020"/>
                  <a:ext cx="366435" cy="308647"/>
                </a:xfrm>
                <a:custGeom>
                  <a:avLst/>
                  <a:gdLst>
                    <a:gd name="T0" fmla="*/ 59 w 118"/>
                    <a:gd name="T1" fmla="*/ 99 h 99"/>
                    <a:gd name="T2" fmla="*/ 108 w 118"/>
                    <a:gd name="T3" fmla="*/ 49 h 99"/>
                    <a:gd name="T4" fmla="*/ 83 w 118"/>
                    <a:gd name="T5" fmla="*/ 22 h 99"/>
                    <a:gd name="T6" fmla="*/ 61 w 118"/>
                    <a:gd name="T7" fmla="*/ 1 h 99"/>
                    <a:gd name="T8" fmla="*/ 64 w 118"/>
                    <a:gd name="T9" fmla="*/ 2 h 99"/>
                    <a:gd name="T10" fmla="*/ 66 w 118"/>
                    <a:gd name="T11" fmla="*/ 2 h 99"/>
                    <a:gd name="T12" fmla="*/ 69 w 118"/>
                    <a:gd name="T13" fmla="*/ 2 h 99"/>
                    <a:gd name="T14" fmla="*/ 75 w 118"/>
                    <a:gd name="T15" fmla="*/ 15 h 99"/>
                    <a:gd name="T16" fmla="*/ 61 w 118"/>
                    <a:gd name="T17" fmla="*/ 2 h 99"/>
                    <a:gd name="T18" fmla="*/ 77 w 118"/>
                    <a:gd name="T19" fmla="*/ 81 h 99"/>
                    <a:gd name="T20" fmla="*/ 61 w 118"/>
                    <a:gd name="T21" fmla="*/ 78 h 99"/>
                    <a:gd name="T22" fmla="*/ 69 w 118"/>
                    <a:gd name="T23" fmla="*/ 96 h 99"/>
                    <a:gd name="T24" fmla="*/ 67 w 118"/>
                    <a:gd name="T25" fmla="*/ 96 h 99"/>
                    <a:gd name="T26" fmla="*/ 64 w 118"/>
                    <a:gd name="T27" fmla="*/ 97 h 99"/>
                    <a:gd name="T28" fmla="*/ 62 w 118"/>
                    <a:gd name="T29" fmla="*/ 97 h 99"/>
                    <a:gd name="T30" fmla="*/ 89 w 118"/>
                    <a:gd name="T31" fmla="*/ 87 h 99"/>
                    <a:gd name="T32" fmla="*/ 72 w 118"/>
                    <a:gd name="T33" fmla="*/ 95 h 99"/>
                    <a:gd name="T34" fmla="*/ 78 w 118"/>
                    <a:gd name="T35" fmla="*/ 77 h 99"/>
                    <a:gd name="T36" fmla="*/ 83 w 118"/>
                    <a:gd name="T37" fmla="*/ 52 h 99"/>
                    <a:gd name="T38" fmla="*/ 61 w 118"/>
                    <a:gd name="T39" fmla="*/ 26 h 99"/>
                    <a:gd name="T40" fmla="*/ 61 w 118"/>
                    <a:gd name="T41" fmla="*/ 46 h 99"/>
                    <a:gd name="T42" fmla="*/ 72 w 118"/>
                    <a:gd name="T43" fmla="*/ 3 h 99"/>
                    <a:gd name="T44" fmla="*/ 71 w 118"/>
                    <a:gd name="T45" fmla="*/ 3 h 99"/>
                    <a:gd name="T46" fmla="*/ 95 w 118"/>
                    <a:gd name="T47" fmla="*/ 17 h 99"/>
                    <a:gd name="T48" fmla="*/ 92 w 118"/>
                    <a:gd name="T49" fmla="*/ 14 h 99"/>
                    <a:gd name="T50" fmla="*/ 39 w 118"/>
                    <a:gd name="T51" fmla="*/ 23 h 99"/>
                    <a:gd name="T52" fmla="*/ 35 w 118"/>
                    <a:gd name="T53" fmla="*/ 47 h 99"/>
                    <a:gd name="T54" fmla="*/ 46 w 118"/>
                    <a:gd name="T55" fmla="*/ 3 h 99"/>
                    <a:gd name="T56" fmla="*/ 26 w 118"/>
                    <a:gd name="T57" fmla="*/ 14 h 99"/>
                    <a:gd name="T58" fmla="*/ 40 w 118"/>
                    <a:gd name="T59" fmla="*/ 77 h 99"/>
                    <a:gd name="T60" fmla="*/ 57 w 118"/>
                    <a:gd name="T61" fmla="*/ 78 h 99"/>
                    <a:gd name="T62" fmla="*/ 41 w 118"/>
                    <a:gd name="T63" fmla="*/ 81 h 99"/>
                    <a:gd name="T64" fmla="*/ 46 w 118"/>
                    <a:gd name="T65" fmla="*/ 95 h 99"/>
                    <a:gd name="T66" fmla="*/ 38 w 118"/>
                    <a:gd name="T67" fmla="*/ 85 h 99"/>
                    <a:gd name="T68" fmla="*/ 47 w 118"/>
                    <a:gd name="T69" fmla="*/ 95 h 99"/>
                    <a:gd name="T70" fmla="*/ 57 w 118"/>
                    <a:gd name="T71" fmla="*/ 97 h 99"/>
                    <a:gd name="T72" fmla="*/ 54 w 118"/>
                    <a:gd name="T73" fmla="*/ 97 h 99"/>
                    <a:gd name="T74" fmla="*/ 52 w 118"/>
                    <a:gd name="T75" fmla="*/ 96 h 99"/>
                    <a:gd name="T76" fmla="*/ 49 w 118"/>
                    <a:gd name="T77" fmla="*/ 96 h 99"/>
                    <a:gd name="T78" fmla="*/ 42 w 118"/>
                    <a:gd name="T79" fmla="*/ 15 h 99"/>
                    <a:gd name="T80" fmla="*/ 46 w 118"/>
                    <a:gd name="T81" fmla="*/ 3 h 99"/>
                    <a:gd name="T82" fmla="*/ 56 w 118"/>
                    <a:gd name="T83" fmla="*/ 1 h 99"/>
                    <a:gd name="T84" fmla="*/ 49 w 118"/>
                    <a:gd name="T85" fmla="*/ 2 h 99"/>
                    <a:gd name="T86" fmla="*/ 51 w 118"/>
                    <a:gd name="T87" fmla="*/ 2 h 99"/>
                    <a:gd name="T88" fmla="*/ 54 w 118"/>
                    <a:gd name="T89" fmla="*/ 2 h 99"/>
                    <a:gd name="T90" fmla="*/ 26 w 118"/>
                    <a:gd name="T91" fmla="*/ 14 h 99"/>
                    <a:gd name="T92" fmla="*/ 24 w 118"/>
                    <a:gd name="T93" fmla="*/ 15 h 99"/>
                    <a:gd name="T94" fmla="*/ 22 w 118"/>
                    <a:gd name="T95" fmla="*/ 17 h 99"/>
                    <a:gd name="T96" fmla="*/ 9 w 118"/>
                    <a:gd name="T97" fmla="*/ 50 h 99"/>
                    <a:gd name="T98" fmla="*/ 9 w 118"/>
                    <a:gd name="T99" fmla="*/ 51 h 99"/>
                    <a:gd name="T100" fmla="*/ 10 w 118"/>
                    <a:gd name="T101" fmla="*/ 53 h 99"/>
                    <a:gd name="T102" fmla="*/ 10 w 118"/>
                    <a:gd name="T103" fmla="*/ 55 h 99"/>
                    <a:gd name="T104" fmla="*/ 25 w 118"/>
                    <a:gd name="T105" fmla="*/ 84 h 99"/>
                    <a:gd name="T106" fmla="*/ 27 w 118"/>
                    <a:gd name="T107" fmla="*/ 86 h 99"/>
                    <a:gd name="T108" fmla="*/ 26 w 118"/>
                    <a:gd name="T109" fmla="*/ 84 h 99"/>
                    <a:gd name="T110" fmla="*/ 91 w 118"/>
                    <a:gd name="T111" fmla="*/ 86 h 99"/>
                    <a:gd name="T112" fmla="*/ 92 w 118"/>
                    <a:gd name="T113" fmla="*/ 84 h 99"/>
                    <a:gd name="T114" fmla="*/ 83 w 118"/>
                    <a:gd name="T115" fmla="*/ 78 h 99"/>
                    <a:gd name="T116" fmla="*/ 92 w 118"/>
                    <a:gd name="T117" fmla="*/ 84 h 99"/>
                    <a:gd name="T118" fmla="*/ 108 w 118"/>
                    <a:gd name="T119" fmla="*/ 51 h 99"/>
                    <a:gd name="T120" fmla="*/ 108 w 118"/>
                    <a:gd name="T121" fmla="*/ 53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18" h="99">
                      <a:moveTo>
                        <a:pt x="59" y="0"/>
                      </a:moveTo>
                      <a:cubicBezTo>
                        <a:pt x="26" y="0"/>
                        <a:pt x="0" y="22"/>
                        <a:pt x="0" y="50"/>
                      </a:cubicBezTo>
                      <a:cubicBezTo>
                        <a:pt x="0" y="77"/>
                        <a:pt x="26" y="99"/>
                        <a:pt x="59" y="99"/>
                      </a:cubicBezTo>
                      <a:cubicBezTo>
                        <a:pt x="92" y="99"/>
                        <a:pt x="118" y="77"/>
                        <a:pt x="118" y="50"/>
                      </a:cubicBezTo>
                      <a:cubicBezTo>
                        <a:pt x="118" y="22"/>
                        <a:pt x="92" y="0"/>
                        <a:pt x="59" y="0"/>
                      </a:cubicBezTo>
                      <a:close/>
                      <a:moveTo>
                        <a:pt x="108" y="49"/>
                      </a:moveTo>
                      <a:cubicBezTo>
                        <a:pt x="108" y="50"/>
                        <a:pt x="108" y="50"/>
                        <a:pt x="108" y="50"/>
                      </a:cubicBezTo>
                      <a:cubicBezTo>
                        <a:pt x="102" y="49"/>
                        <a:pt x="95" y="48"/>
                        <a:pt x="87" y="47"/>
                      </a:cubicBezTo>
                      <a:cubicBezTo>
                        <a:pt x="87" y="38"/>
                        <a:pt x="86" y="30"/>
                        <a:pt x="83" y="22"/>
                      </a:cubicBezTo>
                      <a:cubicBezTo>
                        <a:pt x="88" y="21"/>
                        <a:pt x="92" y="19"/>
                        <a:pt x="96" y="17"/>
                      </a:cubicBezTo>
                      <a:cubicBezTo>
                        <a:pt x="104" y="25"/>
                        <a:pt x="108" y="37"/>
                        <a:pt x="108" y="49"/>
                      </a:cubicBezTo>
                      <a:close/>
                      <a:moveTo>
                        <a:pt x="61" y="1"/>
                      </a:moveTo>
                      <a:cubicBezTo>
                        <a:pt x="61" y="1"/>
                        <a:pt x="62" y="1"/>
                        <a:pt x="62" y="1"/>
                      </a:cubicBezTo>
                      <a:cubicBezTo>
                        <a:pt x="62" y="1"/>
                        <a:pt x="61" y="1"/>
                        <a:pt x="61" y="1"/>
                      </a:cubicBezTo>
                      <a:close/>
                      <a:moveTo>
                        <a:pt x="64" y="2"/>
                      </a:moveTo>
                      <a:cubicBezTo>
                        <a:pt x="64" y="2"/>
                        <a:pt x="64" y="2"/>
                        <a:pt x="64" y="2"/>
                      </a:cubicBezTo>
                      <a:cubicBezTo>
                        <a:pt x="64" y="2"/>
                        <a:pt x="64" y="2"/>
                        <a:pt x="64" y="2"/>
                      </a:cubicBezTo>
                      <a:close/>
                      <a:moveTo>
                        <a:pt x="66" y="2"/>
                      </a:moveTo>
                      <a:cubicBezTo>
                        <a:pt x="66" y="2"/>
                        <a:pt x="67" y="2"/>
                        <a:pt x="67" y="2"/>
                      </a:cubicBezTo>
                      <a:cubicBezTo>
                        <a:pt x="67" y="2"/>
                        <a:pt x="66" y="2"/>
                        <a:pt x="66" y="2"/>
                      </a:cubicBezTo>
                      <a:close/>
                      <a:moveTo>
                        <a:pt x="69" y="2"/>
                      </a:moveTo>
                      <a:cubicBezTo>
                        <a:pt x="69" y="2"/>
                        <a:pt x="69" y="2"/>
                        <a:pt x="69" y="2"/>
                      </a:cubicBezTo>
                      <a:cubicBezTo>
                        <a:pt x="69" y="2"/>
                        <a:pt x="69" y="2"/>
                        <a:pt x="69" y="2"/>
                      </a:cubicBezTo>
                      <a:close/>
                      <a:moveTo>
                        <a:pt x="75" y="15"/>
                      </a:moveTo>
                      <a:cubicBezTo>
                        <a:pt x="76" y="16"/>
                        <a:pt x="77" y="18"/>
                        <a:pt x="77" y="19"/>
                      </a:cubicBezTo>
                      <a:cubicBezTo>
                        <a:pt x="72" y="20"/>
                        <a:pt x="67" y="21"/>
                        <a:pt x="61" y="21"/>
                      </a:cubicBezTo>
                      <a:cubicBezTo>
                        <a:pt x="61" y="2"/>
                        <a:pt x="61" y="2"/>
                        <a:pt x="61" y="2"/>
                      </a:cubicBezTo>
                      <a:cubicBezTo>
                        <a:pt x="67" y="3"/>
                        <a:pt x="71" y="8"/>
                        <a:pt x="75" y="15"/>
                      </a:cubicBezTo>
                      <a:close/>
                      <a:moveTo>
                        <a:pt x="61" y="78"/>
                      </a:moveTo>
                      <a:cubicBezTo>
                        <a:pt x="67" y="78"/>
                        <a:pt x="72" y="79"/>
                        <a:pt x="77" y="81"/>
                      </a:cubicBezTo>
                      <a:cubicBezTo>
                        <a:pt x="76" y="82"/>
                        <a:pt x="76" y="82"/>
                        <a:pt x="75" y="83"/>
                      </a:cubicBezTo>
                      <a:cubicBezTo>
                        <a:pt x="71" y="91"/>
                        <a:pt x="67" y="95"/>
                        <a:pt x="61" y="96"/>
                      </a:cubicBezTo>
                      <a:lnTo>
                        <a:pt x="61" y="78"/>
                      </a:lnTo>
                      <a:close/>
                      <a:moveTo>
                        <a:pt x="69" y="96"/>
                      </a:moveTo>
                      <a:cubicBezTo>
                        <a:pt x="69" y="96"/>
                        <a:pt x="69" y="96"/>
                        <a:pt x="69" y="96"/>
                      </a:cubicBezTo>
                      <a:cubicBezTo>
                        <a:pt x="69" y="96"/>
                        <a:pt x="69" y="96"/>
                        <a:pt x="69" y="96"/>
                      </a:cubicBezTo>
                      <a:close/>
                      <a:moveTo>
                        <a:pt x="67" y="96"/>
                      </a:moveTo>
                      <a:cubicBezTo>
                        <a:pt x="67" y="96"/>
                        <a:pt x="66" y="96"/>
                        <a:pt x="66" y="96"/>
                      </a:cubicBezTo>
                      <a:cubicBezTo>
                        <a:pt x="66" y="96"/>
                        <a:pt x="67" y="96"/>
                        <a:pt x="67" y="96"/>
                      </a:cubicBezTo>
                      <a:close/>
                      <a:moveTo>
                        <a:pt x="64" y="97"/>
                      </a:moveTo>
                      <a:cubicBezTo>
                        <a:pt x="64" y="97"/>
                        <a:pt x="64" y="97"/>
                        <a:pt x="64" y="97"/>
                      </a:cubicBezTo>
                      <a:cubicBezTo>
                        <a:pt x="64" y="97"/>
                        <a:pt x="64" y="97"/>
                        <a:pt x="64" y="97"/>
                      </a:cubicBezTo>
                      <a:close/>
                      <a:moveTo>
                        <a:pt x="62" y="97"/>
                      </a:moveTo>
                      <a:cubicBezTo>
                        <a:pt x="62" y="97"/>
                        <a:pt x="61" y="97"/>
                        <a:pt x="61" y="97"/>
                      </a:cubicBezTo>
                      <a:cubicBezTo>
                        <a:pt x="61" y="97"/>
                        <a:pt x="62" y="97"/>
                        <a:pt x="62" y="97"/>
                      </a:cubicBezTo>
                      <a:close/>
                      <a:moveTo>
                        <a:pt x="80" y="85"/>
                      </a:moveTo>
                      <a:cubicBezTo>
                        <a:pt x="80" y="84"/>
                        <a:pt x="80" y="84"/>
                        <a:pt x="81" y="83"/>
                      </a:cubicBezTo>
                      <a:cubicBezTo>
                        <a:pt x="84" y="84"/>
                        <a:pt x="86" y="86"/>
                        <a:pt x="89" y="87"/>
                      </a:cubicBezTo>
                      <a:cubicBezTo>
                        <a:pt x="84" y="91"/>
                        <a:pt x="78" y="93"/>
                        <a:pt x="72" y="95"/>
                      </a:cubicBezTo>
                      <a:cubicBezTo>
                        <a:pt x="75" y="93"/>
                        <a:pt x="77" y="89"/>
                        <a:pt x="80" y="85"/>
                      </a:cubicBezTo>
                      <a:close/>
                      <a:moveTo>
                        <a:pt x="72" y="95"/>
                      </a:moveTo>
                      <a:cubicBezTo>
                        <a:pt x="71" y="95"/>
                        <a:pt x="71" y="95"/>
                        <a:pt x="71" y="95"/>
                      </a:cubicBezTo>
                      <a:cubicBezTo>
                        <a:pt x="71" y="95"/>
                        <a:pt x="71" y="95"/>
                        <a:pt x="72" y="95"/>
                      </a:cubicBezTo>
                      <a:close/>
                      <a:moveTo>
                        <a:pt x="78" y="77"/>
                      </a:moveTo>
                      <a:cubicBezTo>
                        <a:pt x="73" y="75"/>
                        <a:pt x="67" y="73"/>
                        <a:pt x="61" y="73"/>
                      </a:cubicBezTo>
                      <a:cubicBezTo>
                        <a:pt x="61" y="51"/>
                        <a:pt x="61" y="51"/>
                        <a:pt x="61" y="51"/>
                      </a:cubicBezTo>
                      <a:cubicBezTo>
                        <a:pt x="69" y="51"/>
                        <a:pt x="76" y="51"/>
                        <a:pt x="83" y="52"/>
                      </a:cubicBezTo>
                      <a:cubicBezTo>
                        <a:pt x="83" y="61"/>
                        <a:pt x="81" y="69"/>
                        <a:pt x="78" y="77"/>
                      </a:cubicBezTo>
                      <a:close/>
                      <a:moveTo>
                        <a:pt x="61" y="46"/>
                      </a:moveTo>
                      <a:cubicBezTo>
                        <a:pt x="61" y="26"/>
                        <a:pt x="61" y="26"/>
                        <a:pt x="61" y="26"/>
                      </a:cubicBezTo>
                      <a:cubicBezTo>
                        <a:pt x="67" y="25"/>
                        <a:pt x="73" y="25"/>
                        <a:pt x="79" y="23"/>
                      </a:cubicBezTo>
                      <a:cubicBezTo>
                        <a:pt x="81" y="30"/>
                        <a:pt x="83" y="38"/>
                        <a:pt x="83" y="47"/>
                      </a:cubicBezTo>
                      <a:cubicBezTo>
                        <a:pt x="76" y="46"/>
                        <a:pt x="69" y="46"/>
                        <a:pt x="61" y="46"/>
                      </a:cubicBezTo>
                      <a:close/>
                      <a:moveTo>
                        <a:pt x="82" y="18"/>
                      </a:moveTo>
                      <a:cubicBezTo>
                        <a:pt x="81" y="16"/>
                        <a:pt x="80" y="14"/>
                        <a:pt x="80" y="13"/>
                      </a:cubicBezTo>
                      <a:cubicBezTo>
                        <a:pt x="77" y="9"/>
                        <a:pt x="75" y="6"/>
                        <a:pt x="72" y="3"/>
                      </a:cubicBezTo>
                      <a:cubicBezTo>
                        <a:pt x="80" y="5"/>
                        <a:pt x="86" y="9"/>
                        <a:pt x="92" y="14"/>
                      </a:cubicBezTo>
                      <a:cubicBezTo>
                        <a:pt x="89" y="15"/>
                        <a:pt x="85" y="17"/>
                        <a:pt x="82" y="18"/>
                      </a:cubicBezTo>
                      <a:close/>
                      <a:moveTo>
                        <a:pt x="71" y="3"/>
                      </a:moveTo>
                      <a:cubicBezTo>
                        <a:pt x="71" y="3"/>
                        <a:pt x="71" y="3"/>
                        <a:pt x="72" y="3"/>
                      </a:cubicBezTo>
                      <a:cubicBezTo>
                        <a:pt x="71" y="3"/>
                        <a:pt x="71" y="3"/>
                        <a:pt x="71" y="3"/>
                      </a:cubicBezTo>
                      <a:close/>
                      <a:moveTo>
                        <a:pt x="95" y="17"/>
                      </a:moveTo>
                      <a:cubicBezTo>
                        <a:pt x="95" y="16"/>
                        <a:pt x="94" y="16"/>
                        <a:pt x="94" y="15"/>
                      </a:cubicBezTo>
                      <a:cubicBezTo>
                        <a:pt x="94" y="16"/>
                        <a:pt x="95" y="16"/>
                        <a:pt x="95" y="17"/>
                      </a:cubicBezTo>
                      <a:close/>
                      <a:moveTo>
                        <a:pt x="92" y="14"/>
                      </a:moveTo>
                      <a:cubicBezTo>
                        <a:pt x="93" y="14"/>
                        <a:pt x="93" y="14"/>
                        <a:pt x="93" y="15"/>
                      </a:cubicBezTo>
                      <a:cubicBezTo>
                        <a:pt x="93" y="14"/>
                        <a:pt x="93" y="14"/>
                        <a:pt x="92" y="14"/>
                      </a:cubicBezTo>
                      <a:close/>
                      <a:moveTo>
                        <a:pt x="39" y="23"/>
                      </a:moveTo>
                      <a:cubicBezTo>
                        <a:pt x="45" y="25"/>
                        <a:pt x="50" y="25"/>
                        <a:pt x="57" y="26"/>
                      </a:cubicBezTo>
                      <a:cubicBezTo>
                        <a:pt x="57" y="46"/>
                        <a:pt x="57" y="46"/>
                        <a:pt x="57" y="46"/>
                      </a:cubicBezTo>
                      <a:cubicBezTo>
                        <a:pt x="49" y="46"/>
                        <a:pt x="42" y="46"/>
                        <a:pt x="35" y="47"/>
                      </a:cubicBezTo>
                      <a:cubicBezTo>
                        <a:pt x="35" y="38"/>
                        <a:pt x="37" y="30"/>
                        <a:pt x="39" y="23"/>
                      </a:cubicBezTo>
                      <a:close/>
                      <a:moveTo>
                        <a:pt x="26" y="14"/>
                      </a:moveTo>
                      <a:cubicBezTo>
                        <a:pt x="31" y="9"/>
                        <a:pt x="38" y="5"/>
                        <a:pt x="46" y="3"/>
                      </a:cubicBezTo>
                      <a:cubicBezTo>
                        <a:pt x="43" y="6"/>
                        <a:pt x="40" y="9"/>
                        <a:pt x="38" y="13"/>
                      </a:cubicBezTo>
                      <a:cubicBezTo>
                        <a:pt x="38" y="14"/>
                        <a:pt x="37" y="16"/>
                        <a:pt x="36" y="18"/>
                      </a:cubicBezTo>
                      <a:cubicBezTo>
                        <a:pt x="32" y="17"/>
                        <a:pt x="29" y="15"/>
                        <a:pt x="26" y="14"/>
                      </a:cubicBezTo>
                      <a:close/>
                      <a:moveTo>
                        <a:pt x="57" y="51"/>
                      </a:moveTo>
                      <a:cubicBezTo>
                        <a:pt x="57" y="73"/>
                        <a:pt x="57" y="73"/>
                        <a:pt x="57" y="73"/>
                      </a:cubicBezTo>
                      <a:cubicBezTo>
                        <a:pt x="51" y="73"/>
                        <a:pt x="45" y="75"/>
                        <a:pt x="40" y="77"/>
                      </a:cubicBezTo>
                      <a:cubicBezTo>
                        <a:pt x="37" y="69"/>
                        <a:pt x="35" y="61"/>
                        <a:pt x="35" y="52"/>
                      </a:cubicBezTo>
                      <a:cubicBezTo>
                        <a:pt x="42" y="51"/>
                        <a:pt x="49" y="51"/>
                        <a:pt x="57" y="51"/>
                      </a:cubicBezTo>
                      <a:close/>
                      <a:moveTo>
                        <a:pt x="57" y="78"/>
                      </a:moveTo>
                      <a:cubicBezTo>
                        <a:pt x="57" y="96"/>
                        <a:pt x="57" y="96"/>
                        <a:pt x="57" y="96"/>
                      </a:cubicBezTo>
                      <a:cubicBezTo>
                        <a:pt x="51" y="95"/>
                        <a:pt x="46" y="91"/>
                        <a:pt x="42" y="83"/>
                      </a:cubicBezTo>
                      <a:cubicBezTo>
                        <a:pt x="42" y="82"/>
                        <a:pt x="42" y="82"/>
                        <a:pt x="41" y="81"/>
                      </a:cubicBezTo>
                      <a:cubicBezTo>
                        <a:pt x="46" y="79"/>
                        <a:pt x="51" y="78"/>
                        <a:pt x="57" y="78"/>
                      </a:cubicBezTo>
                      <a:close/>
                      <a:moveTo>
                        <a:pt x="38" y="85"/>
                      </a:moveTo>
                      <a:cubicBezTo>
                        <a:pt x="40" y="89"/>
                        <a:pt x="43" y="93"/>
                        <a:pt x="46" y="95"/>
                      </a:cubicBezTo>
                      <a:cubicBezTo>
                        <a:pt x="40" y="93"/>
                        <a:pt x="34" y="91"/>
                        <a:pt x="29" y="87"/>
                      </a:cubicBezTo>
                      <a:cubicBezTo>
                        <a:pt x="32" y="86"/>
                        <a:pt x="34" y="84"/>
                        <a:pt x="37" y="83"/>
                      </a:cubicBezTo>
                      <a:cubicBezTo>
                        <a:pt x="37" y="84"/>
                        <a:pt x="38" y="84"/>
                        <a:pt x="38" y="85"/>
                      </a:cubicBezTo>
                      <a:close/>
                      <a:moveTo>
                        <a:pt x="47" y="95"/>
                      </a:moveTo>
                      <a:cubicBezTo>
                        <a:pt x="47" y="95"/>
                        <a:pt x="46" y="95"/>
                        <a:pt x="46" y="95"/>
                      </a:cubicBezTo>
                      <a:cubicBezTo>
                        <a:pt x="46" y="95"/>
                        <a:pt x="47" y="95"/>
                        <a:pt x="47" y="95"/>
                      </a:cubicBezTo>
                      <a:close/>
                      <a:moveTo>
                        <a:pt x="57" y="97"/>
                      </a:moveTo>
                      <a:cubicBezTo>
                        <a:pt x="56" y="97"/>
                        <a:pt x="56" y="97"/>
                        <a:pt x="56" y="97"/>
                      </a:cubicBezTo>
                      <a:cubicBezTo>
                        <a:pt x="56" y="97"/>
                        <a:pt x="56" y="97"/>
                        <a:pt x="57" y="97"/>
                      </a:cubicBezTo>
                      <a:close/>
                      <a:moveTo>
                        <a:pt x="54" y="97"/>
                      </a:moveTo>
                      <a:cubicBezTo>
                        <a:pt x="54" y="97"/>
                        <a:pt x="54" y="97"/>
                        <a:pt x="54" y="97"/>
                      </a:cubicBezTo>
                      <a:cubicBezTo>
                        <a:pt x="54" y="97"/>
                        <a:pt x="54" y="97"/>
                        <a:pt x="54" y="97"/>
                      </a:cubicBezTo>
                      <a:close/>
                      <a:moveTo>
                        <a:pt x="52" y="96"/>
                      </a:moveTo>
                      <a:cubicBezTo>
                        <a:pt x="51" y="96"/>
                        <a:pt x="51" y="96"/>
                        <a:pt x="51" y="96"/>
                      </a:cubicBezTo>
                      <a:cubicBezTo>
                        <a:pt x="51" y="96"/>
                        <a:pt x="51" y="96"/>
                        <a:pt x="52" y="96"/>
                      </a:cubicBezTo>
                      <a:close/>
                      <a:moveTo>
                        <a:pt x="49" y="96"/>
                      </a:moveTo>
                      <a:cubicBezTo>
                        <a:pt x="49" y="96"/>
                        <a:pt x="49" y="96"/>
                        <a:pt x="49" y="96"/>
                      </a:cubicBezTo>
                      <a:cubicBezTo>
                        <a:pt x="49" y="96"/>
                        <a:pt x="49" y="96"/>
                        <a:pt x="49" y="96"/>
                      </a:cubicBezTo>
                      <a:close/>
                      <a:moveTo>
                        <a:pt x="57" y="21"/>
                      </a:moveTo>
                      <a:cubicBezTo>
                        <a:pt x="51" y="21"/>
                        <a:pt x="46" y="20"/>
                        <a:pt x="41" y="19"/>
                      </a:cubicBezTo>
                      <a:cubicBezTo>
                        <a:pt x="41" y="18"/>
                        <a:pt x="42" y="16"/>
                        <a:pt x="42" y="15"/>
                      </a:cubicBezTo>
                      <a:cubicBezTo>
                        <a:pt x="46" y="8"/>
                        <a:pt x="51" y="3"/>
                        <a:pt x="57" y="2"/>
                      </a:cubicBezTo>
                      <a:lnTo>
                        <a:pt x="57" y="21"/>
                      </a:lnTo>
                      <a:close/>
                      <a:moveTo>
                        <a:pt x="46" y="3"/>
                      </a:moveTo>
                      <a:cubicBezTo>
                        <a:pt x="46" y="3"/>
                        <a:pt x="47" y="3"/>
                        <a:pt x="47" y="3"/>
                      </a:cubicBezTo>
                      <a:cubicBezTo>
                        <a:pt x="47" y="3"/>
                        <a:pt x="46" y="3"/>
                        <a:pt x="46" y="3"/>
                      </a:cubicBezTo>
                      <a:close/>
                      <a:moveTo>
                        <a:pt x="56" y="1"/>
                      </a:moveTo>
                      <a:cubicBezTo>
                        <a:pt x="56" y="1"/>
                        <a:pt x="56" y="1"/>
                        <a:pt x="57" y="1"/>
                      </a:cubicBezTo>
                      <a:cubicBezTo>
                        <a:pt x="56" y="1"/>
                        <a:pt x="56" y="1"/>
                        <a:pt x="56" y="1"/>
                      </a:cubicBezTo>
                      <a:close/>
                      <a:moveTo>
                        <a:pt x="49" y="2"/>
                      </a:moveTo>
                      <a:cubicBezTo>
                        <a:pt x="49" y="2"/>
                        <a:pt x="49" y="2"/>
                        <a:pt x="49" y="2"/>
                      </a:cubicBezTo>
                      <a:cubicBezTo>
                        <a:pt x="49" y="2"/>
                        <a:pt x="49" y="2"/>
                        <a:pt x="49" y="2"/>
                      </a:cubicBezTo>
                      <a:close/>
                      <a:moveTo>
                        <a:pt x="51" y="2"/>
                      </a:moveTo>
                      <a:cubicBezTo>
                        <a:pt x="51" y="2"/>
                        <a:pt x="51" y="2"/>
                        <a:pt x="52" y="2"/>
                      </a:cubicBezTo>
                      <a:cubicBezTo>
                        <a:pt x="51" y="2"/>
                        <a:pt x="51" y="2"/>
                        <a:pt x="51" y="2"/>
                      </a:cubicBezTo>
                      <a:close/>
                      <a:moveTo>
                        <a:pt x="54" y="2"/>
                      </a:moveTo>
                      <a:cubicBezTo>
                        <a:pt x="54" y="2"/>
                        <a:pt x="54" y="2"/>
                        <a:pt x="54" y="2"/>
                      </a:cubicBezTo>
                      <a:cubicBezTo>
                        <a:pt x="54" y="2"/>
                        <a:pt x="54" y="2"/>
                        <a:pt x="54" y="2"/>
                      </a:cubicBezTo>
                      <a:close/>
                      <a:moveTo>
                        <a:pt x="26" y="14"/>
                      </a:moveTo>
                      <a:cubicBezTo>
                        <a:pt x="25" y="14"/>
                        <a:pt x="25" y="14"/>
                        <a:pt x="24" y="15"/>
                      </a:cubicBezTo>
                      <a:cubicBezTo>
                        <a:pt x="25" y="14"/>
                        <a:pt x="25" y="14"/>
                        <a:pt x="26" y="14"/>
                      </a:cubicBezTo>
                      <a:close/>
                      <a:moveTo>
                        <a:pt x="24" y="15"/>
                      </a:moveTo>
                      <a:cubicBezTo>
                        <a:pt x="23" y="16"/>
                        <a:pt x="23" y="16"/>
                        <a:pt x="22" y="17"/>
                      </a:cubicBezTo>
                      <a:cubicBezTo>
                        <a:pt x="23" y="16"/>
                        <a:pt x="23" y="16"/>
                        <a:pt x="24" y="15"/>
                      </a:cubicBezTo>
                      <a:close/>
                      <a:moveTo>
                        <a:pt x="22" y="17"/>
                      </a:moveTo>
                      <a:cubicBezTo>
                        <a:pt x="26" y="19"/>
                        <a:pt x="30" y="21"/>
                        <a:pt x="34" y="22"/>
                      </a:cubicBezTo>
                      <a:cubicBezTo>
                        <a:pt x="32" y="30"/>
                        <a:pt x="31" y="38"/>
                        <a:pt x="30" y="47"/>
                      </a:cubicBezTo>
                      <a:cubicBezTo>
                        <a:pt x="23" y="48"/>
                        <a:pt x="16" y="49"/>
                        <a:pt x="9" y="50"/>
                      </a:cubicBezTo>
                      <a:cubicBezTo>
                        <a:pt x="9" y="50"/>
                        <a:pt x="9" y="50"/>
                        <a:pt x="9" y="49"/>
                      </a:cubicBezTo>
                      <a:cubicBezTo>
                        <a:pt x="9" y="37"/>
                        <a:pt x="14" y="25"/>
                        <a:pt x="22" y="17"/>
                      </a:cubicBezTo>
                      <a:close/>
                      <a:moveTo>
                        <a:pt x="9" y="51"/>
                      </a:moveTo>
                      <a:cubicBezTo>
                        <a:pt x="9" y="51"/>
                        <a:pt x="9" y="52"/>
                        <a:pt x="9" y="52"/>
                      </a:cubicBezTo>
                      <a:cubicBezTo>
                        <a:pt x="9" y="52"/>
                        <a:pt x="9" y="51"/>
                        <a:pt x="9" y="51"/>
                      </a:cubicBezTo>
                      <a:close/>
                      <a:moveTo>
                        <a:pt x="10" y="53"/>
                      </a:moveTo>
                      <a:cubicBezTo>
                        <a:pt x="10" y="54"/>
                        <a:pt x="10" y="54"/>
                        <a:pt x="10" y="55"/>
                      </a:cubicBezTo>
                      <a:cubicBezTo>
                        <a:pt x="10" y="54"/>
                        <a:pt x="10" y="54"/>
                        <a:pt x="10" y="53"/>
                      </a:cubicBezTo>
                      <a:close/>
                      <a:moveTo>
                        <a:pt x="10" y="55"/>
                      </a:moveTo>
                      <a:cubicBezTo>
                        <a:pt x="16" y="54"/>
                        <a:pt x="23" y="53"/>
                        <a:pt x="30" y="52"/>
                      </a:cubicBezTo>
                      <a:cubicBezTo>
                        <a:pt x="31" y="62"/>
                        <a:pt x="32" y="71"/>
                        <a:pt x="35" y="78"/>
                      </a:cubicBezTo>
                      <a:cubicBezTo>
                        <a:pt x="32" y="80"/>
                        <a:pt x="29" y="82"/>
                        <a:pt x="25" y="84"/>
                      </a:cubicBezTo>
                      <a:cubicBezTo>
                        <a:pt x="17" y="77"/>
                        <a:pt x="11" y="67"/>
                        <a:pt x="10" y="55"/>
                      </a:cubicBezTo>
                      <a:close/>
                      <a:moveTo>
                        <a:pt x="29" y="87"/>
                      </a:moveTo>
                      <a:cubicBezTo>
                        <a:pt x="28" y="87"/>
                        <a:pt x="28" y="86"/>
                        <a:pt x="27" y="86"/>
                      </a:cubicBezTo>
                      <a:cubicBezTo>
                        <a:pt x="28" y="86"/>
                        <a:pt x="28" y="87"/>
                        <a:pt x="29" y="87"/>
                      </a:cubicBezTo>
                      <a:close/>
                      <a:moveTo>
                        <a:pt x="27" y="86"/>
                      </a:moveTo>
                      <a:cubicBezTo>
                        <a:pt x="26" y="85"/>
                        <a:pt x="26" y="85"/>
                        <a:pt x="26" y="84"/>
                      </a:cubicBezTo>
                      <a:cubicBezTo>
                        <a:pt x="26" y="85"/>
                        <a:pt x="26" y="85"/>
                        <a:pt x="27" y="86"/>
                      </a:cubicBezTo>
                      <a:close/>
                      <a:moveTo>
                        <a:pt x="89" y="87"/>
                      </a:moveTo>
                      <a:cubicBezTo>
                        <a:pt x="90" y="87"/>
                        <a:pt x="90" y="86"/>
                        <a:pt x="91" y="86"/>
                      </a:cubicBezTo>
                      <a:cubicBezTo>
                        <a:pt x="90" y="86"/>
                        <a:pt x="90" y="87"/>
                        <a:pt x="89" y="87"/>
                      </a:cubicBezTo>
                      <a:close/>
                      <a:moveTo>
                        <a:pt x="91" y="85"/>
                      </a:moveTo>
                      <a:cubicBezTo>
                        <a:pt x="91" y="85"/>
                        <a:pt x="92" y="85"/>
                        <a:pt x="92" y="84"/>
                      </a:cubicBezTo>
                      <a:cubicBezTo>
                        <a:pt x="92" y="85"/>
                        <a:pt x="91" y="85"/>
                        <a:pt x="91" y="85"/>
                      </a:cubicBezTo>
                      <a:close/>
                      <a:moveTo>
                        <a:pt x="92" y="84"/>
                      </a:moveTo>
                      <a:cubicBezTo>
                        <a:pt x="89" y="82"/>
                        <a:pt x="86" y="80"/>
                        <a:pt x="83" y="78"/>
                      </a:cubicBezTo>
                      <a:cubicBezTo>
                        <a:pt x="85" y="71"/>
                        <a:pt x="87" y="62"/>
                        <a:pt x="87" y="52"/>
                      </a:cubicBezTo>
                      <a:cubicBezTo>
                        <a:pt x="95" y="53"/>
                        <a:pt x="102" y="54"/>
                        <a:pt x="108" y="55"/>
                      </a:cubicBezTo>
                      <a:cubicBezTo>
                        <a:pt x="107" y="67"/>
                        <a:pt x="101" y="77"/>
                        <a:pt x="92" y="84"/>
                      </a:cubicBezTo>
                      <a:close/>
                      <a:moveTo>
                        <a:pt x="108" y="51"/>
                      </a:moveTo>
                      <a:cubicBezTo>
                        <a:pt x="108" y="51"/>
                        <a:pt x="108" y="52"/>
                        <a:pt x="108" y="52"/>
                      </a:cubicBezTo>
                      <a:cubicBezTo>
                        <a:pt x="108" y="52"/>
                        <a:pt x="108" y="51"/>
                        <a:pt x="108" y="51"/>
                      </a:cubicBezTo>
                      <a:close/>
                      <a:moveTo>
                        <a:pt x="108" y="53"/>
                      </a:moveTo>
                      <a:cubicBezTo>
                        <a:pt x="108" y="54"/>
                        <a:pt x="108" y="54"/>
                        <a:pt x="108" y="55"/>
                      </a:cubicBezTo>
                      <a:cubicBezTo>
                        <a:pt x="108" y="54"/>
                        <a:pt x="108" y="54"/>
                        <a:pt x="108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34" name="Freeform 81"/>
                <p:cNvSpPr/>
                <p:nvPr/>
              </p:nvSpPr>
              <p:spPr bwMode="auto">
                <a:xfrm>
                  <a:off x="6866039" y="4151755"/>
                  <a:ext cx="123458" cy="154980"/>
                </a:xfrm>
                <a:custGeom>
                  <a:avLst/>
                  <a:gdLst>
                    <a:gd name="T0" fmla="*/ 2 w 40"/>
                    <a:gd name="T1" fmla="*/ 18 h 50"/>
                    <a:gd name="T2" fmla="*/ 16 w 40"/>
                    <a:gd name="T3" fmla="*/ 30 h 50"/>
                    <a:gd name="T4" fmla="*/ 18 w 40"/>
                    <a:gd name="T5" fmla="*/ 26 h 50"/>
                    <a:gd name="T6" fmla="*/ 24 w 40"/>
                    <a:gd name="T7" fmla="*/ 17 h 50"/>
                    <a:gd name="T8" fmla="*/ 31 w 40"/>
                    <a:gd name="T9" fmla="*/ 8 h 50"/>
                    <a:gd name="T10" fmla="*/ 38 w 40"/>
                    <a:gd name="T11" fmla="*/ 0 h 50"/>
                    <a:gd name="T12" fmla="*/ 40 w 40"/>
                    <a:gd name="T13" fmla="*/ 2 h 50"/>
                    <a:gd name="T14" fmla="*/ 35 w 40"/>
                    <a:gd name="T15" fmla="*/ 11 h 50"/>
                    <a:gd name="T16" fmla="*/ 29 w 40"/>
                    <a:gd name="T17" fmla="*/ 20 h 50"/>
                    <a:gd name="T18" fmla="*/ 25 w 40"/>
                    <a:gd name="T19" fmla="*/ 30 h 50"/>
                    <a:gd name="T20" fmla="*/ 17 w 40"/>
                    <a:gd name="T21" fmla="*/ 50 h 50"/>
                    <a:gd name="T22" fmla="*/ 7 w 40"/>
                    <a:gd name="T23" fmla="*/ 30 h 50"/>
                    <a:gd name="T24" fmla="*/ 0 w 40"/>
                    <a:gd name="T25" fmla="*/ 20 h 50"/>
                    <a:gd name="T26" fmla="*/ 2 w 40"/>
                    <a:gd name="T27" fmla="*/ 18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" h="50">
                      <a:moveTo>
                        <a:pt x="2" y="18"/>
                      </a:moveTo>
                      <a:cubicBezTo>
                        <a:pt x="5" y="20"/>
                        <a:pt x="13" y="27"/>
                        <a:pt x="16" y="30"/>
                      </a:cubicBezTo>
                      <a:cubicBezTo>
                        <a:pt x="17" y="29"/>
                        <a:pt x="17" y="28"/>
                        <a:pt x="18" y="26"/>
                      </a:cubicBezTo>
                      <a:cubicBezTo>
                        <a:pt x="20" y="23"/>
                        <a:pt x="22" y="20"/>
                        <a:pt x="24" y="17"/>
                      </a:cubicBezTo>
                      <a:cubicBezTo>
                        <a:pt x="26" y="14"/>
                        <a:pt x="28" y="11"/>
                        <a:pt x="31" y="8"/>
                      </a:cubicBezTo>
                      <a:cubicBezTo>
                        <a:pt x="33" y="5"/>
                        <a:pt x="35" y="2"/>
                        <a:pt x="38" y="0"/>
                      </a:cubicBezTo>
                      <a:cubicBezTo>
                        <a:pt x="40" y="2"/>
                        <a:pt x="40" y="2"/>
                        <a:pt x="40" y="2"/>
                      </a:cubicBezTo>
                      <a:cubicBezTo>
                        <a:pt x="38" y="5"/>
                        <a:pt x="36" y="8"/>
                        <a:pt x="35" y="11"/>
                      </a:cubicBezTo>
                      <a:cubicBezTo>
                        <a:pt x="33" y="14"/>
                        <a:pt x="31" y="17"/>
                        <a:pt x="29" y="20"/>
                      </a:cubicBezTo>
                      <a:cubicBezTo>
                        <a:pt x="28" y="23"/>
                        <a:pt x="26" y="27"/>
                        <a:pt x="25" y="30"/>
                      </a:cubicBezTo>
                      <a:cubicBezTo>
                        <a:pt x="21" y="38"/>
                        <a:pt x="17" y="50"/>
                        <a:pt x="17" y="50"/>
                      </a:cubicBezTo>
                      <a:cubicBezTo>
                        <a:pt x="17" y="50"/>
                        <a:pt x="11" y="37"/>
                        <a:pt x="7" y="30"/>
                      </a:cubicBezTo>
                      <a:cubicBezTo>
                        <a:pt x="5" y="27"/>
                        <a:pt x="2" y="23"/>
                        <a:pt x="0" y="20"/>
                      </a:cubicBezTo>
                      <a:lnTo>
                        <a:pt x="2" y="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grpSp>
        <p:nvGrpSpPr>
          <p:cNvPr id="168" name="组合 167"/>
          <p:cNvGrpSpPr/>
          <p:nvPr/>
        </p:nvGrpSpPr>
        <p:grpSpPr bwMode="auto">
          <a:xfrm>
            <a:off x="2705100" y="338138"/>
            <a:ext cx="1008063" cy="792162"/>
            <a:chOff x="1835150" y="319657"/>
            <a:chExt cx="1008658" cy="792163"/>
          </a:xfrm>
        </p:grpSpPr>
        <p:sp>
          <p:nvSpPr>
            <p:cNvPr id="188" name="矩形 187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89" name="任意多边形 188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0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91" name="组合 190"/>
          <p:cNvGrpSpPr/>
          <p:nvPr/>
        </p:nvGrpSpPr>
        <p:grpSpPr bwMode="auto">
          <a:xfrm>
            <a:off x="2705100" y="2170113"/>
            <a:ext cx="1149350" cy="792162"/>
            <a:chOff x="2983059" y="2169348"/>
            <a:chExt cx="1148609" cy="792163"/>
          </a:xfrm>
        </p:grpSpPr>
        <p:sp>
          <p:nvSpPr>
            <p:cNvPr id="192" name="等腰三角形 1164"/>
            <p:cNvSpPr/>
            <p:nvPr/>
          </p:nvSpPr>
          <p:spPr>
            <a:xfrm rot="5400000">
              <a:off x="3163662" y="1993504"/>
              <a:ext cx="792163" cy="1143849"/>
            </a:xfrm>
            <a:custGeom>
              <a:avLst/>
              <a:gdLst>
                <a:gd name="connsiteX0" fmla="*/ 0 w 792163"/>
                <a:gd name="connsiteY0" fmla="*/ 1144391 h 1144391"/>
                <a:gd name="connsiteX1" fmla="*/ 0 w 792163"/>
                <a:gd name="connsiteY1" fmla="*/ 135733 h 1144391"/>
                <a:gd name="connsiteX2" fmla="*/ 267851 w 792163"/>
                <a:gd name="connsiteY2" fmla="*/ 135733 h 1144391"/>
                <a:gd name="connsiteX3" fmla="*/ 410120 w 792163"/>
                <a:gd name="connsiteY3" fmla="*/ 0 h 1144391"/>
                <a:gd name="connsiteX4" fmla="*/ 571439 w 792163"/>
                <a:gd name="connsiteY4" fmla="*/ 135733 h 1144391"/>
                <a:gd name="connsiteX5" fmla="*/ 792163 w 792163"/>
                <a:gd name="connsiteY5" fmla="*/ 135733 h 1144391"/>
                <a:gd name="connsiteX6" fmla="*/ 792163 w 792163"/>
                <a:gd name="connsiteY6" fmla="*/ 1144391 h 1144391"/>
                <a:gd name="connsiteX7" fmla="*/ 0 w 792163"/>
                <a:gd name="connsiteY7" fmla="*/ 1144391 h 1144391"/>
                <a:gd name="connsiteX0-1" fmla="*/ 0 w 792163"/>
                <a:gd name="connsiteY0-2" fmla="*/ 1144391 h 1144391"/>
                <a:gd name="connsiteX1-3" fmla="*/ 0 w 792163"/>
                <a:gd name="connsiteY1-4" fmla="*/ 135733 h 1144391"/>
                <a:gd name="connsiteX2-5" fmla="*/ 260707 w 792163"/>
                <a:gd name="connsiteY2-6" fmla="*/ 135733 h 1144391"/>
                <a:gd name="connsiteX3-7" fmla="*/ 410120 w 792163"/>
                <a:gd name="connsiteY3-8" fmla="*/ 0 h 1144391"/>
                <a:gd name="connsiteX4-9" fmla="*/ 571439 w 792163"/>
                <a:gd name="connsiteY4-10" fmla="*/ 135733 h 1144391"/>
                <a:gd name="connsiteX5-11" fmla="*/ 792163 w 792163"/>
                <a:gd name="connsiteY5-12" fmla="*/ 135733 h 1144391"/>
                <a:gd name="connsiteX6-13" fmla="*/ 792163 w 792163"/>
                <a:gd name="connsiteY6-14" fmla="*/ 1144391 h 1144391"/>
                <a:gd name="connsiteX7-15" fmla="*/ 0 w 792163"/>
                <a:gd name="connsiteY7-16" fmla="*/ 1144391 h 114439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92163" h="1144391">
                  <a:moveTo>
                    <a:pt x="0" y="1144391"/>
                  </a:moveTo>
                  <a:lnTo>
                    <a:pt x="0" y="135733"/>
                  </a:lnTo>
                  <a:lnTo>
                    <a:pt x="260707" y="135733"/>
                  </a:lnTo>
                  <a:lnTo>
                    <a:pt x="410120" y="0"/>
                  </a:lnTo>
                  <a:lnTo>
                    <a:pt x="571439" y="135733"/>
                  </a:lnTo>
                  <a:lnTo>
                    <a:pt x="792163" y="135733"/>
                  </a:lnTo>
                  <a:lnTo>
                    <a:pt x="792163" y="1144391"/>
                  </a:lnTo>
                  <a:lnTo>
                    <a:pt x="0" y="1144391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3" name="任意多边形 192"/>
            <p:cNvSpPr/>
            <p:nvPr/>
          </p:nvSpPr>
          <p:spPr>
            <a:xfrm>
              <a:off x="2983059" y="2277298"/>
              <a:ext cx="923329" cy="608013"/>
            </a:xfrm>
            <a:custGeom>
              <a:avLst/>
              <a:gdLst>
                <a:gd name="connsiteX0" fmla="*/ 276473 w 750342"/>
                <a:gd name="connsiteY0" fmla="*/ 0 h 496951"/>
                <a:gd name="connsiteX1" fmla="*/ 731292 w 750342"/>
                <a:gd name="connsiteY1" fmla="*/ 4762 h 496951"/>
                <a:gd name="connsiteX2" fmla="*/ 750342 w 750342"/>
                <a:gd name="connsiteY2" fmla="*/ 54768 h 496951"/>
                <a:gd name="connsiteX3" fmla="*/ 743198 w 750342"/>
                <a:gd name="connsiteY3" fmla="*/ 321468 h 496951"/>
                <a:gd name="connsiteX4" fmla="*/ 425888 w 750342"/>
                <a:gd name="connsiteY4" fmla="*/ 496951 h 496951"/>
                <a:gd name="connsiteX5" fmla="*/ 0 w 750342"/>
                <a:gd name="connsiteY5" fmla="*/ 496951 h 496951"/>
                <a:gd name="connsiteX6" fmla="*/ 0 w 750342"/>
                <a:gd name="connsiteY6" fmla="*/ 232699 h 496951"/>
                <a:gd name="connsiteX7" fmla="*/ 276473 w 750342"/>
                <a:gd name="connsiteY7" fmla="*/ 0 h 496951"/>
                <a:gd name="connsiteX0-1" fmla="*/ 280365 w 754234"/>
                <a:gd name="connsiteY0-2" fmla="*/ 0 h 496951"/>
                <a:gd name="connsiteX1-3" fmla="*/ 735184 w 754234"/>
                <a:gd name="connsiteY1-4" fmla="*/ 4762 h 496951"/>
                <a:gd name="connsiteX2-5" fmla="*/ 754234 w 754234"/>
                <a:gd name="connsiteY2-6" fmla="*/ 54768 h 496951"/>
                <a:gd name="connsiteX3-7" fmla="*/ 747090 w 754234"/>
                <a:gd name="connsiteY3-8" fmla="*/ 321468 h 496951"/>
                <a:gd name="connsiteX4-9" fmla="*/ 429780 w 754234"/>
                <a:gd name="connsiteY4-10" fmla="*/ 496951 h 496951"/>
                <a:gd name="connsiteX5-11" fmla="*/ 3892 w 754234"/>
                <a:gd name="connsiteY5-12" fmla="*/ 496951 h 496951"/>
                <a:gd name="connsiteX6-13" fmla="*/ 0 w 754234"/>
                <a:gd name="connsiteY6-14" fmla="*/ 261887 h 496951"/>
                <a:gd name="connsiteX7-15" fmla="*/ 280365 w 754234"/>
                <a:gd name="connsiteY7-16" fmla="*/ 0 h 49695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54234" h="496951">
                  <a:moveTo>
                    <a:pt x="280365" y="0"/>
                  </a:moveTo>
                  <a:lnTo>
                    <a:pt x="735184" y="4762"/>
                  </a:lnTo>
                  <a:lnTo>
                    <a:pt x="754234" y="54768"/>
                  </a:lnTo>
                  <a:lnTo>
                    <a:pt x="747090" y="321468"/>
                  </a:lnTo>
                  <a:lnTo>
                    <a:pt x="429780" y="496951"/>
                  </a:lnTo>
                  <a:lnTo>
                    <a:pt x="3892" y="496951"/>
                  </a:lnTo>
                  <a:cubicBezTo>
                    <a:pt x="2595" y="418596"/>
                    <a:pt x="1297" y="340242"/>
                    <a:pt x="0" y="261887"/>
                  </a:cubicBezTo>
                  <a:lnTo>
                    <a:pt x="280365" y="0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409" name="Freeform 6"/>
            <p:cNvSpPr>
              <a:spLocks noEditPoints="1"/>
            </p:cNvSpPr>
            <p:nvPr/>
          </p:nvSpPr>
          <p:spPr bwMode="auto">
            <a:xfrm>
              <a:off x="3282102" y="2275882"/>
              <a:ext cx="644475" cy="403450"/>
            </a:xfrm>
            <a:custGeom>
              <a:avLst/>
              <a:gdLst>
                <a:gd name="T0" fmla="*/ 2147483646 w 208"/>
                <a:gd name="T1" fmla="*/ 0 h 130"/>
                <a:gd name="T2" fmla="*/ 2147483646 w 208"/>
                <a:gd name="T3" fmla="*/ 0 h 130"/>
                <a:gd name="T4" fmla="*/ 0 w 208"/>
                <a:gd name="T5" fmla="*/ 2147483646 h 130"/>
                <a:gd name="T6" fmla="*/ 0 w 208"/>
                <a:gd name="T7" fmla="*/ 2147483646 h 130"/>
                <a:gd name="T8" fmla="*/ 2147483646 w 208"/>
                <a:gd name="T9" fmla="*/ 2147483646 h 130"/>
                <a:gd name="T10" fmla="*/ 2147483646 w 208"/>
                <a:gd name="T11" fmla="*/ 2147483646 h 130"/>
                <a:gd name="T12" fmla="*/ 2147483646 w 208"/>
                <a:gd name="T13" fmla="*/ 2147483646 h 130"/>
                <a:gd name="T14" fmla="*/ 2147483646 w 208"/>
                <a:gd name="T15" fmla="*/ 2147483646 h 130"/>
                <a:gd name="T16" fmla="*/ 2147483646 w 208"/>
                <a:gd name="T17" fmla="*/ 0 h 130"/>
                <a:gd name="T18" fmla="*/ 2147483646 w 208"/>
                <a:gd name="T19" fmla="*/ 2147483646 h 130"/>
                <a:gd name="T20" fmla="*/ 2147483646 w 208"/>
                <a:gd name="T21" fmla="*/ 2147483646 h 130"/>
                <a:gd name="T22" fmla="*/ 2147483646 w 208"/>
                <a:gd name="T23" fmla="*/ 2147483646 h 130"/>
                <a:gd name="T24" fmla="*/ 2147483646 w 208"/>
                <a:gd name="T25" fmla="*/ 2147483646 h 130"/>
                <a:gd name="T26" fmla="*/ 2147483646 w 208"/>
                <a:gd name="T27" fmla="*/ 2147483646 h 130"/>
                <a:gd name="T28" fmla="*/ 2147483646 w 208"/>
                <a:gd name="T29" fmla="*/ 2147483646 h 130"/>
                <a:gd name="T30" fmla="*/ 2147483646 w 208"/>
                <a:gd name="T31" fmla="*/ 2147483646 h 130"/>
                <a:gd name="T32" fmla="*/ 2147483646 w 208"/>
                <a:gd name="T33" fmla="*/ 2147483646 h 130"/>
                <a:gd name="T34" fmla="*/ 2147483646 w 208"/>
                <a:gd name="T35" fmla="*/ 2147483646 h 130"/>
                <a:gd name="T36" fmla="*/ 2147483646 w 208"/>
                <a:gd name="T37" fmla="*/ 2147483646 h 130"/>
                <a:gd name="T38" fmla="*/ 2147483646 w 208"/>
                <a:gd name="T39" fmla="*/ 2147483646 h 130"/>
                <a:gd name="T40" fmla="*/ 2147483646 w 208"/>
                <a:gd name="T41" fmla="*/ 2147483646 h 130"/>
                <a:gd name="T42" fmla="*/ 2147483646 w 208"/>
                <a:gd name="T43" fmla="*/ 2147483646 h 130"/>
                <a:gd name="T44" fmla="*/ 2147483646 w 208"/>
                <a:gd name="T45" fmla="*/ 2147483646 h 130"/>
                <a:gd name="T46" fmla="*/ 2147483646 w 208"/>
                <a:gd name="T47" fmla="*/ 2147483646 h 130"/>
                <a:gd name="T48" fmla="*/ 2147483646 w 208"/>
                <a:gd name="T49" fmla="*/ 2147483646 h 130"/>
                <a:gd name="T50" fmla="*/ 2147483646 w 208"/>
                <a:gd name="T51" fmla="*/ 2147483646 h 130"/>
                <a:gd name="T52" fmla="*/ 2147483646 w 208"/>
                <a:gd name="T53" fmla="*/ 2147483646 h 130"/>
                <a:gd name="T54" fmla="*/ 2147483646 w 208"/>
                <a:gd name="T55" fmla="*/ 2147483646 h 130"/>
                <a:gd name="T56" fmla="*/ 2147483646 w 208"/>
                <a:gd name="T57" fmla="*/ 2147483646 h 130"/>
                <a:gd name="T58" fmla="*/ 2147483646 w 208"/>
                <a:gd name="T59" fmla="*/ 2147483646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5" name="等腰三角形 1163"/>
            <p:cNvSpPr/>
            <p:nvPr/>
          </p:nvSpPr>
          <p:spPr>
            <a:xfrm rot="5400000">
              <a:off x="3194619" y="2045066"/>
              <a:ext cx="730251" cy="1045489"/>
            </a:xfrm>
            <a:custGeom>
              <a:avLst/>
              <a:gdLst/>
              <a:ahLst/>
              <a:cxnLst/>
              <a:rect l="l" t="t" r="r" b="b"/>
              <a:pathLst>
                <a:path w="729928" h="1045374">
                  <a:moveTo>
                    <a:pt x="0" y="1045374"/>
                  </a:moveTo>
                  <a:lnTo>
                    <a:pt x="0" y="126577"/>
                  </a:lnTo>
                  <a:lnTo>
                    <a:pt x="234185" y="126577"/>
                  </a:lnTo>
                  <a:lnTo>
                    <a:pt x="374542" y="0"/>
                  </a:lnTo>
                  <a:lnTo>
                    <a:pt x="527843" y="126577"/>
                  </a:lnTo>
                  <a:lnTo>
                    <a:pt x="729928" y="126577"/>
                  </a:lnTo>
                  <a:lnTo>
                    <a:pt x="729928" y="1045374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96" name="组合 195"/>
          <p:cNvGrpSpPr/>
          <p:nvPr/>
        </p:nvGrpSpPr>
        <p:grpSpPr bwMode="auto">
          <a:xfrm>
            <a:off x="2706688" y="1277938"/>
            <a:ext cx="1008062" cy="792162"/>
            <a:chOff x="1835150" y="319657"/>
            <a:chExt cx="1008658" cy="792163"/>
          </a:xfrm>
        </p:grpSpPr>
        <p:sp>
          <p:nvSpPr>
            <p:cNvPr id="197" name="矩形 196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8" name="任意多边形 197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9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00" name="组合 199"/>
          <p:cNvGrpSpPr/>
          <p:nvPr/>
        </p:nvGrpSpPr>
        <p:grpSpPr bwMode="auto">
          <a:xfrm>
            <a:off x="2705100" y="3121025"/>
            <a:ext cx="1008063" cy="792163"/>
            <a:chOff x="1835150" y="319657"/>
            <a:chExt cx="1008658" cy="792163"/>
          </a:xfrm>
        </p:grpSpPr>
        <p:sp>
          <p:nvSpPr>
            <p:cNvPr id="201" name="矩形 200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2" name="任意多边形 201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3" name="Freeform 6"/>
            <p:cNvSpPr>
              <a:spLocks noEditPoints="1"/>
            </p:cNvSpPr>
            <p:nvPr/>
          </p:nvSpPr>
          <p:spPr bwMode="auto">
            <a:xfrm>
              <a:off x="2086123" y="508570"/>
              <a:ext cx="643317" cy="403225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04" name="组合 203"/>
          <p:cNvGrpSpPr/>
          <p:nvPr/>
        </p:nvGrpSpPr>
        <p:grpSpPr bwMode="auto">
          <a:xfrm>
            <a:off x="2709863" y="4071938"/>
            <a:ext cx="1008062" cy="792162"/>
            <a:chOff x="1835150" y="319657"/>
            <a:chExt cx="1008658" cy="792163"/>
          </a:xfrm>
        </p:grpSpPr>
        <p:sp>
          <p:nvSpPr>
            <p:cNvPr id="205" name="矩形 204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0" name="任意多边形 209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1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56" name="组合 355"/>
          <p:cNvGrpSpPr/>
          <p:nvPr/>
        </p:nvGrpSpPr>
        <p:grpSpPr bwMode="auto">
          <a:xfrm>
            <a:off x="179388" y="1930400"/>
            <a:ext cx="1870075" cy="1562100"/>
            <a:chOff x="325535" y="1930204"/>
            <a:chExt cx="1870201" cy="1562295"/>
          </a:xfrm>
        </p:grpSpPr>
        <p:sp>
          <p:nvSpPr>
            <p:cNvPr id="357" name="矩形 257"/>
            <p:cNvSpPr/>
            <p:nvPr/>
          </p:nvSpPr>
          <p:spPr>
            <a:xfrm>
              <a:off x="638293" y="1931792"/>
              <a:ext cx="1557443" cy="1560707"/>
            </a:xfrm>
            <a:custGeom>
              <a:avLst/>
              <a:gdLst>
                <a:gd name="connsiteX0" fmla="*/ 129431 w 1564892"/>
                <a:gd name="connsiteY0" fmla="*/ 0 h 1563674"/>
                <a:gd name="connsiteX1" fmla="*/ 1562510 w 1564892"/>
                <a:gd name="connsiteY1" fmla="*/ 3034 h 1563674"/>
                <a:gd name="connsiteX2" fmla="*/ 1564892 w 1564892"/>
                <a:gd name="connsiteY2" fmla="*/ 1432510 h 1563674"/>
                <a:gd name="connsiteX3" fmla="*/ 1482392 w 1564892"/>
                <a:gd name="connsiteY3" fmla="*/ 1563674 h 1563674"/>
                <a:gd name="connsiteX4" fmla="*/ 1870 w 1564892"/>
                <a:gd name="connsiteY4" fmla="*/ 1563674 h 1563674"/>
                <a:gd name="connsiteX5" fmla="*/ 0 w 1564892"/>
                <a:gd name="connsiteY5" fmla="*/ 93158 h 1563674"/>
                <a:gd name="connsiteX6" fmla="*/ 129431 w 1564892"/>
                <a:gd name="connsiteY6" fmla="*/ 0 h 1563674"/>
                <a:gd name="connsiteX0-1" fmla="*/ 129431 w 1562510"/>
                <a:gd name="connsiteY0-2" fmla="*/ 0 h 1563674"/>
                <a:gd name="connsiteX1-3" fmla="*/ 1562510 w 1562510"/>
                <a:gd name="connsiteY1-4" fmla="*/ 3034 h 1563674"/>
                <a:gd name="connsiteX2-5" fmla="*/ 1557748 w 1562510"/>
                <a:gd name="connsiteY2-6" fmla="*/ 1434891 h 1563674"/>
                <a:gd name="connsiteX3-7" fmla="*/ 1482392 w 1562510"/>
                <a:gd name="connsiteY3-8" fmla="*/ 1563674 h 1563674"/>
                <a:gd name="connsiteX4-9" fmla="*/ 1870 w 1562510"/>
                <a:gd name="connsiteY4-10" fmla="*/ 1563674 h 1563674"/>
                <a:gd name="connsiteX5-11" fmla="*/ 0 w 1562510"/>
                <a:gd name="connsiteY5-12" fmla="*/ 93158 h 1563674"/>
                <a:gd name="connsiteX6-13" fmla="*/ 129431 w 1562510"/>
                <a:gd name="connsiteY6-14" fmla="*/ 0 h 1563674"/>
                <a:gd name="connsiteX0-15" fmla="*/ 129431 w 1558206"/>
                <a:gd name="connsiteY0-16" fmla="*/ 0 h 1563674"/>
                <a:gd name="connsiteX1-17" fmla="*/ 1557747 w 1558206"/>
                <a:gd name="connsiteY1-18" fmla="*/ 5415 h 1563674"/>
                <a:gd name="connsiteX2-19" fmla="*/ 1557748 w 1558206"/>
                <a:gd name="connsiteY2-20" fmla="*/ 1434891 h 1563674"/>
                <a:gd name="connsiteX3-21" fmla="*/ 1482392 w 1558206"/>
                <a:gd name="connsiteY3-22" fmla="*/ 1563674 h 1563674"/>
                <a:gd name="connsiteX4-23" fmla="*/ 1870 w 1558206"/>
                <a:gd name="connsiteY4-24" fmla="*/ 1563674 h 1563674"/>
                <a:gd name="connsiteX5-25" fmla="*/ 0 w 1558206"/>
                <a:gd name="connsiteY5-26" fmla="*/ 93158 h 1563674"/>
                <a:gd name="connsiteX6-27" fmla="*/ 129431 w 1558206"/>
                <a:gd name="connsiteY6-28" fmla="*/ 0 h 1563674"/>
                <a:gd name="connsiteX0-29" fmla="*/ 129431 w 1558206"/>
                <a:gd name="connsiteY0-30" fmla="*/ 0 h 1561293"/>
                <a:gd name="connsiteX1-31" fmla="*/ 1557747 w 1558206"/>
                <a:gd name="connsiteY1-32" fmla="*/ 3034 h 1561293"/>
                <a:gd name="connsiteX2-33" fmla="*/ 1557748 w 1558206"/>
                <a:gd name="connsiteY2-34" fmla="*/ 1432510 h 1561293"/>
                <a:gd name="connsiteX3-35" fmla="*/ 1482392 w 1558206"/>
                <a:gd name="connsiteY3-36" fmla="*/ 1561293 h 1561293"/>
                <a:gd name="connsiteX4-37" fmla="*/ 1870 w 1558206"/>
                <a:gd name="connsiteY4-38" fmla="*/ 1561293 h 1561293"/>
                <a:gd name="connsiteX5-39" fmla="*/ 0 w 1558206"/>
                <a:gd name="connsiteY5-40" fmla="*/ 90777 h 1561293"/>
                <a:gd name="connsiteX6-41" fmla="*/ 129431 w 1558206"/>
                <a:gd name="connsiteY6-42" fmla="*/ 0 h 156129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1558206" h="1561293">
                  <a:moveTo>
                    <a:pt x="129431" y="0"/>
                  </a:moveTo>
                  <a:lnTo>
                    <a:pt x="1557747" y="3034"/>
                  </a:lnTo>
                  <a:cubicBezTo>
                    <a:pt x="1556160" y="480320"/>
                    <a:pt x="1559335" y="955224"/>
                    <a:pt x="1557748" y="1432510"/>
                  </a:cubicBezTo>
                  <a:lnTo>
                    <a:pt x="1482392" y="1561293"/>
                  </a:lnTo>
                  <a:lnTo>
                    <a:pt x="1870" y="1561293"/>
                  </a:lnTo>
                  <a:cubicBezTo>
                    <a:pt x="1247" y="1071121"/>
                    <a:pt x="623" y="580949"/>
                    <a:pt x="0" y="90777"/>
                  </a:cubicBezTo>
                  <a:lnTo>
                    <a:pt x="129431" y="0"/>
                  </a:lnTo>
                  <a:close/>
                </a:path>
              </a:pathLst>
            </a:custGeom>
            <a:solidFill>
              <a:srgbClr val="26667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358" name="矩形 357"/>
            <p:cNvSpPr/>
            <p:nvPr/>
          </p:nvSpPr>
          <p:spPr>
            <a:xfrm>
              <a:off x="762126" y="1930204"/>
              <a:ext cx="1433610" cy="143369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59" name="TextBox 358"/>
            <p:cNvSpPr txBox="1"/>
            <p:nvPr/>
          </p:nvSpPr>
          <p:spPr bwMode="auto">
            <a:xfrm>
              <a:off x="749426" y="2120728"/>
              <a:ext cx="1408208" cy="6461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600" b="1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经典繁超宋" pitchFamily="49" charset="-122"/>
                </a:rPr>
                <a:t>目录</a:t>
              </a:r>
              <a:endParaRPr lang="zh-CN" altLang="en-US" sz="3600" b="1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繁超宋" pitchFamily="49" charset="-122"/>
              </a:endParaRPr>
            </a:p>
          </p:txBody>
        </p:sp>
        <p:sp>
          <p:nvSpPr>
            <p:cNvPr id="360" name="TextBox 179"/>
            <p:cNvSpPr txBox="1">
              <a:spLocks noChangeArrowheads="1"/>
            </p:cNvSpPr>
            <p:nvPr/>
          </p:nvSpPr>
          <p:spPr bwMode="auto">
            <a:xfrm>
              <a:off x="325535" y="2736755"/>
              <a:ext cx="1779707" cy="339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   CONTENTS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4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 tmFilter="0, 0; .2, .5; .8, .5; 1, 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250" autoRev="1" fill="hold"/>
                                        <p:tgtEl>
                                          <p:spTgt spid="19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4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4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THINKCELLSHAPEDONOTDELETE" val="pXqCU6BnzzEaxHyR2P7sRfA"/>
</p:tagLst>
</file>

<file path=ppt/tags/tag10.xml><?xml version="1.0" encoding="utf-8"?>
<p:tagLst xmlns:p="http://schemas.openxmlformats.org/presentationml/2006/main">
  <p:tag name="THINKCELLSHAPEDONOTDELETE" val="pmvhPMlS9IkmDLlZJ4IdkYA"/>
</p:tagLst>
</file>

<file path=ppt/tags/tag11.xml><?xml version="1.0" encoding="utf-8"?>
<p:tagLst xmlns:p="http://schemas.openxmlformats.org/presentationml/2006/main">
  <p:tag name="THINKCELLSHAPEDONOTDELETE" val="pF.0EoqWKAUiRp6bwLw4mWA"/>
</p:tagLst>
</file>

<file path=ppt/tags/tag12.xml><?xml version="1.0" encoding="utf-8"?>
<p:tagLst xmlns:p="http://schemas.openxmlformats.org/presentationml/2006/main">
  <p:tag name="THINKCELLSHAPEDONOTDELETE" val="pmvhPMlS9IkmDLlZJ4IdkYA"/>
</p:tagLst>
</file>

<file path=ppt/tags/tag13.xml><?xml version="1.0" encoding="utf-8"?>
<p:tagLst xmlns:p="http://schemas.openxmlformats.org/presentationml/2006/main">
  <p:tag name="THINKCELLSHAPEDONOTDELETE" val="p0mmTYgZfoEeREJ7SzWlpkg"/>
</p:tagLst>
</file>

<file path=ppt/tags/tag14.xml><?xml version="1.0" encoding="utf-8"?>
<p:tagLst xmlns:p="http://schemas.openxmlformats.org/presentationml/2006/main">
  <p:tag name="THINKCELLSHAPEDONOTDELETE" val="pYy2.9NDdq0awgENrsag0xg"/>
</p:tagLst>
</file>

<file path=ppt/tags/tag15.xml><?xml version="1.0" encoding="utf-8"?>
<p:tagLst xmlns:p="http://schemas.openxmlformats.org/presentationml/2006/main">
  <p:tag name="THINKCELLSHAPEDONOTDELETE" val="phBK2Bpy5HEOLkOGrK63hug"/>
</p:tagLst>
</file>

<file path=ppt/tags/tag16.xml><?xml version="1.0" encoding="utf-8"?>
<p:tagLst xmlns:p="http://schemas.openxmlformats.org/presentationml/2006/main">
  <p:tag name="THINKCELLSHAPEDONOTDELETE" val="p3lQHV04eYUWkkGoaBq9lPA"/>
</p:tagLst>
</file>

<file path=ppt/tags/tag17.xml><?xml version="1.0" encoding="utf-8"?>
<p:tagLst xmlns:p="http://schemas.openxmlformats.org/presentationml/2006/main">
  <p:tag name="THINKCELLSHAPEDONOTDELETE" val="pmvhPMlS9IkmDLlZJ4IdkYA"/>
</p:tagLst>
</file>

<file path=ppt/tags/tag2.xml><?xml version="1.0" encoding="utf-8"?>
<p:tagLst xmlns:p="http://schemas.openxmlformats.org/presentationml/2006/main">
  <p:tag name="THINKCELLSHAPEDONOTDELETE" val="pmvhPMlS9IkmDLlZJ4IdkYA"/>
</p:tagLst>
</file>

<file path=ppt/tags/tag3.xml><?xml version="1.0" encoding="utf-8"?>
<p:tagLst xmlns:p="http://schemas.openxmlformats.org/presentationml/2006/main">
  <p:tag name="THINKCELLSHAPEDONOTDELETE" val="pzdoKvR_s20S_sEfbKhL.0g"/>
</p:tagLst>
</file>

<file path=ppt/tags/tag4.xml><?xml version="1.0" encoding="utf-8"?>
<p:tagLst xmlns:p="http://schemas.openxmlformats.org/presentationml/2006/main">
  <p:tag name="THINKCELLSHAPEDONOTDELETE" val="pFgxB5GzJDk6_cIrl8hTq4g"/>
</p:tagLst>
</file>

<file path=ppt/tags/tag5.xml><?xml version="1.0" encoding="utf-8"?>
<p:tagLst xmlns:p="http://schemas.openxmlformats.org/presentationml/2006/main">
  <p:tag name="THINKCELLSHAPEDONOTDELETE" val="pzoOPfAs1fkegZ1XWEMJB4w"/>
</p:tagLst>
</file>

<file path=ppt/tags/tag6.xml><?xml version="1.0" encoding="utf-8"?>
<p:tagLst xmlns:p="http://schemas.openxmlformats.org/presentationml/2006/main">
  <p:tag name="THINKCELLSHAPEDONOTDELETE" val="pa1op3NQH50uuDgmzRYEQ6A"/>
</p:tagLst>
</file>

<file path=ppt/tags/tag7.xml><?xml version="1.0" encoding="utf-8"?>
<p:tagLst xmlns:p="http://schemas.openxmlformats.org/presentationml/2006/main">
  <p:tag name="THINKCELLSHAPEDONOTDELETE" val="pg.lR_RjMrUqDgo9cq777uA"/>
</p:tagLst>
</file>

<file path=ppt/tags/tag8.xml><?xml version="1.0" encoding="utf-8"?>
<p:tagLst xmlns:p="http://schemas.openxmlformats.org/presentationml/2006/main">
  <p:tag name="THINKCELLSHAPEDONOTDELETE" val="pmvhPMlS9IkmDLlZJ4IdkYA"/>
</p:tagLst>
</file>

<file path=ppt/tags/tag9.xml><?xml version="1.0" encoding="utf-8"?>
<p:tagLst xmlns:p="http://schemas.openxmlformats.org/presentationml/2006/main">
  <p:tag name="THINKCELLSHAPEDONOTDELETE" val="pVdDWp4IluEmyF2WAC0hUH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49</Words>
  <Application>WPS 演示</Application>
  <PresentationFormat>全屏显示(16:9)</PresentationFormat>
  <Paragraphs>594</Paragraphs>
  <Slides>30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20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51" baseType="lpstr">
      <vt:lpstr>Arial</vt:lpstr>
      <vt:lpstr>宋体</vt:lpstr>
      <vt:lpstr>Wingdings</vt:lpstr>
      <vt:lpstr>Calibri</vt:lpstr>
      <vt:lpstr>微软雅黑</vt:lpstr>
      <vt:lpstr>Adobe Gothic Std B</vt:lpstr>
      <vt:lpstr>经典仿宋简</vt:lpstr>
      <vt:lpstr>DFGMaruGothic-SB</vt:lpstr>
      <vt:lpstr>经典特黑简</vt:lpstr>
      <vt:lpstr>方正正大黑简体</vt:lpstr>
      <vt:lpstr>经典繁超宋</vt:lpstr>
      <vt:lpstr>Segoe UI</vt:lpstr>
      <vt:lpstr>Tenshin</vt:lpstr>
      <vt:lpstr>Arial Unicode MS</vt:lpstr>
      <vt:lpstr>等线</vt:lpstr>
      <vt:lpstr>HY각헤드라인M</vt:lpstr>
      <vt:lpstr>华文细黑</vt:lpstr>
      <vt:lpstr>黑体</vt:lpstr>
      <vt:lpstr>仿宋</vt:lpstr>
      <vt:lpstr>A bite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锐普PPT</dc:creator>
  <cp:lastModifiedBy>荷语默</cp:lastModifiedBy>
  <cp:revision>3</cp:revision>
  <dcterms:created xsi:type="dcterms:W3CDTF">2013-11-22T11:11:00Z</dcterms:created>
  <dcterms:modified xsi:type="dcterms:W3CDTF">2018-08-22T09:4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